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4"/>
  </p:notesMasterIdLst>
  <p:handoutMasterIdLst>
    <p:handoutMasterId r:id="rId15"/>
  </p:handoutMasterIdLst>
  <p:sldIdLst>
    <p:sldId id="259" r:id="rId5"/>
    <p:sldId id="266" r:id="rId6"/>
    <p:sldId id="261" r:id="rId7"/>
    <p:sldId id="260" r:id="rId8"/>
    <p:sldId id="267" r:id="rId9"/>
    <p:sldId id="262" r:id="rId10"/>
    <p:sldId id="263" r:id="rId11"/>
    <p:sldId id="264" r:id="rId12"/>
    <p:sldId id="265" r:id="rId13"/>
  </p:sldIdLst>
  <p:sldSz cx="12192000" cy="6858000"/>
  <p:notesSz cx="6858000" cy="9144000"/>
  <p:custDataLst>
    <p:tags r:id="rId16"/>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1026">
          <p15:clr>
            <a:srgbClr val="A4A3A4"/>
          </p15:clr>
        </p15:guide>
        <p15:guide id="4" orient="horz" pos="255">
          <p15:clr>
            <a:srgbClr val="A4A3A4"/>
          </p15:clr>
        </p15:guide>
        <p15:guide id="6" orient="horz" pos="890">
          <p15:clr>
            <a:srgbClr val="A4A3A4"/>
          </p15:clr>
        </p15:guide>
        <p15:guide id="7" pos="393">
          <p15:clr>
            <a:srgbClr val="A4A3A4"/>
          </p15:clr>
        </p15:guide>
        <p15:guide id="8" pos="7287">
          <p15:clr>
            <a:srgbClr val="A4A3A4"/>
          </p15:clr>
        </p15:guide>
        <p15:guide id="9" orient="horz" pos="3793" userDrawn="1">
          <p15:clr>
            <a:srgbClr val="A4A3A4"/>
          </p15:clr>
        </p15:guide>
        <p15:guide id="10"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98FB34-82D1-07AA-1C15-EC53D78C2074}" name="Peltoniemi, Suvi" initials="PS" userId="S::suvi.peltoniemi@sweco.fi::c3edde9b-1c68-4af2-9390-26936ec27df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D4B005"/>
    <a:srgbClr val="009793"/>
    <a:srgbClr val="DBE4ED"/>
    <a:srgbClr val="F0F0F0"/>
    <a:srgbClr val="787878"/>
    <a:srgbClr val="FFFFFF"/>
    <a:srgbClr val="E60000"/>
    <a:srgbClr val="23308E"/>
    <a:srgbClr val="D7D7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21" autoAdjust="0"/>
    <p:restoredTop sz="94660"/>
  </p:normalViewPr>
  <p:slideViewPr>
    <p:cSldViewPr showGuides="1">
      <p:cViewPr varScale="1">
        <p:scale>
          <a:sx n="55" d="100"/>
          <a:sy n="55" d="100"/>
        </p:scale>
        <p:origin x="496" y="40"/>
      </p:cViewPr>
      <p:guideLst>
        <p:guide pos="3840"/>
        <p:guide orient="horz" pos="1026"/>
        <p:guide orient="horz" pos="255"/>
        <p:guide orient="horz" pos="890"/>
        <p:guide pos="393"/>
        <p:guide pos="7287"/>
        <p:guide orient="horz" pos="3793"/>
        <p:guide orient="horz" pos="2160"/>
      </p:guideLst>
    </p:cSldViewPr>
  </p:slideViewPr>
  <p:notesTextViewPr>
    <p:cViewPr>
      <p:scale>
        <a:sx n="3" d="2"/>
        <a:sy n="3" d="2"/>
      </p:scale>
      <p:origin x="0" y="0"/>
    </p:cViewPr>
  </p:notesTextViewPr>
  <p:notesViewPr>
    <p:cSldViewPr showGuides="1">
      <p:cViewPr varScale="1">
        <p:scale>
          <a:sx n="90" d="100"/>
          <a:sy n="90" d="100"/>
        </p:scale>
        <p:origin x="-369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https://swecogroup.sharepoint.com/sites/Gr_IPParviointi/Shared%20Documents/Arviointi/Kysely_%20Ilmastopolitiikan%20py&#246;re&#228;n%20p&#246;yd&#228;n%20toiminnan%20arviointi_Basic%20report%20(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wecogroup.sharepoint.com/sites/Gr_IPParviointi/Shared%20Documents/Arviointi/Kysely_%20Ilmastopolitiikan%20py&#246;re&#228;n%20p&#246;yd&#228;n%20toiminnan%20arviointi_Basic%20report%2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wecogroup.sharepoint.com/sites/Gr_IPParviointi/Shared%20Documents/Arviointi/Kysely_%20Ilmastopolitiikan%20py&#246;re&#228;n%20p&#246;yd&#228;n%20toiminnan%20arviointi_Basic%20report%20(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i-FI"/>
              <a:t>Kuinka hyvin IPP:n kokousten valmistelu ja toteutus onnistui suhteessa sen tarkoitukseen ja tavoitteeseen? (n= 14)</a:t>
            </a:r>
            <a:br>
              <a:rPr lang="fi-FI"/>
            </a:br>
            <a:r>
              <a:rPr lang="fi-FI" sz="1000"/>
              <a:t>Asteikolla 1-5, jossa 1 = Erittäin</a:t>
            </a:r>
            <a:r>
              <a:rPr lang="fi-FI" sz="1000" baseline="0"/>
              <a:t> heikosti ja </a:t>
            </a:r>
            <a:r>
              <a:rPr lang="fi-FI" sz="1000"/>
              <a:t>5 = Erittäin hyvi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barChart>
        <c:barDir val="col"/>
        <c:grouping val="clustered"/>
        <c:varyColors val="0"/>
        <c:ser>
          <c:idx val="0"/>
          <c:order val="0"/>
          <c:tx>
            <c:strRef>
              <c:f>Data!$F$19</c:f>
              <c:strCache>
                <c:ptCount val="1"/>
                <c:pt idx="0">
                  <c:v>F</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A$20:$A$24</c:f>
              <c:numCache>
                <c:formatCode>General</c:formatCode>
                <c:ptCount val="5"/>
                <c:pt idx="0">
                  <c:v>1</c:v>
                </c:pt>
                <c:pt idx="1">
                  <c:v>2</c:v>
                </c:pt>
                <c:pt idx="2">
                  <c:v>3</c:v>
                </c:pt>
                <c:pt idx="3">
                  <c:v>4</c:v>
                </c:pt>
                <c:pt idx="4">
                  <c:v>5</c:v>
                </c:pt>
              </c:numCache>
            </c:numRef>
          </c:cat>
          <c:val>
            <c:numRef>
              <c:f>Data!$F$20:$F$24</c:f>
              <c:numCache>
                <c:formatCode>General</c:formatCode>
                <c:ptCount val="5"/>
                <c:pt idx="0">
                  <c:v>0</c:v>
                </c:pt>
                <c:pt idx="1">
                  <c:v>1</c:v>
                </c:pt>
                <c:pt idx="2">
                  <c:v>4</c:v>
                </c:pt>
                <c:pt idx="3">
                  <c:v>8</c:v>
                </c:pt>
                <c:pt idx="4">
                  <c:v>1</c:v>
                </c:pt>
              </c:numCache>
            </c:numRef>
          </c:val>
          <c:extLst>
            <c:ext xmlns:c16="http://schemas.microsoft.com/office/drawing/2014/chart" uri="{C3380CC4-5D6E-409C-BE32-E72D297353CC}">
              <c16:uniqueId val="{00000000-1897-43FA-B50A-E88C0C32EF33}"/>
            </c:ext>
          </c:extLst>
        </c:ser>
        <c:dLbls>
          <c:dLblPos val="outEnd"/>
          <c:showLegendKey val="0"/>
          <c:showVal val="1"/>
          <c:showCatName val="0"/>
          <c:showSerName val="0"/>
          <c:showPercent val="0"/>
          <c:showBubbleSize val="0"/>
        </c:dLbls>
        <c:gapWidth val="219"/>
        <c:overlap val="-27"/>
        <c:axId val="1318637808"/>
        <c:axId val="1318639776"/>
      </c:barChart>
      <c:catAx>
        <c:axId val="1318637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1318639776"/>
        <c:crosses val="autoZero"/>
        <c:auto val="1"/>
        <c:lblAlgn val="ctr"/>
        <c:lblOffset val="100"/>
        <c:noMultiLvlLbl val="0"/>
      </c:catAx>
      <c:valAx>
        <c:axId val="131863977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i-FI"/>
                  <a:t>Vastaukset, lkm</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13186378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i-F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dirty="0"/>
              <a:t>Kuinka </a:t>
            </a:r>
            <a:r>
              <a:rPr lang="en-US" sz="1200" dirty="0" err="1"/>
              <a:t>hyvin</a:t>
            </a:r>
            <a:r>
              <a:rPr lang="en-US" sz="1200" dirty="0"/>
              <a:t> IPP on </a:t>
            </a:r>
            <a:r>
              <a:rPr lang="en-US" sz="1200" dirty="0" err="1"/>
              <a:t>mielestäsi</a:t>
            </a:r>
            <a:r>
              <a:rPr lang="en-US" sz="1200" dirty="0"/>
              <a:t> </a:t>
            </a:r>
            <a:r>
              <a:rPr lang="en-US" sz="1200" dirty="0" err="1"/>
              <a:t>saavuttanut</a:t>
            </a:r>
            <a:r>
              <a:rPr lang="en-US" sz="1200" dirty="0"/>
              <a:t> </a:t>
            </a:r>
            <a:r>
              <a:rPr lang="en-US" sz="1200" dirty="0" err="1"/>
              <a:t>tarkoituksensa</a:t>
            </a:r>
            <a:r>
              <a:rPr lang="en-US" sz="1200" dirty="0"/>
              <a:t> ja </a:t>
            </a:r>
            <a:r>
              <a:rPr lang="en-US" sz="1200" dirty="0" err="1"/>
              <a:t>tavoitteensa</a:t>
            </a:r>
            <a:r>
              <a:rPr lang="en-US" sz="1200" dirty="0"/>
              <a:t>? </a:t>
            </a:r>
          </a:p>
          <a:p>
            <a:pPr>
              <a:defRPr/>
            </a:pPr>
            <a:r>
              <a:rPr lang="en-US" sz="1200" dirty="0"/>
              <a:t>(n=14)</a:t>
            </a:r>
            <a:br>
              <a:rPr lang="en-US" dirty="0"/>
            </a:br>
            <a:r>
              <a:rPr lang="en-US" sz="1000" b="0" i="0" u="none" strike="noStrike" baseline="0" dirty="0" err="1">
                <a:effectLst/>
              </a:rPr>
              <a:t>Asteikolla</a:t>
            </a:r>
            <a:r>
              <a:rPr lang="en-US" sz="1000" b="0" i="0" u="none" strike="noStrike" baseline="0" dirty="0">
                <a:effectLst/>
              </a:rPr>
              <a:t> 1-5, </a:t>
            </a:r>
            <a:r>
              <a:rPr lang="en-US" sz="1000" b="0" i="0" u="none" strike="noStrike" baseline="0" dirty="0" err="1">
                <a:effectLst/>
              </a:rPr>
              <a:t>jossa</a:t>
            </a:r>
            <a:r>
              <a:rPr lang="en-US" sz="1000" b="0" i="0" u="none" strike="noStrike" baseline="0" dirty="0">
                <a:effectLst/>
              </a:rPr>
              <a:t> 1 = </a:t>
            </a:r>
            <a:r>
              <a:rPr lang="en-US" sz="1000" b="0" i="0" u="none" strike="noStrike" baseline="0" dirty="0" err="1">
                <a:effectLst/>
              </a:rPr>
              <a:t>Ei</a:t>
            </a:r>
            <a:r>
              <a:rPr lang="en-US" sz="1000" b="0" i="0" u="none" strike="noStrike" baseline="0" dirty="0">
                <a:effectLst/>
              </a:rPr>
              <a:t> </a:t>
            </a:r>
            <a:r>
              <a:rPr lang="en-US" sz="1000" b="0" i="0" u="none" strike="noStrike" baseline="0" dirty="0" err="1">
                <a:effectLst/>
              </a:rPr>
              <a:t>lainkaan</a:t>
            </a:r>
            <a:r>
              <a:rPr lang="en-US" sz="1000" b="0" i="0" u="none" strike="noStrike" baseline="0" dirty="0">
                <a:effectLst/>
              </a:rPr>
              <a:t> ja 5 = </a:t>
            </a:r>
            <a:r>
              <a:rPr lang="en-US" sz="1000" b="0" i="0" u="none" strike="noStrike" baseline="0" dirty="0" err="1">
                <a:effectLst/>
              </a:rPr>
              <a:t>Erittäin</a:t>
            </a:r>
            <a:r>
              <a:rPr lang="en-US" sz="1000" b="0" i="0" u="none" strike="noStrike" baseline="0" dirty="0">
                <a:effectLst/>
              </a:rPr>
              <a:t> </a:t>
            </a:r>
            <a:r>
              <a:rPr lang="en-US" sz="1000" b="0" i="0" u="none" strike="noStrike" baseline="0" dirty="0" err="1">
                <a:effectLst/>
              </a:rPr>
              <a:t>hyvin</a:t>
            </a:r>
            <a:endParaRPr lang="en-US" sz="10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barChart>
        <c:barDir val="col"/>
        <c:grouping val="clustered"/>
        <c:varyColors val="0"/>
        <c:ser>
          <c:idx val="0"/>
          <c:order val="0"/>
          <c:tx>
            <c:strRef>
              <c:f>Data!$C$19</c:f>
              <c:strCache>
                <c:ptCount val="1"/>
                <c:pt idx="0">
                  <c:v>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A$20:$A$24</c:f>
              <c:numCache>
                <c:formatCode>General</c:formatCode>
                <c:ptCount val="5"/>
                <c:pt idx="0">
                  <c:v>1</c:v>
                </c:pt>
                <c:pt idx="1">
                  <c:v>2</c:v>
                </c:pt>
                <c:pt idx="2">
                  <c:v>3</c:v>
                </c:pt>
                <c:pt idx="3">
                  <c:v>4</c:v>
                </c:pt>
                <c:pt idx="4">
                  <c:v>5</c:v>
                </c:pt>
              </c:numCache>
            </c:numRef>
          </c:cat>
          <c:val>
            <c:numRef>
              <c:f>Data!$C$20:$C$24</c:f>
              <c:numCache>
                <c:formatCode>General</c:formatCode>
                <c:ptCount val="5"/>
                <c:pt idx="0">
                  <c:v>0</c:v>
                </c:pt>
                <c:pt idx="1">
                  <c:v>3</c:v>
                </c:pt>
                <c:pt idx="2">
                  <c:v>8</c:v>
                </c:pt>
                <c:pt idx="3">
                  <c:v>3</c:v>
                </c:pt>
                <c:pt idx="4">
                  <c:v>0</c:v>
                </c:pt>
              </c:numCache>
            </c:numRef>
          </c:val>
          <c:extLst>
            <c:ext xmlns:c16="http://schemas.microsoft.com/office/drawing/2014/chart" uri="{C3380CC4-5D6E-409C-BE32-E72D297353CC}">
              <c16:uniqueId val="{00000000-7223-4C10-812F-56F680D62CBA}"/>
            </c:ext>
          </c:extLst>
        </c:ser>
        <c:dLbls>
          <c:dLblPos val="outEnd"/>
          <c:showLegendKey val="0"/>
          <c:showVal val="1"/>
          <c:showCatName val="0"/>
          <c:showSerName val="0"/>
          <c:showPercent val="0"/>
          <c:showBubbleSize val="0"/>
        </c:dLbls>
        <c:gapWidth val="219"/>
        <c:overlap val="-27"/>
        <c:axId val="864351568"/>
        <c:axId val="864350256"/>
      </c:barChart>
      <c:catAx>
        <c:axId val="864351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864350256"/>
        <c:crosses val="autoZero"/>
        <c:auto val="1"/>
        <c:lblAlgn val="ctr"/>
        <c:lblOffset val="100"/>
        <c:noMultiLvlLbl val="0"/>
      </c:catAx>
      <c:valAx>
        <c:axId val="86435025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i-FI"/>
                  <a:t>Vastaukset,</a:t>
                </a:r>
                <a:r>
                  <a:rPr lang="fi-FI" baseline="0"/>
                  <a:t> lkm</a:t>
                </a:r>
                <a:endParaRPr lang="fi-FI"/>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864351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i-FI"/>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Kuinka tärkeää IPP:n kaltainen toiminta on tulevaisuudessa? </a:t>
            </a:r>
          </a:p>
          <a:p>
            <a:pPr>
              <a:defRPr/>
            </a:pPr>
            <a:r>
              <a:rPr lang="en-US"/>
              <a:t>(n=14)</a:t>
            </a:r>
            <a:br>
              <a:rPr lang="en-US"/>
            </a:br>
            <a:r>
              <a:rPr lang="en-US" sz="1000" b="0" i="0" u="none" strike="noStrike" baseline="0">
                <a:effectLst/>
              </a:rPr>
              <a:t>Asteikolla 1-5, jossa 1 = Ei lainkaan tärkeää ja 5 = Erittäin tärkeää</a:t>
            </a:r>
            <a:endParaRPr lang="en-US" sz="10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barChart>
        <c:barDir val="col"/>
        <c:grouping val="clustered"/>
        <c:varyColors val="0"/>
        <c:ser>
          <c:idx val="0"/>
          <c:order val="0"/>
          <c:tx>
            <c:strRef>
              <c:f>Data!$J$19</c:f>
              <c:strCache>
                <c:ptCount val="1"/>
                <c:pt idx="0">
                  <c:v>J</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i-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A$20:$A$24</c:f>
              <c:numCache>
                <c:formatCode>General</c:formatCode>
                <c:ptCount val="5"/>
                <c:pt idx="0">
                  <c:v>1</c:v>
                </c:pt>
                <c:pt idx="1">
                  <c:v>2</c:v>
                </c:pt>
                <c:pt idx="2">
                  <c:v>3</c:v>
                </c:pt>
                <c:pt idx="3">
                  <c:v>4</c:v>
                </c:pt>
                <c:pt idx="4">
                  <c:v>5</c:v>
                </c:pt>
              </c:numCache>
            </c:numRef>
          </c:cat>
          <c:val>
            <c:numRef>
              <c:f>Data!$J$20:$J$24</c:f>
              <c:numCache>
                <c:formatCode>General</c:formatCode>
                <c:ptCount val="5"/>
                <c:pt idx="0">
                  <c:v>0</c:v>
                </c:pt>
                <c:pt idx="1">
                  <c:v>0</c:v>
                </c:pt>
                <c:pt idx="2">
                  <c:v>4</c:v>
                </c:pt>
                <c:pt idx="3">
                  <c:v>6</c:v>
                </c:pt>
                <c:pt idx="4">
                  <c:v>4</c:v>
                </c:pt>
              </c:numCache>
            </c:numRef>
          </c:val>
          <c:extLst>
            <c:ext xmlns:c16="http://schemas.microsoft.com/office/drawing/2014/chart" uri="{C3380CC4-5D6E-409C-BE32-E72D297353CC}">
              <c16:uniqueId val="{00000000-2862-494F-95D3-7B58B5B8B34C}"/>
            </c:ext>
          </c:extLst>
        </c:ser>
        <c:dLbls>
          <c:dLblPos val="outEnd"/>
          <c:showLegendKey val="0"/>
          <c:showVal val="1"/>
          <c:showCatName val="0"/>
          <c:showSerName val="0"/>
          <c:showPercent val="0"/>
          <c:showBubbleSize val="0"/>
        </c:dLbls>
        <c:gapWidth val="219"/>
        <c:overlap val="-27"/>
        <c:axId val="1601249992"/>
        <c:axId val="1601244744"/>
      </c:barChart>
      <c:catAx>
        <c:axId val="1601249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1601244744"/>
        <c:crosses val="autoZero"/>
        <c:auto val="1"/>
        <c:lblAlgn val="ctr"/>
        <c:lblOffset val="100"/>
        <c:noMultiLvlLbl val="0"/>
      </c:catAx>
      <c:valAx>
        <c:axId val="1601244744"/>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i-FI"/>
                  <a:t>Vastaukset,</a:t>
                </a:r>
                <a:r>
                  <a:rPr lang="fi-FI" baseline="0"/>
                  <a:t> lkm</a:t>
                </a:r>
                <a:endParaRPr lang="fi-FI"/>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1601249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582CEE-55F0-4889-88C4-D4BFFB6FD296}"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fi-FI"/>
        </a:p>
      </dgm:t>
    </dgm:pt>
    <dgm:pt modelId="{BB582EF1-80C4-43C3-A2E1-F39DFE1C9092}">
      <dgm:prSet phldrT="[Text]" custT="1"/>
      <dgm:spPr>
        <a:solidFill>
          <a:schemeClr val="accent1"/>
        </a:solidFill>
      </dgm:spPr>
      <dgm:t>
        <a:bodyPr/>
        <a:lstStyle/>
        <a:p>
          <a:r>
            <a:rPr lang="fi-FI" sz="1800">
              <a:solidFill>
                <a:schemeClr val="bg1"/>
              </a:solidFill>
            </a:rPr>
            <a:t>Ilmastolaki</a:t>
          </a:r>
        </a:p>
      </dgm:t>
    </dgm:pt>
    <dgm:pt modelId="{AD81F347-EE1F-44D5-8D49-9379F33942AC}" type="parTrans" cxnId="{1E0E01DF-55A1-4C1D-A77A-8B6DE541D0AB}">
      <dgm:prSet/>
      <dgm:spPr/>
      <dgm:t>
        <a:bodyPr/>
        <a:lstStyle/>
        <a:p>
          <a:endParaRPr lang="fi-FI"/>
        </a:p>
      </dgm:t>
    </dgm:pt>
    <dgm:pt modelId="{1DA830C6-7AF5-48E9-9EBA-7010B356EF9D}" type="sibTrans" cxnId="{1E0E01DF-55A1-4C1D-A77A-8B6DE541D0AB}">
      <dgm:prSet/>
      <dgm:spPr/>
      <dgm:t>
        <a:bodyPr/>
        <a:lstStyle/>
        <a:p>
          <a:endParaRPr lang="fi-FI"/>
        </a:p>
      </dgm:t>
    </dgm:pt>
    <dgm:pt modelId="{B8056809-320C-48A3-AC3F-B75173D3A96E}" type="asst">
      <dgm:prSet phldrT="[Text]" custT="1"/>
      <dgm:spPr>
        <a:solidFill>
          <a:schemeClr val="accent1"/>
        </a:solidFill>
      </dgm:spPr>
      <dgm:t>
        <a:bodyPr/>
        <a:lstStyle/>
        <a:p>
          <a:r>
            <a:rPr lang="fi-FI" sz="1600" dirty="0"/>
            <a:t>Strategia/toimenpide-suunnitelma</a:t>
          </a:r>
        </a:p>
      </dgm:t>
    </dgm:pt>
    <dgm:pt modelId="{CD755015-FE68-40AD-8B7D-0E2E96F301D4}" type="parTrans" cxnId="{A5B67E83-DB83-40E3-AFD3-861078295A2D}">
      <dgm:prSet/>
      <dgm:spPr>
        <a:solidFill>
          <a:schemeClr val="tx2">
            <a:lumMod val="60000"/>
            <a:lumOff val="40000"/>
          </a:schemeClr>
        </a:solidFill>
        <a:ln>
          <a:solidFill>
            <a:schemeClr val="tx2">
              <a:lumMod val="60000"/>
              <a:lumOff val="40000"/>
            </a:schemeClr>
          </a:solidFill>
        </a:ln>
      </dgm:spPr>
      <dgm:t>
        <a:bodyPr/>
        <a:lstStyle/>
        <a:p>
          <a:endParaRPr lang="fi-FI"/>
        </a:p>
      </dgm:t>
    </dgm:pt>
    <dgm:pt modelId="{2040D534-1300-46B9-97CF-3B8D2048DC08}" type="sibTrans" cxnId="{A5B67E83-DB83-40E3-AFD3-861078295A2D}">
      <dgm:prSet/>
      <dgm:spPr/>
      <dgm:t>
        <a:bodyPr/>
        <a:lstStyle/>
        <a:p>
          <a:endParaRPr lang="fi-FI"/>
        </a:p>
      </dgm:t>
    </dgm:pt>
    <dgm:pt modelId="{19506688-8C7C-422F-A7DC-7E92FA701DD2}">
      <dgm:prSet phldrT="[Text]" custT="1"/>
      <dgm:spPr>
        <a:solidFill>
          <a:schemeClr val="accent1"/>
        </a:solidFill>
      </dgm:spPr>
      <dgm:t>
        <a:bodyPr/>
        <a:lstStyle/>
        <a:p>
          <a:r>
            <a:rPr lang="fi-FI" sz="1200" dirty="0"/>
            <a:t>Kansalaispaneelit / asiantuntijapaneelit </a:t>
          </a:r>
        </a:p>
      </dgm:t>
    </dgm:pt>
    <dgm:pt modelId="{EE1C9EE6-FFB9-4FFA-9C2A-44DA8551280D}" type="parTrans" cxnId="{A9166751-0949-40DC-8672-2399C90627B2}">
      <dgm:prSet/>
      <dgm:spPr>
        <a:solidFill>
          <a:schemeClr val="tx2">
            <a:lumMod val="60000"/>
            <a:lumOff val="40000"/>
          </a:schemeClr>
        </a:solidFill>
        <a:ln>
          <a:solidFill>
            <a:schemeClr val="tx2">
              <a:lumMod val="60000"/>
              <a:lumOff val="40000"/>
            </a:schemeClr>
          </a:solidFill>
        </a:ln>
      </dgm:spPr>
      <dgm:t>
        <a:bodyPr/>
        <a:lstStyle/>
        <a:p>
          <a:endParaRPr lang="fi-FI"/>
        </a:p>
      </dgm:t>
    </dgm:pt>
    <dgm:pt modelId="{EBAB386E-83AA-4472-80DD-361514293CFF}" type="sibTrans" cxnId="{A9166751-0949-40DC-8672-2399C90627B2}">
      <dgm:prSet/>
      <dgm:spPr/>
      <dgm:t>
        <a:bodyPr/>
        <a:lstStyle/>
        <a:p>
          <a:endParaRPr lang="fi-FI"/>
        </a:p>
      </dgm:t>
    </dgm:pt>
    <dgm:pt modelId="{EA0996AE-0FB0-45E9-BEBD-D3EB6A205493}">
      <dgm:prSet phldrT="[Text]"/>
      <dgm:spPr>
        <a:solidFill>
          <a:schemeClr val="accent1"/>
        </a:solidFill>
      </dgm:spPr>
      <dgm:t>
        <a:bodyPr/>
        <a:lstStyle/>
        <a:p>
          <a:r>
            <a:rPr lang="fi-FI" dirty="0"/>
            <a:t>Alueelliset tuet / tuet hiili-intensiivisen alan työntekijöille / rahoitusinstrumentit vihreään siirtymään</a:t>
          </a:r>
        </a:p>
      </dgm:t>
    </dgm:pt>
    <dgm:pt modelId="{E0AA7E6E-D52A-4484-8BFB-EEF8B82EEE9E}" type="parTrans" cxnId="{2D16C817-D346-4217-87F7-30AD0275A5FB}">
      <dgm:prSet/>
      <dgm:spPr>
        <a:ln>
          <a:solidFill>
            <a:schemeClr val="tx2">
              <a:lumMod val="60000"/>
              <a:lumOff val="40000"/>
            </a:schemeClr>
          </a:solidFill>
        </a:ln>
      </dgm:spPr>
      <dgm:t>
        <a:bodyPr/>
        <a:lstStyle/>
        <a:p>
          <a:endParaRPr lang="fi-FI"/>
        </a:p>
      </dgm:t>
    </dgm:pt>
    <dgm:pt modelId="{25FECC28-DF8E-4E19-A298-ABC4B3608E61}" type="sibTrans" cxnId="{2D16C817-D346-4217-87F7-30AD0275A5FB}">
      <dgm:prSet/>
      <dgm:spPr/>
      <dgm:t>
        <a:bodyPr/>
        <a:lstStyle/>
        <a:p>
          <a:endParaRPr lang="fi-FI"/>
        </a:p>
      </dgm:t>
    </dgm:pt>
    <dgm:pt modelId="{95AB6D0E-F9F2-4600-8845-2F04868FBA62}">
      <dgm:prSet phldrT="[Text]"/>
      <dgm:spPr>
        <a:solidFill>
          <a:schemeClr val="accent1"/>
        </a:solidFill>
      </dgm:spPr>
      <dgm:t>
        <a:bodyPr/>
        <a:lstStyle/>
        <a:p>
          <a:r>
            <a:rPr lang="fi-FI" dirty="0"/>
            <a:t>Muut toimenpiteet: vihreän siirtymän ministeriöt ja ministerit, paikalliset sopimukset, komissaarit, alkuperäiskansojen sopimukset </a:t>
          </a:r>
        </a:p>
      </dgm:t>
    </dgm:pt>
    <dgm:pt modelId="{C80E9FC9-B024-4FFD-968E-9DD59EC5A6A9}" type="parTrans" cxnId="{FACB325A-C76F-4385-8DEA-69CCEF2F5C43}">
      <dgm:prSet/>
      <dgm:spPr>
        <a:solidFill>
          <a:schemeClr val="tx2">
            <a:lumMod val="60000"/>
            <a:lumOff val="40000"/>
          </a:schemeClr>
        </a:solidFill>
        <a:ln>
          <a:solidFill>
            <a:schemeClr val="tx2">
              <a:lumMod val="60000"/>
              <a:lumOff val="40000"/>
            </a:schemeClr>
          </a:solidFill>
        </a:ln>
      </dgm:spPr>
      <dgm:t>
        <a:bodyPr/>
        <a:lstStyle/>
        <a:p>
          <a:endParaRPr lang="fi-FI"/>
        </a:p>
      </dgm:t>
    </dgm:pt>
    <dgm:pt modelId="{D183C8B5-FFE2-4C23-BE39-F8A872A24A6C}" type="sibTrans" cxnId="{FACB325A-C76F-4385-8DEA-69CCEF2F5C43}">
      <dgm:prSet/>
      <dgm:spPr/>
      <dgm:t>
        <a:bodyPr/>
        <a:lstStyle/>
        <a:p>
          <a:endParaRPr lang="fi-FI"/>
        </a:p>
      </dgm:t>
    </dgm:pt>
    <dgm:pt modelId="{028ADF49-306E-4A1E-B6C7-FE5E911B686A}" type="pres">
      <dgm:prSet presAssocID="{CD582CEE-55F0-4889-88C4-D4BFFB6FD296}" presName="hierChild1" presStyleCnt="0">
        <dgm:presLayoutVars>
          <dgm:orgChart val="1"/>
          <dgm:chPref val="1"/>
          <dgm:dir/>
          <dgm:animOne val="branch"/>
          <dgm:animLvl val="lvl"/>
          <dgm:resizeHandles/>
        </dgm:presLayoutVars>
      </dgm:prSet>
      <dgm:spPr/>
    </dgm:pt>
    <dgm:pt modelId="{09DAFD5A-C7BB-4076-A4E0-CD0910511D3B}" type="pres">
      <dgm:prSet presAssocID="{BB582EF1-80C4-43C3-A2E1-F39DFE1C9092}" presName="hierRoot1" presStyleCnt="0">
        <dgm:presLayoutVars>
          <dgm:hierBranch val="init"/>
        </dgm:presLayoutVars>
      </dgm:prSet>
      <dgm:spPr/>
    </dgm:pt>
    <dgm:pt modelId="{4A135C50-5952-4132-92AD-A6FB92BEB267}" type="pres">
      <dgm:prSet presAssocID="{BB582EF1-80C4-43C3-A2E1-F39DFE1C9092}" presName="rootComposite1" presStyleCnt="0"/>
      <dgm:spPr/>
    </dgm:pt>
    <dgm:pt modelId="{29CC8FD7-FD90-4462-BBF0-1AFD63B04AE0}" type="pres">
      <dgm:prSet presAssocID="{BB582EF1-80C4-43C3-A2E1-F39DFE1C9092}" presName="rootText1" presStyleLbl="node0" presStyleIdx="0" presStyleCnt="1">
        <dgm:presLayoutVars>
          <dgm:chPref val="3"/>
        </dgm:presLayoutVars>
      </dgm:prSet>
      <dgm:spPr/>
    </dgm:pt>
    <dgm:pt modelId="{6CD22813-75C0-4CC1-87D9-40E0A99A0F57}" type="pres">
      <dgm:prSet presAssocID="{BB582EF1-80C4-43C3-A2E1-F39DFE1C9092}" presName="rootConnector1" presStyleLbl="node1" presStyleIdx="0" presStyleCnt="0"/>
      <dgm:spPr/>
    </dgm:pt>
    <dgm:pt modelId="{8FEC4A8B-D1A1-4C6F-8999-BB9C9F7A2C21}" type="pres">
      <dgm:prSet presAssocID="{BB582EF1-80C4-43C3-A2E1-F39DFE1C9092}" presName="hierChild2" presStyleCnt="0"/>
      <dgm:spPr/>
    </dgm:pt>
    <dgm:pt modelId="{BA676CB2-C79F-4FDA-92F4-783A105143CE}" type="pres">
      <dgm:prSet presAssocID="{EE1C9EE6-FFB9-4FFA-9C2A-44DA8551280D}" presName="Name37" presStyleLbl="parChTrans1D2" presStyleIdx="0" presStyleCnt="4"/>
      <dgm:spPr/>
    </dgm:pt>
    <dgm:pt modelId="{82A64093-195E-4F6A-9C8D-EBB7C873F144}" type="pres">
      <dgm:prSet presAssocID="{19506688-8C7C-422F-A7DC-7E92FA701DD2}" presName="hierRoot2" presStyleCnt="0">
        <dgm:presLayoutVars>
          <dgm:hierBranch val="init"/>
        </dgm:presLayoutVars>
      </dgm:prSet>
      <dgm:spPr/>
    </dgm:pt>
    <dgm:pt modelId="{C1CB62EB-3379-4E7D-803F-F947CDAF6DD6}" type="pres">
      <dgm:prSet presAssocID="{19506688-8C7C-422F-A7DC-7E92FA701DD2}" presName="rootComposite" presStyleCnt="0"/>
      <dgm:spPr/>
    </dgm:pt>
    <dgm:pt modelId="{EAD84CB3-D381-4D1F-8F10-F54E3A8DF5AC}" type="pres">
      <dgm:prSet presAssocID="{19506688-8C7C-422F-A7DC-7E92FA701DD2}" presName="rootText" presStyleLbl="node2" presStyleIdx="0" presStyleCnt="3" custScaleX="100653" custScaleY="223892">
        <dgm:presLayoutVars>
          <dgm:chPref val="3"/>
        </dgm:presLayoutVars>
      </dgm:prSet>
      <dgm:spPr/>
    </dgm:pt>
    <dgm:pt modelId="{AD54EC8B-F0B5-45DC-B0D9-13A0A43D0ED6}" type="pres">
      <dgm:prSet presAssocID="{19506688-8C7C-422F-A7DC-7E92FA701DD2}" presName="rootConnector" presStyleLbl="node2" presStyleIdx="0" presStyleCnt="3"/>
      <dgm:spPr/>
    </dgm:pt>
    <dgm:pt modelId="{3A3207A2-9DAC-45B2-A7DA-DD7AC722BC2C}" type="pres">
      <dgm:prSet presAssocID="{19506688-8C7C-422F-A7DC-7E92FA701DD2}" presName="hierChild4" presStyleCnt="0"/>
      <dgm:spPr/>
    </dgm:pt>
    <dgm:pt modelId="{9142C3E4-7A2F-4D5F-81B4-D408380B0CEE}" type="pres">
      <dgm:prSet presAssocID="{19506688-8C7C-422F-A7DC-7E92FA701DD2}" presName="hierChild5" presStyleCnt="0"/>
      <dgm:spPr/>
    </dgm:pt>
    <dgm:pt modelId="{646DF551-C331-4180-8D8F-7A0EA1320DA0}" type="pres">
      <dgm:prSet presAssocID="{E0AA7E6E-D52A-4484-8BFB-EEF8B82EEE9E}" presName="Name37" presStyleLbl="parChTrans1D2" presStyleIdx="1" presStyleCnt="4"/>
      <dgm:spPr/>
    </dgm:pt>
    <dgm:pt modelId="{7CCFD332-8460-4AAF-AB55-EE8C97B6D0A2}" type="pres">
      <dgm:prSet presAssocID="{EA0996AE-0FB0-45E9-BEBD-D3EB6A205493}" presName="hierRoot2" presStyleCnt="0">
        <dgm:presLayoutVars>
          <dgm:hierBranch val="init"/>
        </dgm:presLayoutVars>
      </dgm:prSet>
      <dgm:spPr/>
    </dgm:pt>
    <dgm:pt modelId="{61E63C66-E6E4-4FAC-B54E-CCACAC5DB236}" type="pres">
      <dgm:prSet presAssocID="{EA0996AE-0FB0-45E9-BEBD-D3EB6A205493}" presName="rootComposite" presStyleCnt="0"/>
      <dgm:spPr/>
    </dgm:pt>
    <dgm:pt modelId="{B528A61D-F771-4481-9151-411209CF3B42}" type="pres">
      <dgm:prSet presAssocID="{EA0996AE-0FB0-45E9-BEBD-D3EB6A205493}" presName="rootText" presStyleLbl="node2" presStyleIdx="1" presStyleCnt="3" custScaleY="227777">
        <dgm:presLayoutVars>
          <dgm:chPref val="3"/>
        </dgm:presLayoutVars>
      </dgm:prSet>
      <dgm:spPr/>
    </dgm:pt>
    <dgm:pt modelId="{B9F5F597-8F4C-4F22-B168-C3DF7493EE22}" type="pres">
      <dgm:prSet presAssocID="{EA0996AE-0FB0-45E9-BEBD-D3EB6A205493}" presName="rootConnector" presStyleLbl="node2" presStyleIdx="1" presStyleCnt="3"/>
      <dgm:spPr/>
    </dgm:pt>
    <dgm:pt modelId="{543B4F4B-8443-4992-8FDC-41B164FB4042}" type="pres">
      <dgm:prSet presAssocID="{EA0996AE-0FB0-45E9-BEBD-D3EB6A205493}" presName="hierChild4" presStyleCnt="0"/>
      <dgm:spPr/>
    </dgm:pt>
    <dgm:pt modelId="{06E1DE05-2B97-409C-800C-E3C5C2B1EA75}" type="pres">
      <dgm:prSet presAssocID="{EA0996AE-0FB0-45E9-BEBD-D3EB6A205493}" presName="hierChild5" presStyleCnt="0"/>
      <dgm:spPr/>
    </dgm:pt>
    <dgm:pt modelId="{BECD0F9D-49ED-42AD-BDEA-163CB537030E}" type="pres">
      <dgm:prSet presAssocID="{C80E9FC9-B024-4FFD-968E-9DD59EC5A6A9}" presName="Name37" presStyleLbl="parChTrans1D2" presStyleIdx="2" presStyleCnt="4"/>
      <dgm:spPr/>
    </dgm:pt>
    <dgm:pt modelId="{F71B5266-F760-4A1A-A3B1-05779E947199}" type="pres">
      <dgm:prSet presAssocID="{95AB6D0E-F9F2-4600-8845-2F04868FBA62}" presName="hierRoot2" presStyleCnt="0">
        <dgm:presLayoutVars>
          <dgm:hierBranch val="init"/>
        </dgm:presLayoutVars>
      </dgm:prSet>
      <dgm:spPr/>
    </dgm:pt>
    <dgm:pt modelId="{1290F120-3C3C-46AB-9B14-2A432921572A}" type="pres">
      <dgm:prSet presAssocID="{95AB6D0E-F9F2-4600-8845-2F04868FBA62}" presName="rootComposite" presStyleCnt="0"/>
      <dgm:spPr/>
    </dgm:pt>
    <dgm:pt modelId="{7604CB9D-A385-49AC-8E26-CA1410FDD43B}" type="pres">
      <dgm:prSet presAssocID="{95AB6D0E-F9F2-4600-8845-2F04868FBA62}" presName="rootText" presStyleLbl="node2" presStyleIdx="2" presStyleCnt="3" custScaleY="230868">
        <dgm:presLayoutVars>
          <dgm:chPref val="3"/>
        </dgm:presLayoutVars>
      </dgm:prSet>
      <dgm:spPr/>
    </dgm:pt>
    <dgm:pt modelId="{10D68C67-0087-4E68-BB57-C10E7E5E0F3B}" type="pres">
      <dgm:prSet presAssocID="{95AB6D0E-F9F2-4600-8845-2F04868FBA62}" presName="rootConnector" presStyleLbl="node2" presStyleIdx="2" presStyleCnt="3"/>
      <dgm:spPr/>
    </dgm:pt>
    <dgm:pt modelId="{35110DC8-9BF2-4465-8BF1-0739DE3F25AC}" type="pres">
      <dgm:prSet presAssocID="{95AB6D0E-F9F2-4600-8845-2F04868FBA62}" presName="hierChild4" presStyleCnt="0"/>
      <dgm:spPr/>
    </dgm:pt>
    <dgm:pt modelId="{FAB9FB7B-6CFC-4B4D-A462-A5F0C927854D}" type="pres">
      <dgm:prSet presAssocID="{95AB6D0E-F9F2-4600-8845-2F04868FBA62}" presName="hierChild5" presStyleCnt="0"/>
      <dgm:spPr/>
    </dgm:pt>
    <dgm:pt modelId="{BF1CB6ED-A122-440F-A671-0CC173C8B105}" type="pres">
      <dgm:prSet presAssocID="{BB582EF1-80C4-43C3-A2E1-F39DFE1C9092}" presName="hierChild3" presStyleCnt="0"/>
      <dgm:spPr/>
    </dgm:pt>
    <dgm:pt modelId="{963737DD-18DB-478F-BCCB-549812CA0B63}" type="pres">
      <dgm:prSet presAssocID="{CD755015-FE68-40AD-8B7D-0E2E96F301D4}" presName="Name111" presStyleLbl="parChTrans1D2" presStyleIdx="3" presStyleCnt="4"/>
      <dgm:spPr/>
    </dgm:pt>
    <dgm:pt modelId="{FF6AFC24-2E52-430B-A53B-0E2182C6BECD}" type="pres">
      <dgm:prSet presAssocID="{B8056809-320C-48A3-AC3F-B75173D3A96E}" presName="hierRoot3" presStyleCnt="0">
        <dgm:presLayoutVars>
          <dgm:hierBranch val="init"/>
        </dgm:presLayoutVars>
      </dgm:prSet>
      <dgm:spPr/>
    </dgm:pt>
    <dgm:pt modelId="{DE8B4435-E756-4775-B685-C1BF9E6D20FE}" type="pres">
      <dgm:prSet presAssocID="{B8056809-320C-48A3-AC3F-B75173D3A96E}" presName="rootComposite3" presStyleCnt="0"/>
      <dgm:spPr/>
    </dgm:pt>
    <dgm:pt modelId="{19362F69-212D-4C5A-AC50-8B9C8C028406}" type="pres">
      <dgm:prSet presAssocID="{B8056809-320C-48A3-AC3F-B75173D3A96E}" presName="rootText3" presStyleLbl="asst1" presStyleIdx="0" presStyleCnt="1" custScaleX="142341">
        <dgm:presLayoutVars>
          <dgm:chPref val="3"/>
        </dgm:presLayoutVars>
      </dgm:prSet>
      <dgm:spPr/>
    </dgm:pt>
    <dgm:pt modelId="{181F7706-34E4-4C35-8835-0F3397654FDB}" type="pres">
      <dgm:prSet presAssocID="{B8056809-320C-48A3-AC3F-B75173D3A96E}" presName="rootConnector3" presStyleLbl="asst1" presStyleIdx="0" presStyleCnt="1"/>
      <dgm:spPr/>
    </dgm:pt>
    <dgm:pt modelId="{477FD568-216D-41B5-BE33-0D6B068FCB88}" type="pres">
      <dgm:prSet presAssocID="{B8056809-320C-48A3-AC3F-B75173D3A96E}" presName="hierChild6" presStyleCnt="0"/>
      <dgm:spPr/>
    </dgm:pt>
    <dgm:pt modelId="{3267CF52-65F0-4662-B238-25AD1CB9E9E5}" type="pres">
      <dgm:prSet presAssocID="{B8056809-320C-48A3-AC3F-B75173D3A96E}" presName="hierChild7" presStyleCnt="0"/>
      <dgm:spPr/>
    </dgm:pt>
  </dgm:ptLst>
  <dgm:cxnLst>
    <dgm:cxn modelId="{2D16C817-D346-4217-87F7-30AD0275A5FB}" srcId="{BB582EF1-80C4-43C3-A2E1-F39DFE1C9092}" destId="{EA0996AE-0FB0-45E9-BEBD-D3EB6A205493}" srcOrd="2" destOrd="0" parTransId="{E0AA7E6E-D52A-4484-8BFB-EEF8B82EEE9E}" sibTransId="{25FECC28-DF8E-4E19-A298-ABC4B3608E61}"/>
    <dgm:cxn modelId="{5827E626-7974-4CAC-8ABD-27DAC0F80070}" type="presOf" srcId="{95AB6D0E-F9F2-4600-8845-2F04868FBA62}" destId="{7604CB9D-A385-49AC-8E26-CA1410FDD43B}" srcOrd="0" destOrd="0" presId="urn:microsoft.com/office/officeart/2005/8/layout/orgChart1"/>
    <dgm:cxn modelId="{C5715627-C17B-41B2-A76E-CE53110288B4}" type="presOf" srcId="{B8056809-320C-48A3-AC3F-B75173D3A96E}" destId="{181F7706-34E4-4C35-8835-0F3397654FDB}" srcOrd="1" destOrd="0" presId="urn:microsoft.com/office/officeart/2005/8/layout/orgChart1"/>
    <dgm:cxn modelId="{DDFAB030-D21F-4AAE-A949-77A9DF114064}" type="presOf" srcId="{CD582CEE-55F0-4889-88C4-D4BFFB6FD296}" destId="{028ADF49-306E-4A1E-B6C7-FE5E911B686A}" srcOrd="0" destOrd="0" presId="urn:microsoft.com/office/officeart/2005/8/layout/orgChart1"/>
    <dgm:cxn modelId="{FBE7F042-2A1E-4173-8A27-87DA023DF9A3}" type="presOf" srcId="{19506688-8C7C-422F-A7DC-7E92FA701DD2}" destId="{EAD84CB3-D381-4D1F-8F10-F54E3A8DF5AC}" srcOrd="0" destOrd="0" presId="urn:microsoft.com/office/officeart/2005/8/layout/orgChart1"/>
    <dgm:cxn modelId="{D6600565-9566-4994-A880-D889961F39F9}" type="presOf" srcId="{C80E9FC9-B024-4FFD-968E-9DD59EC5A6A9}" destId="{BECD0F9D-49ED-42AD-BDEA-163CB537030E}" srcOrd="0" destOrd="0" presId="urn:microsoft.com/office/officeart/2005/8/layout/orgChart1"/>
    <dgm:cxn modelId="{DB6FF069-9766-4460-89EC-DE4A8CC6B7AD}" type="presOf" srcId="{BB582EF1-80C4-43C3-A2E1-F39DFE1C9092}" destId="{29CC8FD7-FD90-4462-BBF0-1AFD63B04AE0}" srcOrd="0" destOrd="0" presId="urn:microsoft.com/office/officeart/2005/8/layout/orgChart1"/>
    <dgm:cxn modelId="{A9166751-0949-40DC-8672-2399C90627B2}" srcId="{BB582EF1-80C4-43C3-A2E1-F39DFE1C9092}" destId="{19506688-8C7C-422F-A7DC-7E92FA701DD2}" srcOrd="1" destOrd="0" parTransId="{EE1C9EE6-FFB9-4FFA-9C2A-44DA8551280D}" sibTransId="{EBAB386E-83AA-4472-80DD-361514293CFF}"/>
    <dgm:cxn modelId="{A88CA056-A5E6-47B5-BB4F-B69B31AC5F91}" type="presOf" srcId="{CD755015-FE68-40AD-8B7D-0E2E96F301D4}" destId="{963737DD-18DB-478F-BCCB-549812CA0B63}" srcOrd="0" destOrd="0" presId="urn:microsoft.com/office/officeart/2005/8/layout/orgChart1"/>
    <dgm:cxn modelId="{FACB325A-C76F-4385-8DEA-69CCEF2F5C43}" srcId="{BB582EF1-80C4-43C3-A2E1-F39DFE1C9092}" destId="{95AB6D0E-F9F2-4600-8845-2F04868FBA62}" srcOrd="3" destOrd="0" parTransId="{C80E9FC9-B024-4FFD-968E-9DD59EC5A6A9}" sibTransId="{D183C8B5-FFE2-4C23-BE39-F8A872A24A6C}"/>
    <dgm:cxn modelId="{A5B67E83-DB83-40E3-AFD3-861078295A2D}" srcId="{BB582EF1-80C4-43C3-A2E1-F39DFE1C9092}" destId="{B8056809-320C-48A3-AC3F-B75173D3A96E}" srcOrd="0" destOrd="0" parTransId="{CD755015-FE68-40AD-8B7D-0E2E96F301D4}" sibTransId="{2040D534-1300-46B9-97CF-3B8D2048DC08}"/>
    <dgm:cxn modelId="{A051DD8F-5B11-4209-8C28-8C66D4AFB0A9}" type="presOf" srcId="{B8056809-320C-48A3-AC3F-B75173D3A96E}" destId="{19362F69-212D-4C5A-AC50-8B9C8C028406}" srcOrd="0" destOrd="0" presId="urn:microsoft.com/office/officeart/2005/8/layout/orgChart1"/>
    <dgm:cxn modelId="{C2AA419B-C7AB-4E79-A7EA-4D68096B50D7}" type="presOf" srcId="{19506688-8C7C-422F-A7DC-7E92FA701DD2}" destId="{AD54EC8B-F0B5-45DC-B0D9-13A0A43D0ED6}" srcOrd="1" destOrd="0" presId="urn:microsoft.com/office/officeart/2005/8/layout/orgChart1"/>
    <dgm:cxn modelId="{70B2EEA5-1DB3-441D-B197-B91C55D8BD31}" type="presOf" srcId="{95AB6D0E-F9F2-4600-8845-2F04868FBA62}" destId="{10D68C67-0087-4E68-BB57-C10E7E5E0F3B}" srcOrd="1" destOrd="0" presId="urn:microsoft.com/office/officeart/2005/8/layout/orgChart1"/>
    <dgm:cxn modelId="{630527A6-CCFF-4162-A4CA-AA043F81A435}" type="presOf" srcId="{E0AA7E6E-D52A-4484-8BFB-EEF8B82EEE9E}" destId="{646DF551-C331-4180-8D8F-7A0EA1320DA0}" srcOrd="0" destOrd="0" presId="urn:microsoft.com/office/officeart/2005/8/layout/orgChart1"/>
    <dgm:cxn modelId="{AEA8B5A9-7E3E-4378-B2B0-B0BB0AFE62C6}" type="presOf" srcId="{EA0996AE-0FB0-45E9-BEBD-D3EB6A205493}" destId="{B528A61D-F771-4481-9151-411209CF3B42}" srcOrd="0" destOrd="0" presId="urn:microsoft.com/office/officeart/2005/8/layout/orgChart1"/>
    <dgm:cxn modelId="{71E213D5-A300-4B0C-A8AD-F634D00B57C9}" type="presOf" srcId="{BB582EF1-80C4-43C3-A2E1-F39DFE1C9092}" destId="{6CD22813-75C0-4CC1-87D9-40E0A99A0F57}" srcOrd="1" destOrd="0" presId="urn:microsoft.com/office/officeart/2005/8/layout/orgChart1"/>
    <dgm:cxn modelId="{1E0E01DF-55A1-4C1D-A77A-8B6DE541D0AB}" srcId="{CD582CEE-55F0-4889-88C4-D4BFFB6FD296}" destId="{BB582EF1-80C4-43C3-A2E1-F39DFE1C9092}" srcOrd="0" destOrd="0" parTransId="{AD81F347-EE1F-44D5-8D49-9379F33942AC}" sibTransId="{1DA830C6-7AF5-48E9-9EBA-7010B356EF9D}"/>
    <dgm:cxn modelId="{E1EC75E6-B41E-4481-B141-7FEA37583DEA}" type="presOf" srcId="{EE1C9EE6-FFB9-4FFA-9C2A-44DA8551280D}" destId="{BA676CB2-C79F-4FDA-92F4-783A105143CE}" srcOrd="0" destOrd="0" presId="urn:microsoft.com/office/officeart/2005/8/layout/orgChart1"/>
    <dgm:cxn modelId="{F0BD6CE8-6D44-4256-9894-9EE641793A90}" type="presOf" srcId="{EA0996AE-0FB0-45E9-BEBD-D3EB6A205493}" destId="{B9F5F597-8F4C-4F22-B168-C3DF7493EE22}" srcOrd="1" destOrd="0" presId="urn:microsoft.com/office/officeart/2005/8/layout/orgChart1"/>
    <dgm:cxn modelId="{488E927A-6968-468A-8B77-E50E523680A7}" type="presParOf" srcId="{028ADF49-306E-4A1E-B6C7-FE5E911B686A}" destId="{09DAFD5A-C7BB-4076-A4E0-CD0910511D3B}" srcOrd="0" destOrd="0" presId="urn:microsoft.com/office/officeart/2005/8/layout/orgChart1"/>
    <dgm:cxn modelId="{6F4F477F-A8A6-4427-A43A-1160768111EF}" type="presParOf" srcId="{09DAFD5A-C7BB-4076-A4E0-CD0910511D3B}" destId="{4A135C50-5952-4132-92AD-A6FB92BEB267}" srcOrd="0" destOrd="0" presId="urn:microsoft.com/office/officeart/2005/8/layout/orgChart1"/>
    <dgm:cxn modelId="{6EB0C7A1-631F-4755-A64A-0755E6DC4FEE}" type="presParOf" srcId="{4A135C50-5952-4132-92AD-A6FB92BEB267}" destId="{29CC8FD7-FD90-4462-BBF0-1AFD63B04AE0}" srcOrd="0" destOrd="0" presId="urn:microsoft.com/office/officeart/2005/8/layout/orgChart1"/>
    <dgm:cxn modelId="{2351F2FF-8777-4CEC-BD7E-348CF563D20A}" type="presParOf" srcId="{4A135C50-5952-4132-92AD-A6FB92BEB267}" destId="{6CD22813-75C0-4CC1-87D9-40E0A99A0F57}" srcOrd="1" destOrd="0" presId="urn:microsoft.com/office/officeart/2005/8/layout/orgChart1"/>
    <dgm:cxn modelId="{7B205250-0D94-43A9-A36C-F114CE330BDD}" type="presParOf" srcId="{09DAFD5A-C7BB-4076-A4E0-CD0910511D3B}" destId="{8FEC4A8B-D1A1-4C6F-8999-BB9C9F7A2C21}" srcOrd="1" destOrd="0" presId="urn:microsoft.com/office/officeart/2005/8/layout/orgChart1"/>
    <dgm:cxn modelId="{33B92168-0360-4713-AED5-54036DE19B04}" type="presParOf" srcId="{8FEC4A8B-D1A1-4C6F-8999-BB9C9F7A2C21}" destId="{BA676CB2-C79F-4FDA-92F4-783A105143CE}" srcOrd="0" destOrd="0" presId="urn:microsoft.com/office/officeart/2005/8/layout/orgChart1"/>
    <dgm:cxn modelId="{38EC129E-E525-4D63-8A77-9E9B00AAC98E}" type="presParOf" srcId="{8FEC4A8B-D1A1-4C6F-8999-BB9C9F7A2C21}" destId="{82A64093-195E-4F6A-9C8D-EBB7C873F144}" srcOrd="1" destOrd="0" presId="urn:microsoft.com/office/officeart/2005/8/layout/orgChart1"/>
    <dgm:cxn modelId="{5A6D0B31-3822-4A51-BC01-A06CEDBC7C94}" type="presParOf" srcId="{82A64093-195E-4F6A-9C8D-EBB7C873F144}" destId="{C1CB62EB-3379-4E7D-803F-F947CDAF6DD6}" srcOrd="0" destOrd="0" presId="urn:microsoft.com/office/officeart/2005/8/layout/orgChart1"/>
    <dgm:cxn modelId="{F344D1AD-730B-4B0A-89A8-C7CDD9815E3B}" type="presParOf" srcId="{C1CB62EB-3379-4E7D-803F-F947CDAF6DD6}" destId="{EAD84CB3-D381-4D1F-8F10-F54E3A8DF5AC}" srcOrd="0" destOrd="0" presId="urn:microsoft.com/office/officeart/2005/8/layout/orgChart1"/>
    <dgm:cxn modelId="{386A83E7-4C75-4755-AF54-E6C0ADC97533}" type="presParOf" srcId="{C1CB62EB-3379-4E7D-803F-F947CDAF6DD6}" destId="{AD54EC8B-F0B5-45DC-B0D9-13A0A43D0ED6}" srcOrd="1" destOrd="0" presId="urn:microsoft.com/office/officeart/2005/8/layout/orgChart1"/>
    <dgm:cxn modelId="{CA89378E-0C53-4407-9F50-B0312CD58C83}" type="presParOf" srcId="{82A64093-195E-4F6A-9C8D-EBB7C873F144}" destId="{3A3207A2-9DAC-45B2-A7DA-DD7AC722BC2C}" srcOrd="1" destOrd="0" presId="urn:microsoft.com/office/officeart/2005/8/layout/orgChart1"/>
    <dgm:cxn modelId="{DBF47ED7-4750-4A5B-BDA8-6632B2BD3EF2}" type="presParOf" srcId="{82A64093-195E-4F6A-9C8D-EBB7C873F144}" destId="{9142C3E4-7A2F-4D5F-81B4-D408380B0CEE}" srcOrd="2" destOrd="0" presId="urn:microsoft.com/office/officeart/2005/8/layout/orgChart1"/>
    <dgm:cxn modelId="{100D256F-44CF-4655-963C-11C98713B5F8}" type="presParOf" srcId="{8FEC4A8B-D1A1-4C6F-8999-BB9C9F7A2C21}" destId="{646DF551-C331-4180-8D8F-7A0EA1320DA0}" srcOrd="2" destOrd="0" presId="urn:microsoft.com/office/officeart/2005/8/layout/orgChart1"/>
    <dgm:cxn modelId="{1A160B40-701F-4BFA-9280-6DE2FB6D198A}" type="presParOf" srcId="{8FEC4A8B-D1A1-4C6F-8999-BB9C9F7A2C21}" destId="{7CCFD332-8460-4AAF-AB55-EE8C97B6D0A2}" srcOrd="3" destOrd="0" presId="urn:microsoft.com/office/officeart/2005/8/layout/orgChart1"/>
    <dgm:cxn modelId="{AEFD6993-0552-42F7-BC8F-47455BE651C2}" type="presParOf" srcId="{7CCFD332-8460-4AAF-AB55-EE8C97B6D0A2}" destId="{61E63C66-E6E4-4FAC-B54E-CCACAC5DB236}" srcOrd="0" destOrd="0" presId="urn:microsoft.com/office/officeart/2005/8/layout/orgChart1"/>
    <dgm:cxn modelId="{F9988221-EB0E-4B36-A36B-F7C66E4BCE76}" type="presParOf" srcId="{61E63C66-E6E4-4FAC-B54E-CCACAC5DB236}" destId="{B528A61D-F771-4481-9151-411209CF3B42}" srcOrd="0" destOrd="0" presId="urn:microsoft.com/office/officeart/2005/8/layout/orgChart1"/>
    <dgm:cxn modelId="{F2BF9988-964C-4549-AFB8-A1B5F57BBCF3}" type="presParOf" srcId="{61E63C66-E6E4-4FAC-B54E-CCACAC5DB236}" destId="{B9F5F597-8F4C-4F22-B168-C3DF7493EE22}" srcOrd="1" destOrd="0" presId="urn:microsoft.com/office/officeart/2005/8/layout/orgChart1"/>
    <dgm:cxn modelId="{25B1011E-4E7D-4D38-A53E-67AB8F04E0FD}" type="presParOf" srcId="{7CCFD332-8460-4AAF-AB55-EE8C97B6D0A2}" destId="{543B4F4B-8443-4992-8FDC-41B164FB4042}" srcOrd="1" destOrd="0" presId="urn:microsoft.com/office/officeart/2005/8/layout/orgChart1"/>
    <dgm:cxn modelId="{E5373DF5-54F3-4AD0-BC8B-51090B1CE84A}" type="presParOf" srcId="{7CCFD332-8460-4AAF-AB55-EE8C97B6D0A2}" destId="{06E1DE05-2B97-409C-800C-E3C5C2B1EA75}" srcOrd="2" destOrd="0" presId="urn:microsoft.com/office/officeart/2005/8/layout/orgChart1"/>
    <dgm:cxn modelId="{6A8EBAC3-506B-4747-8F3F-77E3B7C89461}" type="presParOf" srcId="{8FEC4A8B-D1A1-4C6F-8999-BB9C9F7A2C21}" destId="{BECD0F9D-49ED-42AD-BDEA-163CB537030E}" srcOrd="4" destOrd="0" presId="urn:microsoft.com/office/officeart/2005/8/layout/orgChart1"/>
    <dgm:cxn modelId="{17972552-4CE0-464A-AA8B-9374BB03ACE7}" type="presParOf" srcId="{8FEC4A8B-D1A1-4C6F-8999-BB9C9F7A2C21}" destId="{F71B5266-F760-4A1A-A3B1-05779E947199}" srcOrd="5" destOrd="0" presId="urn:microsoft.com/office/officeart/2005/8/layout/orgChart1"/>
    <dgm:cxn modelId="{1301F852-508A-4DB6-ABF6-377E034C90D1}" type="presParOf" srcId="{F71B5266-F760-4A1A-A3B1-05779E947199}" destId="{1290F120-3C3C-46AB-9B14-2A432921572A}" srcOrd="0" destOrd="0" presId="urn:microsoft.com/office/officeart/2005/8/layout/orgChart1"/>
    <dgm:cxn modelId="{A5FA9834-20A3-4FD3-9E24-C763D5DB65B7}" type="presParOf" srcId="{1290F120-3C3C-46AB-9B14-2A432921572A}" destId="{7604CB9D-A385-49AC-8E26-CA1410FDD43B}" srcOrd="0" destOrd="0" presId="urn:microsoft.com/office/officeart/2005/8/layout/orgChart1"/>
    <dgm:cxn modelId="{BAFF8D4C-FBEF-43FF-90EC-9800E2CD667C}" type="presParOf" srcId="{1290F120-3C3C-46AB-9B14-2A432921572A}" destId="{10D68C67-0087-4E68-BB57-C10E7E5E0F3B}" srcOrd="1" destOrd="0" presId="urn:microsoft.com/office/officeart/2005/8/layout/orgChart1"/>
    <dgm:cxn modelId="{7824379D-B4C2-456F-B7E2-3C198B187E00}" type="presParOf" srcId="{F71B5266-F760-4A1A-A3B1-05779E947199}" destId="{35110DC8-9BF2-4465-8BF1-0739DE3F25AC}" srcOrd="1" destOrd="0" presId="urn:microsoft.com/office/officeart/2005/8/layout/orgChart1"/>
    <dgm:cxn modelId="{980BDC4A-CF27-4201-944B-0F82415647E8}" type="presParOf" srcId="{F71B5266-F760-4A1A-A3B1-05779E947199}" destId="{FAB9FB7B-6CFC-4B4D-A462-A5F0C927854D}" srcOrd="2" destOrd="0" presId="urn:microsoft.com/office/officeart/2005/8/layout/orgChart1"/>
    <dgm:cxn modelId="{71503449-82C2-423E-A047-2A9DB05BD649}" type="presParOf" srcId="{09DAFD5A-C7BB-4076-A4E0-CD0910511D3B}" destId="{BF1CB6ED-A122-440F-A671-0CC173C8B105}" srcOrd="2" destOrd="0" presId="urn:microsoft.com/office/officeart/2005/8/layout/orgChart1"/>
    <dgm:cxn modelId="{8291530C-7890-4978-B004-74422A56A41B}" type="presParOf" srcId="{BF1CB6ED-A122-440F-A671-0CC173C8B105}" destId="{963737DD-18DB-478F-BCCB-549812CA0B63}" srcOrd="0" destOrd="0" presId="urn:microsoft.com/office/officeart/2005/8/layout/orgChart1"/>
    <dgm:cxn modelId="{D61BC7C8-821C-445C-969B-E85B17C107CC}" type="presParOf" srcId="{BF1CB6ED-A122-440F-A671-0CC173C8B105}" destId="{FF6AFC24-2E52-430B-A53B-0E2182C6BECD}" srcOrd="1" destOrd="0" presId="urn:microsoft.com/office/officeart/2005/8/layout/orgChart1"/>
    <dgm:cxn modelId="{A441671D-ACD8-49DB-BA25-57583CA72D80}" type="presParOf" srcId="{FF6AFC24-2E52-430B-A53B-0E2182C6BECD}" destId="{DE8B4435-E756-4775-B685-C1BF9E6D20FE}" srcOrd="0" destOrd="0" presId="urn:microsoft.com/office/officeart/2005/8/layout/orgChart1"/>
    <dgm:cxn modelId="{50B0E2D2-2D87-499E-9F21-D9FE6D4783FA}" type="presParOf" srcId="{DE8B4435-E756-4775-B685-C1BF9E6D20FE}" destId="{19362F69-212D-4C5A-AC50-8B9C8C028406}" srcOrd="0" destOrd="0" presId="urn:microsoft.com/office/officeart/2005/8/layout/orgChart1"/>
    <dgm:cxn modelId="{EB44B7E3-B4E0-4735-8E11-F30B162CCB95}" type="presParOf" srcId="{DE8B4435-E756-4775-B685-C1BF9E6D20FE}" destId="{181F7706-34E4-4C35-8835-0F3397654FDB}" srcOrd="1" destOrd="0" presId="urn:microsoft.com/office/officeart/2005/8/layout/orgChart1"/>
    <dgm:cxn modelId="{824DA078-FD64-41CF-80AC-F7DDF97A1687}" type="presParOf" srcId="{FF6AFC24-2E52-430B-A53B-0E2182C6BECD}" destId="{477FD568-216D-41B5-BE33-0D6B068FCB88}" srcOrd="1" destOrd="0" presId="urn:microsoft.com/office/officeart/2005/8/layout/orgChart1"/>
    <dgm:cxn modelId="{D4B0CE0F-F335-4940-946C-38E6D150441C}" type="presParOf" srcId="{FF6AFC24-2E52-430B-A53B-0E2182C6BECD}" destId="{3267CF52-65F0-4662-B238-25AD1CB9E9E5}" srcOrd="2" destOrd="0" presId="urn:microsoft.com/office/officeart/2005/8/layout/orgChar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3737DD-18DB-478F-BCCB-549812CA0B63}">
      <dsp:nvSpPr>
        <dsp:cNvPr id="0" name=""/>
        <dsp:cNvSpPr/>
      </dsp:nvSpPr>
      <dsp:spPr>
        <a:xfrm>
          <a:off x="2298040" y="1028505"/>
          <a:ext cx="149983" cy="657069"/>
        </a:xfrm>
        <a:custGeom>
          <a:avLst/>
          <a:gdLst/>
          <a:ahLst/>
          <a:cxnLst/>
          <a:rect l="0" t="0" r="0" b="0"/>
          <a:pathLst>
            <a:path>
              <a:moveTo>
                <a:pt x="149983" y="0"/>
              </a:moveTo>
              <a:lnTo>
                <a:pt x="149983" y="657069"/>
              </a:lnTo>
              <a:lnTo>
                <a:pt x="0" y="657069"/>
              </a:lnTo>
            </a:path>
          </a:pathLst>
        </a:custGeom>
        <a:noFill/>
        <a:ln w="12700" cap="flat" cmpd="sng" algn="ctr">
          <a:solidFill>
            <a:schemeClr val="tx2">
              <a:lumMod val="60000"/>
              <a:lumOff val="40000"/>
            </a:schemeClr>
          </a:solidFill>
          <a:prstDash val="solid"/>
          <a:miter lim="800000"/>
        </a:ln>
        <a:effectLst/>
      </dsp:spPr>
      <dsp:style>
        <a:lnRef idx="2">
          <a:scrgbClr r="0" g="0" b="0"/>
        </a:lnRef>
        <a:fillRef idx="0">
          <a:scrgbClr r="0" g="0" b="0"/>
        </a:fillRef>
        <a:effectRef idx="0">
          <a:scrgbClr r="0" g="0" b="0"/>
        </a:effectRef>
        <a:fontRef idx="minor"/>
      </dsp:style>
    </dsp:sp>
    <dsp:sp modelId="{BECD0F9D-49ED-42AD-BDEA-163CB537030E}">
      <dsp:nvSpPr>
        <dsp:cNvPr id="0" name=""/>
        <dsp:cNvSpPr/>
      </dsp:nvSpPr>
      <dsp:spPr>
        <a:xfrm>
          <a:off x="2448023" y="1028505"/>
          <a:ext cx="1733042" cy="1314139"/>
        </a:xfrm>
        <a:custGeom>
          <a:avLst/>
          <a:gdLst/>
          <a:ahLst/>
          <a:cxnLst/>
          <a:rect l="0" t="0" r="0" b="0"/>
          <a:pathLst>
            <a:path>
              <a:moveTo>
                <a:pt x="0" y="0"/>
              </a:moveTo>
              <a:lnTo>
                <a:pt x="0" y="1164155"/>
              </a:lnTo>
              <a:lnTo>
                <a:pt x="1733042" y="1164155"/>
              </a:lnTo>
              <a:lnTo>
                <a:pt x="1733042" y="1314139"/>
              </a:lnTo>
            </a:path>
          </a:pathLst>
        </a:custGeom>
        <a:noFill/>
        <a:ln w="12700" cap="flat" cmpd="sng" algn="ctr">
          <a:solidFill>
            <a:schemeClr val="tx2">
              <a:lumMod val="60000"/>
              <a:lumOff val="40000"/>
            </a:schemeClr>
          </a:solidFill>
          <a:prstDash val="solid"/>
          <a:miter lim="800000"/>
        </a:ln>
        <a:effectLst/>
      </dsp:spPr>
      <dsp:style>
        <a:lnRef idx="2">
          <a:scrgbClr r="0" g="0" b="0"/>
        </a:lnRef>
        <a:fillRef idx="0">
          <a:scrgbClr r="0" g="0" b="0"/>
        </a:fillRef>
        <a:effectRef idx="0">
          <a:scrgbClr r="0" g="0" b="0"/>
        </a:effectRef>
        <a:fontRef idx="minor"/>
      </dsp:style>
    </dsp:sp>
    <dsp:sp modelId="{646DF551-C331-4180-8D8F-7A0EA1320DA0}">
      <dsp:nvSpPr>
        <dsp:cNvPr id="0" name=""/>
        <dsp:cNvSpPr/>
      </dsp:nvSpPr>
      <dsp:spPr>
        <a:xfrm>
          <a:off x="2402303" y="1028505"/>
          <a:ext cx="91440" cy="1314139"/>
        </a:xfrm>
        <a:custGeom>
          <a:avLst/>
          <a:gdLst/>
          <a:ahLst/>
          <a:cxnLst/>
          <a:rect l="0" t="0" r="0" b="0"/>
          <a:pathLst>
            <a:path>
              <a:moveTo>
                <a:pt x="45720" y="0"/>
              </a:moveTo>
              <a:lnTo>
                <a:pt x="45720" y="1164155"/>
              </a:lnTo>
              <a:lnTo>
                <a:pt x="50383" y="1164155"/>
              </a:lnTo>
              <a:lnTo>
                <a:pt x="50383" y="1314139"/>
              </a:lnTo>
            </a:path>
          </a:pathLst>
        </a:custGeom>
        <a:noFill/>
        <a:ln w="12700" cap="flat" cmpd="sng" algn="ctr">
          <a:solidFill>
            <a:schemeClr val="tx2">
              <a:lumMod val="60000"/>
              <a:lumOff val="40000"/>
            </a:schemeClr>
          </a:solidFill>
          <a:prstDash val="solid"/>
          <a:miter lim="800000"/>
        </a:ln>
        <a:effectLst/>
      </dsp:spPr>
      <dsp:style>
        <a:lnRef idx="2">
          <a:scrgbClr r="0" g="0" b="0"/>
        </a:lnRef>
        <a:fillRef idx="0">
          <a:scrgbClr r="0" g="0" b="0"/>
        </a:fillRef>
        <a:effectRef idx="0">
          <a:scrgbClr r="0" g="0" b="0"/>
        </a:effectRef>
        <a:fontRef idx="minor"/>
      </dsp:style>
    </dsp:sp>
    <dsp:sp modelId="{BA676CB2-C79F-4FDA-92F4-783A105143CE}">
      <dsp:nvSpPr>
        <dsp:cNvPr id="0" name=""/>
        <dsp:cNvSpPr/>
      </dsp:nvSpPr>
      <dsp:spPr>
        <a:xfrm>
          <a:off x="719644" y="1028505"/>
          <a:ext cx="1728378" cy="1314139"/>
        </a:xfrm>
        <a:custGeom>
          <a:avLst/>
          <a:gdLst/>
          <a:ahLst/>
          <a:cxnLst/>
          <a:rect l="0" t="0" r="0" b="0"/>
          <a:pathLst>
            <a:path>
              <a:moveTo>
                <a:pt x="1728378" y="0"/>
              </a:moveTo>
              <a:lnTo>
                <a:pt x="1728378" y="1164155"/>
              </a:lnTo>
              <a:lnTo>
                <a:pt x="0" y="1164155"/>
              </a:lnTo>
              <a:lnTo>
                <a:pt x="0" y="1314139"/>
              </a:lnTo>
            </a:path>
          </a:pathLst>
        </a:custGeom>
        <a:noFill/>
        <a:ln w="12700" cap="flat" cmpd="sng" algn="ctr">
          <a:solidFill>
            <a:schemeClr val="tx2">
              <a:lumMod val="60000"/>
              <a:lumOff val="40000"/>
            </a:schemeClr>
          </a:solidFill>
          <a:prstDash val="solid"/>
          <a:miter lim="800000"/>
        </a:ln>
        <a:effectLst/>
      </dsp:spPr>
      <dsp:style>
        <a:lnRef idx="2">
          <a:scrgbClr r="0" g="0" b="0"/>
        </a:lnRef>
        <a:fillRef idx="0">
          <a:scrgbClr r="0" g="0" b="0"/>
        </a:fillRef>
        <a:effectRef idx="0">
          <a:scrgbClr r="0" g="0" b="0"/>
        </a:effectRef>
        <a:fontRef idx="minor"/>
      </dsp:style>
    </dsp:sp>
    <dsp:sp modelId="{29CC8FD7-FD90-4462-BBF0-1AFD63B04AE0}">
      <dsp:nvSpPr>
        <dsp:cNvPr id="0" name=""/>
        <dsp:cNvSpPr/>
      </dsp:nvSpPr>
      <dsp:spPr>
        <a:xfrm>
          <a:off x="1733817" y="314299"/>
          <a:ext cx="1428412" cy="714206"/>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fi-FI" sz="1800" kern="1200">
              <a:solidFill>
                <a:schemeClr val="bg1"/>
              </a:solidFill>
            </a:rPr>
            <a:t>Ilmastolaki</a:t>
          </a:r>
        </a:p>
      </dsp:txBody>
      <dsp:txXfrm>
        <a:off x="1733817" y="314299"/>
        <a:ext cx="1428412" cy="714206"/>
      </dsp:txXfrm>
    </dsp:sp>
    <dsp:sp modelId="{EAD84CB3-D381-4D1F-8F10-F54E3A8DF5AC}">
      <dsp:nvSpPr>
        <dsp:cNvPr id="0" name=""/>
        <dsp:cNvSpPr/>
      </dsp:nvSpPr>
      <dsp:spPr>
        <a:xfrm>
          <a:off x="774" y="2342644"/>
          <a:ext cx="1437739" cy="1599050"/>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fi-FI" sz="1200" kern="1200" dirty="0"/>
            <a:t>Kansalaispaneelit / asiantuntijapaneelit </a:t>
          </a:r>
        </a:p>
      </dsp:txBody>
      <dsp:txXfrm>
        <a:off x="774" y="2342644"/>
        <a:ext cx="1437739" cy="1599050"/>
      </dsp:txXfrm>
    </dsp:sp>
    <dsp:sp modelId="{B528A61D-F771-4481-9151-411209CF3B42}">
      <dsp:nvSpPr>
        <dsp:cNvPr id="0" name=""/>
        <dsp:cNvSpPr/>
      </dsp:nvSpPr>
      <dsp:spPr>
        <a:xfrm>
          <a:off x="1738481" y="2342644"/>
          <a:ext cx="1428412" cy="1626797"/>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fi-FI" sz="1200" kern="1200" dirty="0"/>
            <a:t>Alueelliset tuet / tuet hiili-intensiivisen alan työntekijöille / rahoitusinstrumentit vihreään siirtymään</a:t>
          </a:r>
        </a:p>
      </dsp:txBody>
      <dsp:txXfrm>
        <a:off x="1738481" y="2342644"/>
        <a:ext cx="1428412" cy="1626797"/>
      </dsp:txXfrm>
    </dsp:sp>
    <dsp:sp modelId="{7604CB9D-A385-49AC-8E26-CA1410FDD43B}">
      <dsp:nvSpPr>
        <dsp:cNvPr id="0" name=""/>
        <dsp:cNvSpPr/>
      </dsp:nvSpPr>
      <dsp:spPr>
        <a:xfrm>
          <a:off x="3466859" y="2342644"/>
          <a:ext cx="1428412" cy="1648873"/>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fi-FI" sz="1200" kern="1200" dirty="0"/>
            <a:t>Muut toimenpiteet: vihreän siirtymän ministeriöt ja ministerit, paikalliset sopimukset, komissaarit, alkuperäiskansojen sopimukset </a:t>
          </a:r>
        </a:p>
      </dsp:txBody>
      <dsp:txXfrm>
        <a:off x="3466859" y="2342644"/>
        <a:ext cx="1428412" cy="1648873"/>
      </dsp:txXfrm>
    </dsp:sp>
    <dsp:sp modelId="{19362F69-212D-4C5A-AC50-8B9C8C028406}">
      <dsp:nvSpPr>
        <dsp:cNvPr id="0" name=""/>
        <dsp:cNvSpPr/>
      </dsp:nvSpPr>
      <dsp:spPr>
        <a:xfrm>
          <a:off x="264824" y="1328471"/>
          <a:ext cx="2033216" cy="714206"/>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fi-FI" sz="1600" kern="1200" dirty="0"/>
            <a:t>Strategia/toimenpide-suunnitelma</a:t>
          </a:r>
        </a:p>
      </dsp:txBody>
      <dsp:txXfrm>
        <a:off x="264824" y="1328471"/>
        <a:ext cx="2033216" cy="71420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i-FI" sz="80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79C4D6F-3437-4D04-97BE-075DAFECC732}" type="datetimeFigureOut">
              <a:rPr lang="fi-FI" sz="800" smtClean="0"/>
              <a:t>16.2.2023</a:t>
            </a:fld>
            <a:endParaRPr lang="fi-FI" sz="80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i-FI" sz="80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4A4DC12-579E-4F7D-AF69-C26F268B1D25}" type="slidenum">
              <a:rPr lang="fi-FI" sz="800" smtClean="0"/>
              <a:t>‹#›</a:t>
            </a:fld>
            <a:endParaRPr lang="fi-FI" sz="800"/>
          </a:p>
        </p:txBody>
      </p:sp>
    </p:spTree>
    <p:extLst>
      <p:ext uri="{BB962C8B-B14F-4D97-AF65-F5344CB8AC3E}">
        <p14:creationId xmlns:p14="http://schemas.microsoft.com/office/powerpoint/2010/main" val="42682497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800"/>
            </a:lvl1pPr>
          </a:lstStyle>
          <a:p>
            <a:endParaRPr lang="fi-FI"/>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800"/>
            </a:lvl1pPr>
          </a:lstStyle>
          <a:p>
            <a:fld id="{A5C01A17-609A-4BA8-BD62-CE042D5CB38F}" type="datetimeFigureOut">
              <a:rPr lang="fi-FI" smtClean="0"/>
              <a:pPr/>
              <a:t>16.2.2023</a:t>
            </a:fld>
            <a:endParaRPr lang="fi-FI"/>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800"/>
            </a:lvl1pPr>
          </a:lstStyle>
          <a:p>
            <a:endParaRPr lang="fi-FI"/>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800"/>
            </a:lvl1pPr>
          </a:lstStyle>
          <a:p>
            <a:fld id="{ABA04FF8-5442-4B53-87CE-FCA8FBD1F0F3}" type="slidenum">
              <a:rPr lang="fi-FI" smtClean="0"/>
              <a:pPr/>
              <a:t>‹#›</a:t>
            </a:fld>
            <a:endParaRPr lang="fi-FI"/>
          </a:p>
        </p:txBody>
      </p:sp>
    </p:spTree>
    <p:extLst>
      <p:ext uri="{BB962C8B-B14F-4D97-AF65-F5344CB8AC3E}">
        <p14:creationId xmlns:p14="http://schemas.microsoft.com/office/powerpoint/2010/main" val="4157142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hyperlink" Target="https://www.linkedin.com/company/gaia-consulting" TargetMode="External"/><Relationship Id="rId7" Type="http://schemas.openxmlformats.org/officeDocument/2006/relationships/image" Target="../media/image4.svg"/><Relationship Id="rId2" Type="http://schemas.openxmlformats.org/officeDocument/2006/relationships/hyperlink" Target="https://twitter.com/gaiagroupoy" TargetMode="External"/><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hyperlink" Target="https://www.gaia.fi/" TargetMode="External"/><Relationship Id="rId4" Type="http://schemas.openxmlformats.org/officeDocument/2006/relationships/hyperlink" Target="https://www.instagram.com/gaiaconsultingoy/" TargetMode="External"/></Relationships>
</file>

<file path=ppt/slideLayouts/_rels/slideLayout53.xml.rels><?xml version="1.0" encoding="UTF-8" standalone="yes"?>
<Relationships xmlns="http://schemas.openxmlformats.org/package/2006/relationships"><Relationship Id="rId3" Type="http://schemas.openxmlformats.org/officeDocument/2006/relationships/hyperlink" Target="https://www.linkedin.com/company/gaia-consulting" TargetMode="External"/><Relationship Id="rId7" Type="http://schemas.openxmlformats.org/officeDocument/2006/relationships/image" Target="../media/image7.svg"/><Relationship Id="rId2" Type="http://schemas.openxmlformats.org/officeDocument/2006/relationships/hyperlink" Target="https://twitter.com/gaiagroupoy" TargetMode="External"/><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hyperlink" Target="https://www.gaia.fi/" TargetMode="External"/><Relationship Id="rId4" Type="http://schemas.openxmlformats.org/officeDocument/2006/relationships/hyperlink" Target="https://www.instagram.com/gaiaconsultingoy/" TargetMode="Externa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grpSp>
        <p:nvGrpSpPr>
          <p:cNvPr id="12" name="Group 11"/>
          <p:cNvGrpSpPr/>
          <p:nvPr userDrawn="1"/>
        </p:nvGrpSpPr>
        <p:grpSpPr>
          <a:xfrm>
            <a:off x="0" y="1988840"/>
            <a:ext cx="10200456" cy="4869160"/>
            <a:chOff x="1065835" y="779165"/>
            <a:chExt cx="10200456" cy="4869160"/>
          </a:xfrm>
          <a:solidFill>
            <a:srgbClr val="F0F0F0"/>
          </a:solidFill>
        </p:grpSpPr>
        <p:sp>
          <p:nvSpPr>
            <p:cNvPr id="13" name="Freeform 1951"/>
            <p:cNvSpPr>
              <a:spLocks noEditPoints="1"/>
            </p:cNvSpPr>
            <p:nvPr userDrawn="1"/>
          </p:nvSpPr>
          <p:spPr bwMode="auto">
            <a:xfrm>
              <a:off x="2774729" y="779165"/>
              <a:ext cx="1074738" cy="912813"/>
            </a:xfrm>
            <a:custGeom>
              <a:avLst/>
              <a:gdLst>
                <a:gd name="T0" fmla="*/ 205 w 677"/>
                <a:gd name="T1" fmla="*/ 414 h 575"/>
                <a:gd name="T2" fmla="*/ 622 w 677"/>
                <a:gd name="T3" fmla="*/ 61 h 575"/>
                <a:gd name="T4" fmla="*/ 621 w 677"/>
                <a:gd name="T5" fmla="*/ 79 h 575"/>
                <a:gd name="T6" fmla="*/ 662 w 677"/>
                <a:gd name="T7" fmla="*/ 22 h 575"/>
                <a:gd name="T8" fmla="*/ 625 w 677"/>
                <a:gd name="T9" fmla="*/ 35 h 575"/>
                <a:gd name="T10" fmla="*/ 247 w 677"/>
                <a:gd name="T11" fmla="*/ 334 h 575"/>
                <a:gd name="T12" fmla="*/ 368 w 677"/>
                <a:gd name="T13" fmla="*/ 270 h 575"/>
                <a:gd name="T14" fmla="*/ 560 w 677"/>
                <a:gd name="T15" fmla="*/ 107 h 575"/>
                <a:gd name="T16" fmla="*/ 596 w 677"/>
                <a:gd name="T17" fmla="*/ 48 h 575"/>
                <a:gd name="T18" fmla="*/ 644 w 677"/>
                <a:gd name="T19" fmla="*/ 12 h 575"/>
                <a:gd name="T20" fmla="*/ 677 w 677"/>
                <a:gd name="T21" fmla="*/ 5 h 575"/>
                <a:gd name="T22" fmla="*/ 647 w 677"/>
                <a:gd name="T23" fmla="*/ 65 h 575"/>
                <a:gd name="T24" fmla="*/ 594 w 677"/>
                <a:gd name="T25" fmla="*/ 106 h 575"/>
                <a:gd name="T26" fmla="*/ 457 w 677"/>
                <a:gd name="T27" fmla="*/ 215 h 575"/>
                <a:gd name="T28" fmla="*/ 344 w 677"/>
                <a:gd name="T29" fmla="*/ 296 h 575"/>
                <a:gd name="T30" fmla="*/ 251 w 677"/>
                <a:gd name="T31" fmla="*/ 343 h 575"/>
                <a:gd name="T32" fmla="*/ 332 w 677"/>
                <a:gd name="T33" fmla="*/ 526 h 575"/>
                <a:gd name="T34" fmla="*/ 263 w 677"/>
                <a:gd name="T35" fmla="*/ 415 h 575"/>
                <a:gd name="T36" fmla="*/ 301 w 677"/>
                <a:gd name="T37" fmla="*/ 508 h 575"/>
                <a:gd name="T38" fmla="*/ 307 w 677"/>
                <a:gd name="T39" fmla="*/ 533 h 575"/>
                <a:gd name="T40" fmla="*/ 272 w 677"/>
                <a:gd name="T41" fmla="*/ 469 h 575"/>
                <a:gd name="T42" fmla="*/ 270 w 677"/>
                <a:gd name="T43" fmla="*/ 550 h 575"/>
                <a:gd name="T44" fmla="*/ 242 w 677"/>
                <a:gd name="T45" fmla="*/ 372 h 575"/>
                <a:gd name="T46" fmla="*/ 232 w 677"/>
                <a:gd name="T47" fmla="*/ 495 h 575"/>
                <a:gd name="T48" fmla="*/ 243 w 677"/>
                <a:gd name="T49" fmla="*/ 573 h 575"/>
                <a:gd name="T50" fmla="*/ 230 w 677"/>
                <a:gd name="T51" fmla="*/ 551 h 575"/>
                <a:gd name="T52" fmla="*/ 224 w 677"/>
                <a:gd name="T53" fmla="*/ 425 h 575"/>
                <a:gd name="T54" fmla="*/ 208 w 677"/>
                <a:gd name="T55" fmla="*/ 507 h 575"/>
                <a:gd name="T56" fmla="*/ 180 w 677"/>
                <a:gd name="T57" fmla="*/ 545 h 575"/>
                <a:gd name="T58" fmla="*/ 171 w 677"/>
                <a:gd name="T59" fmla="*/ 544 h 575"/>
                <a:gd name="T60" fmla="*/ 194 w 677"/>
                <a:gd name="T61" fmla="*/ 420 h 575"/>
                <a:gd name="T62" fmla="*/ 68 w 677"/>
                <a:gd name="T63" fmla="*/ 440 h 575"/>
                <a:gd name="T64" fmla="*/ 62 w 677"/>
                <a:gd name="T65" fmla="*/ 433 h 575"/>
                <a:gd name="T66" fmla="*/ 160 w 677"/>
                <a:gd name="T67" fmla="*/ 352 h 575"/>
                <a:gd name="T68" fmla="*/ 71 w 677"/>
                <a:gd name="T69" fmla="*/ 379 h 575"/>
                <a:gd name="T70" fmla="*/ 18 w 677"/>
                <a:gd name="T71" fmla="*/ 405 h 575"/>
                <a:gd name="T72" fmla="*/ 42 w 677"/>
                <a:gd name="T73" fmla="*/ 383 h 575"/>
                <a:gd name="T74" fmla="*/ 128 w 677"/>
                <a:gd name="T75" fmla="*/ 349 h 575"/>
                <a:gd name="T76" fmla="*/ 193 w 677"/>
                <a:gd name="T77" fmla="*/ 326 h 575"/>
                <a:gd name="T78" fmla="*/ 88 w 677"/>
                <a:gd name="T79" fmla="*/ 303 h 575"/>
                <a:gd name="T80" fmla="*/ 1 w 677"/>
                <a:gd name="T81" fmla="*/ 301 h 575"/>
                <a:gd name="T82" fmla="*/ 28 w 677"/>
                <a:gd name="T83" fmla="*/ 291 h 575"/>
                <a:gd name="T84" fmla="*/ 156 w 677"/>
                <a:gd name="T85" fmla="*/ 305 h 575"/>
                <a:gd name="T86" fmla="*/ 101 w 677"/>
                <a:gd name="T87" fmla="*/ 286 h 575"/>
                <a:gd name="T88" fmla="*/ 8 w 677"/>
                <a:gd name="T89" fmla="*/ 276 h 575"/>
                <a:gd name="T90" fmla="*/ 6 w 677"/>
                <a:gd name="T91" fmla="*/ 267 h 575"/>
                <a:gd name="T92" fmla="*/ 112 w 677"/>
                <a:gd name="T93" fmla="*/ 279 h 575"/>
                <a:gd name="T94" fmla="*/ 144 w 677"/>
                <a:gd name="T95" fmla="*/ 276 h 575"/>
                <a:gd name="T96" fmla="*/ 75 w 677"/>
                <a:gd name="T97" fmla="*/ 244 h 575"/>
                <a:gd name="T98" fmla="*/ 37 w 677"/>
                <a:gd name="T99" fmla="*/ 196 h 575"/>
                <a:gd name="T100" fmla="*/ 51 w 677"/>
                <a:gd name="T101" fmla="*/ 204 h 575"/>
                <a:gd name="T102" fmla="*/ 104 w 677"/>
                <a:gd name="T103" fmla="*/ 248 h 575"/>
                <a:gd name="T104" fmla="*/ 68 w 677"/>
                <a:gd name="T105" fmla="*/ 175 h 575"/>
                <a:gd name="T106" fmla="*/ 73 w 677"/>
                <a:gd name="T107" fmla="*/ 167 h 575"/>
                <a:gd name="T108" fmla="*/ 94 w 677"/>
                <a:gd name="T109" fmla="*/ 170 h 575"/>
                <a:gd name="T110" fmla="*/ 161 w 677"/>
                <a:gd name="T111" fmla="*/ 170 h 575"/>
                <a:gd name="T112" fmla="*/ 168 w 677"/>
                <a:gd name="T113" fmla="*/ 164 h 575"/>
                <a:gd name="T114" fmla="*/ 223 w 677"/>
                <a:gd name="T115" fmla="*/ 206 h 575"/>
                <a:gd name="T116" fmla="*/ 238 w 677"/>
                <a:gd name="T117" fmla="*/ 205 h 575"/>
                <a:gd name="T118" fmla="*/ 248 w 677"/>
                <a:gd name="T119" fmla="*/ 207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7" h="575">
                  <a:moveTo>
                    <a:pt x="231" y="362"/>
                  </a:moveTo>
                  <a:lnTo>
                    <a:pt x="225" y="369"/>
                  </a:lnTo>
                  <a:lnTo>
                    <a:pt x="220" y="378"/>
                  </a:lnTo>
                  <a:lnTo>
                    <a:pt x="215" y="386"/>
                  </a:lnTo>
                  <a:lnTo>
                    <a:pt x="211" y="395"/>
                  </a:lnTo>
                  <a:lnTo>
                    <a:pt x="208" y="404"/>
                  </a:lnTo>
                  <a:lnTo>
                    <a:pt x="205" y="414"/>
                  </a:lnTo>
                  <a:lnTo>
                    <a:pt x="203" y="424"/>
                  </a:lnTo>
                  <a:lnTo>
                    <a:pt x="202" y="434"/>
                  </a:lnTo>
                  <a:lnTo>
                    <a:pt x="201" y="444"/>
                  </a:lnTo>
                  <a:lnTo>
                    <a:pt x="201" y="453"/>
                  </a:lnTo>
                  <a:lnTo>
                    <a:pt x="231" y="362"/>
                  </a:lnTo>
                  <a:close/>
                  <a:moveTo>
                    <a:pt x="662" y="22"/>
                  </a:moveTo>
                  <a:lnTo>
                    <a:pt x="622" y="61"/>
                  </a:lnTo>
                  <a:lnTo>
                    <a:pt x="602" y="81"/>
                  </a:lnTo>
                  <a:lnTo>
                    <a:pt x="582" y="100"/>
                  </a:lnTo>
                  <a:lnTo>
                    <a:pt x="589" y="97"/>
                  </a:lnTo>
                  <a:lnTo>
                    <a:pt x="597" y="94"/>
                  </a:lnTo>
                  <a:lnTo>
                    <a:pt x="605" y="90"/>
                  </a:lnTo>
                  <a:lnTo>
                    <a:pt x="613" y="84"/>
                  </a:lnTo>
                  <a:lnTo>
                    <a:pt x="621" y="79"/>
                  </a:lnTo>
                  <a:lnTo>
                    <a:pt x="628" y="72"/>
                  </a:lnTo>
                  <a:lnTo>
                    <a:pt x="635" y="65"/>
                  </a:lnTo>
                  <a:lnTo>
                    <a:pt x="641" y="57"/>
                  </a:lnTo>
                  <a:lnTo>
                    <a:pt x="647" y="49"/>
                  </a:lnTo>
                  <a:lnTo>
                    <a:pt x="653" y="40"/>
                  </a:lnTo>
                  <a:lnTo>
                    <a:pt x="658" y="31"/>
                  </a:lnTo>
                  <a:lnTo>
                    <a:pt x="662" y="22"/>
                  </a:lnTo>
                  <a:close/>
                  <a:moveTo>
                    <a:pt x="577" y="92"/>
                  </a:moveTo>
                  <a:lnTo>
                    <a:pt x="615" y="55"/>
                  </a:lnTo>
                  <a:lnTo>
                    <a:pt x="634" y="36"/>
                  </a:lnTo>
                  <a:lnTo>
                    <a:pt x="653" y="17"/>
                  </a:lnTo>
                  <a:lnTo>
                    <a:pt x="641" y="23"/>
                  </a:lnTo>
                  <a:lnTo>
                    <a:pt x="630" y="31"/>
                  </a:lnTo>
                  <a:lnTo>
                    <a:pt x="625" y="35"/>
                  </a:lnTo>
                  <a:lnTo>
                    <a:pt x="619" y="39"/>
                  </a:lnTo>
                  <a:lnTo>
                    <a:pt x="609" y="48"/>
                  </a:lnTo>
                  <a:lnTo>
                    <a:pt x="600" y="58"/>
                  </a:lnTo>
                  <a:lnTo>
                    <a:pt x="591" y="69"/>
                  </a:lnTo>
                  <a:lnTo>
                    <a:pt x="583" y="80"/>
                  </a:lnTo>
                  <a:lnTo>
                    <a:pt x="577" y="92"/>
                  </a:lnTo>
                  <a:close/>
                  <a:moveTo>
                    <a:pt x="247" y="334"/>
                  </a:moveTo>
                  <a:lnTo>
                    <a:pt x="263" y="327"/>
                  </a:lnTo>
                  <a:lnTo>
                    <a:pt x="278" y="320"/>
                  </a:lnTo>
                  <a:lnTo>
                    <a:pt x="294" y="312"/>
                  </a:lnTo>
                  <a:lnTo>
                    <a:pt x="309" y="304"/>
                  </a:lnTo>
                  <a:lnTo>
                    <a:pt x="324" y="296"/>
                  </a:lnTo>
                  <a:lnTo>
                    <a:pt x="339" y="288"/>
                  </a:lnTo>
                  <a:lnTo>
                    <a:pt x="368" y="270"/>
                  </a:lnTo>
                  <a:lnTo>
                    <a:pt x="396" y="250"/>
                  </a:lnTo>
                  <a:lnTo>
                    <a:pt x="424" y="230"/>
                  </a:lnTo>
                  <a:lnTo>
                    <a:pt x="437" y="219"/>
                  </a:lnTo>
                  <a:lnTo>
                    <a:pt x="450" y="208"/>
                  </a:lnTo>
                  <a:lnTo>
                    <a:pt x="476" y="185"/>
                  </a:lnTo>
                  <a:lnTo>
                    <a:pt x="518" y="146"/>
                  </a:lnTo>
                  <a:lnTo>
                    <a:pt x="560" y="107"/>
                  </a:lnTo>
                  <a:lnTo>
                    <a:pt x="564" y="98"/>
                  </a:lnTo>
                  <a:lnTo>
                    <a:pt x="568" y="89"/>
                  </a:lnTo>
                  <a:lnTo>
                    <a:pt x="573" y="80"/>
                  </a:lnTo>
                  <a:lnTo>
                    <a:pt x="578" y="71"/>
                  </a:lnTo>
                  <a:lnTo>
                    <a:pt x="584" y="63"/>
                  </a:lnTo>
                  <a:lnTo>
                    <a:pt x="590" y="55"/>
                  </a:lnTo>
                  <a:lnTo>
                    <a:pt x="596" y="48"/>
                  </a:lnTo>
                  <a:lnTo>
                    <a:pt x="603" y="41"/>
                  </a:lnTo>
                  <a:lnTo>
                    <a:pt x="611" y="34"/>
                  </a:lnTo>
                  <a:lnTo>
                    <a:pt x="618" y="28"/>
                  </a:lnTo>
                  <a:lnTo>
                    <a:pt x="626" y="22"/>
                  </a:lnTo>
                  <a:lnTo>
                    <a:pt x="631" y="19"/>
                  </a:lnTo>
                  <a:lnTo>
                    <a:pt x="635" y="17"/>
                  </a:lnTo>
                  <a:lnTo>
                    <a:pt x="644" y="12"/>
                  </a:lnTo>
                  <a:lnTo>
                    <a:pt x="653" y="7"/>
                  </a:lnTo>
                  <a:lnTo>
                    <a:pt x="662" y="3"/>
                  </a:lnTo>
                  <a:lnTo>
                    <a:pt x="671" y="0"/>
                  </a:lnTo>
                  <a:lnTo>
                    <a:pt x="674" y="0"/>
                  </a:lnTo>
                  <a:lnTo>
                    <a:pt x="675" y="2"/>
                  </a:lnTo>
                  <a:lnTo>
                    <a:pt x="676" y="3"/>
                  </a:lnTo>
                  <a:lnTo>
                    <a:pt x="677" y="5"/>
                  </a:lnTo>
                  <a:lnTo>
                    <a:pt x="673" y="18"/>
                  </a:lnTo>
                  <a:lnTo>
                    <a:pt x="671" y="24"/>
                  </a:lnTo>
                  <a:lnTo>
                    <a:pt x="668" y="30"/>
                  </a:lnTo>
                  <a:lnTo>
                    <a:pt x="662" y="42"/>
                  </a:lnTo>
                  <a:lnTo>
                    <a:pt x="655" y="54"/>
                  </a:lnTo>
                  <a:lnTo>
                    <a:pt x="651" y="60"/>
                  </a:lnTo>
                  <a:lnTo>
                    <a:pt x="647" y="65"/>
                  </a:lnTo>
                  <a:lnTo>
                    <a:pt x="638" y="75"/>
                  </a:lnTo>
                  <a:lnTo>
                    <a:pt x="634" y="80"/>
                  </a:lnTo>
                  <a:lnTo>
                    <a:pt x="629" y="84"/>
                  </a:lnTo>
                  <a:lnTo>
                    <a:pt x="624" y="88"/>
                  </a:lnTo>
                  <a:lnTo>
                    <a:pt x="618" y="92"/>
                  </a:lnTo>
                  <a:lnTo>
                    <a:pt x="606" y="100"/>
                  </a:lnTo>
                  <a:lnTo>
                    <a:pt x="594" y="106"/>
                  </a:lnTo>
                  <a:lnTo>
                    <a:pt x="588" y="108"/>
                  </a:lnTo>
                  <a:lnTo>
                    <a:pt x="582" y="110"/>
                  </a:lnTo>
                  <a:lnTo>
                    <a:pt x="575" y="112"/>
                  </a:lnTo>
                  <a:lnTo>
                    <a:pt x="568" y="113"/>
                  </a:lnTo>
                  <a:lnTo>
                    <a:pt x="526" y="153"/>
                  </a:lnTo>
                  <a:lnTo>
                    <a:pt x="483" y="192"/>
                  </a:lnTo>
                  <a:lnTo>
                    <a:pt x="457" y="215"/>
                  </a:lnTo>
                  <a:lnTo>
                    <a:pt x="443" y="226"/>
                  </a:lnTo>
                  <a:lnTo>
                    <a:pt x="430" y="237"/>
                  </a:lnTo>
                  <a:lnTo>
                    <a:pt x="402" y="258"/>
                  </a:lnTo>
                  <a:lnTo>
                    <a:pt x="388" y="268"/>
                  </a:lnTo>
                  <a:lnTo>
                    <a:pt x="373" y="278"/>
                  </a:lnTo>
                  <a:lnTo>
                    <a:pt x="358" y="287"/>
                  </a:lnTo>
                  <a:lnTo>
                    <a:pt x="344" y="296"/>
                  </a:lnTo>
                  <a:lnTo>
                    <a:pt x="329" y="304"/>
                  </a:lnTo>
                  <a:lnTo>
                    <a:pt x="313" y="313"/>
                  </a:lnTo>
                  <a:lnTo>
                    <a:pt x="298" y="321"/>
                  </a:lnTo>
                  <a:lnTo>
                    <a:pt x="282" y="328"/>
                  </a:lnTo>
                  <a:lnTo>
                    <a:pt x="267" y="336"/>
                  </a:lnTo>
                  <a:lnTo>
                    <a:pt x="259" y="339"/>
                  </a:lnTo>
                  <a:lnTo>
                    <a:pt x="251" y="343"/>
                  </a:lnTo>
                  <a:lnTo>
                    <a:pt x="251" y="346"/>
                  </a:lnTo>
                  <a:lnTo>
                    <a:pt x="336" y="519"/>
                  </a:lnTo>
                  <a:lnTo>
                    <a:pt x="337" y="521"/>
                  </a:lnTo>
                  <a:lnTo>
                    <a:pt x="336" y="523"/>
                  </a:lnTo>
                  <a:lnTo>
                    <a:pt x="335" y="524"/>
                  </a:lnTo>
                  <a:lnTo>
                    <a:pt x="334" y="525"/>
                  </a:lnTo>
                  <a:lnTo>
                    <a:pt x="332" y="526"/>
                  </a:lnTo>
                  <a:lnTo>
                    <a:pt x="330" y="526"/>
                  </a:lnTo>
                  <a:lnTo>
                    <a:pt x="329" y="525"/>
                  </a:lnTo>
                  <a:lnTo>
                    <a:pt x="327" y="523"/>
                  </a:lnTo>
                  <a:lnTo>
                    <a:pt x="255" y="375"/>
                  </a:lnTo>
                  <a:lnTo>
                    <a:pt x="257" y="385"/>
                  </a:lnTo>
                  <a:lnTo>
                    <a:pt x="259" y="395"/>
                  </a:lnTo>
                  <a:lnTo>
                    <a:pt x="263" y="415"/>
                  </a:lnTo>
                  <a:lnTo>
                    <a:pt x="266" y="424"/>
                  </a:lnTo>
                  <a:lnTo>
                    <a:pt x="269" y="434"/>
                  </a:lnTo>
                  <a:lnTo>
                    <a:pt x="276" y="453"/>
                  </a:lnTo>
                  <a:lnTo>
                    <a:pt x="283" y="472"/>
                  </a:lnTo>
                  <a:lnTo>
                    <a:pt x="292" y="490"/>
                  </a:lnTo>
                  <a:lnTo>
                    <a:pt x="296" y="499"/>
                  </a:lnTo>
                  <a:lnTo>
                    <a:pt x="301" y="508"/>
                  </a:lnTo>
                  <a:lnTo>
                    <a:pt x="311" y="526"/>
                  </a:lnTo>
                  <a:lnTo>
                    <a:pt x="312" y="528"/>
                  </a:lnTo>
                  <a:lnTo>
                    <a:pt x="312" y="529"/>
                  </a:lnTo>
                  <a:lnTo>
                    <a:pt x="311" y="531"/>
                  </a:lnTo>
                  <a:lnTo>
                    <a:pt x="310" y="532"/>
                  </a:lnTo>
                  <a:lnTo>
                    <a:pt x="308" y="533"/>
                  </a:lnTo>
                  <a:lnTo>
                    <a:pt x="307" y="533"/>
                  </a:lnTo>
                  <a:lnTo>
                    <a:pt x="305" y="532"/>
                  </a:lnTo>
                  <a:lnTo>
                    <a:pt x="303" y="531"/>
                  </a:lnTo>
                  <a:lnTo>
                    <a:pt x="296" y="519"/>
                  </a:lnTo>
                  <a:lnTo>
                    <a:pt x="289" y="507"/>
                  </a:lnTo>
                  <a:lnTo>
                    <a:pt x="283" y="495"/>
                  </a:lnTo>
                  <a:lnTo>
                    <a:pt x="277" y="482"/>
                  </a:lnTo>
                  <a:lnTo>
                    <a:pt x="272" y="469"/>
                  </a:lnTo>
                  <a:lnTo>
                    <a:pt x="267" y="457"/>
                  </a:lnTo>
                  <a:lnTo>
                    <a:pt x="264" y="450"/>
                  </a:lnTo>
                  <a:lnTo>
                    <a:pt x="262" y="444"/>
                  </a:lnTo>
                  <a:lnTo>
                    <a:pt x="258" y="431"/>
                  </a:lnTo>
                  <a:lnTo>
                    <a:pt x="271" y="546"/>
                  </a:lnTo>
                  <a:lnTo>
                    <a:pt x="271" y="548"/>
                  </a:lnTo>
                  <a:lnTo>
                    <a:pt x="270" y="550"/>
                  </a:lnTo>
                  <a:lnTo>
                    <a:pt x="268" y="551"/>
                  </a:lnTo>
                  <a:lnTo>
                    <a:pt x="267" y="551"/>
                  </a:lnTo>
                  <a:lnTo>
                    <a:pt x="265" y="551"/>
                  </a:lnTo>
                  <a:lnTo>
                    <a:pt x="263" y="550"/>
                  </a:lnTo>
                  <a:lnTo>
                    <a:pt x="262" y="549"/>
                  </a:lnTo>
                  <a:lnTo>
                    <a:pt x="261" y="547"/>
                  </a:lnTo>
                  <a:lnTo>
                    <a:pt x="242" y="372"/>
                  </a:lnTo>
                  <a:lnTo>
                    <a:pt x="237" y="396"/>
                  </a:lnTo>
                  <a:lnTo>
                    <a:pt x="236" y="409"/>
                  </a:lnTo>
                  <a:lnTo>
                    <a:pt x="234" y="421"/>
                  </a:lnTo>
                  <a:lnTo>
                    <a:pt x="233" y="433"/>
                  </a:lnTo>
                  <a:lnTo>
                    <a:pt x="232" y="446"/>
                  </a:lnTo>
                  <a:lnTo>
                    <a:pt x="231" y="470"/>
                  </a:lnTo>
                  <a:lnTo>
                    <a:pt x="232" y="495"/>
                  </a:lnTo>
                  <a:lnTo>
                    <a:pt x="234" y="520"/>
                  </a:lnTo>
                  <a:lnTo>
                    <a:pt x="238" y="545"/>
                  </a:lnTo>
                  <a:lnTo>
                    <a:pt x="241" y="557"/>
                  </a:lnTo>
                  <a:lnTo>
                    <a:pt x="244" y="570"/>
                  </a:lnTo>
                  <a:lnTo>
                    <a:pt x="244" y="572"/>
                  </a:lnTo>
                  <a:lnTo>
                    <a:pt x="244" y="573"/>
                  </a:lnTo>
                  <a:lnTo>
                    <a:pt x="243" y="573"/>
                  </a:lnTo>
                  <a:lnTo>
                    <a:pt x="242" y="575"/>
                  </a:lnTo>
                  <a:lnTo>
                    <a:pt x="240" y="575"/>
                  </a:lnTo>
                  <a:lnTo>
                    <a:pt x="238" y="575"/>
                  </a:lnTo>
                  <a:lnTo>
                    <a:pt x="237" y="575"/>
                  </a:lnTo>
                  <a:lnTo>
                    <a:pt x="235" y="574"/>
                  </a:lnTo>
                  <a:lnTo>
                    <a:pt x="234" y="572"/>
                  </a:lnTo>
                  <a:lnTo>
                    <a:pt x="230" y="551"/>
                  </a:lnTo>
                  <a:lnTo>
                    <a:pt x="228" y="540"/>
                  </a:lnTo>
                  <a:lnTo>
                    <a:pt x="226" y="530"/>
                  </a:lnTo>
                  <a:lnTo>
                    <a:pt x="224" y="509"/>
                  </a:lnTo>
                  <a:lnTo>
                    <a:pt x="222" y="488"/>
                  </a:lnTo>
                  <a:lnTo>
                    <a:pt x="222" y="467"/>
                  </a:lnTo>
                  <a:lnTo>
                    <a:pt x="223" y="446"/>
                  </a:lnTo>
                  <a:lnTo>
                    <a:pt x="224" y="425"/>
                  </a:lnTo>
                  <a:lnTo>
                    <a:pt x="227" y="405"/>
                  </a:lnTo>
                  <a:lnTo>
                    <a:pt x="203" y="477"/>
                  </a:lnTo>
                  <a:lnTo>
                    <a:pt x="205" y="489"/>
                  </a:lnTo>
                  <a:lnTo>
                    <a:pt x="209" y="502"/>
                  </a:lnTo>
                  <a:lnTo>
                    <a:pt x="210" y="504"/>
                  </a:lnTo>
                  <a:lnTo>
                    <a:pt x="209" y="505"/>
                  </a:lnTo>
                  <a:lnTo>
                    <a:pt x="208" y="507"/>
                  </a:lnTo>
                  <a:lnTo>
                    <a:pt x="206" y="508"/>
                  </a:lnTo>
                  <a:lnTo>
                    <a:pt x="205" y="508"/>
                  </a:lnTo>
                  <a:lnTo>
                    <a:pt x="203" y="508"/>
                  </a:lnTo>
                  <a:lnTo>
                    <a:pt x="201" y="507"/>
                  </a:lnTo>
                  <a:lnTo>
                    <a:pt x="200" y="505"/>
                  </a:lnTo>
                  <a:lnTo>
                    <a:pt x="197" y="494"/>
                  </a:lnTo>
                  <a:lnTo>
                    <a:pt x="180" y="545"/>
                  </a:lnTo>
                  <a:lnTo>
                    <a:pt x="179" y="547"/>
                  </a:lnTo>
                  <a:lnTo>
                    <a:pt x="178" y="548"/>
                  </a:lnTo>
                  <a:lnTo>
                    <a:pt x="176" y="548"/>
                  </a:lnTo>
                  <a:lnTo>
                    <a:pt x="174" y="548"/>
                  </a:lnTo>
                  <a:lnTo>
                    <a:pt x="173" y="547"/>
                  </a:lnTo>
                  <a:lnTo>
                    <a:pt x="171" y="546"/>
                  </a:lnTo>
                  <a:lnTo>
                    <a:pt x="171" y="544"/>
                  </a:lnTo>
                  <a:lnTo>
                    <a:pt x="171" y="542"/>
                  </a:lnTo>
                  <a:lnTo>
                    <a:pt x="193" y="475"/>
                  </a:lnTo>
                  <a:lnTo>
                    <a:pt x="192" y="464"/>
                  </a:lnTo>
                  <a:lnTo>
                    <a:pt x="191" y="453"/>
                  </a:lnTo>
                  <a:lnTo>
                    <a:pt x="191" y="442"/>
                  </a:lnTo>
                  <a:lnTo>
                    <a:pt x="192" y="431"/>
                  </a:lnTo>
                  <a:lnTo>
                    <a:pt x="194" y="420"/>
                  </a:lnTo>
                  <a:lnTo>
                    <a:pt x="197" y="409"/>
                  </a:lnTo>
                  <a:lnTo>
                    <a:pt x="200" y="398"/>
                  </a:lnTo>
                  <a:lnTo>
                    <a:pt x="204" y="388"/>
                  </a:lnTo>
                  <a:lnTo>
                    <a:pt x="208" y="379"/>
                  </a:lnTo>
                  <a:lnTo>
                    <a:pt x="212" y="372"/>
                  </a:lnTo>
                  <a:lnTo>
                    <a:pt x="221" y="359"/>
                  </a:lnTo>
                  <a:lnTo>
                    <a:pt x="68" y="440"/>
                  </a:lnTo>
                  <a:lnTo>
                    <a:pt x="66" y="441"/>
                  </a:lnTo>
                  <a:lnTo>
                    <a:pt x="64" y="440"/>
                  </a:lnTo>
                  <a:lnTo>
                    <a:pt x="63" y="439"/>
                  </a:lnTo>
                  <a:lnTo>
                    <a:pt x="62" y="438"/>
                  </a:lnTo>
                  <a:lnTo>
                    <a:pt x="61" y="436"/>
                  </a:lnTo>
                  <a:lnTo>
                    <a:pt x="61" y="435"/>
                  </a:lnTo>
                  <a:lnTo>
                    <a:pt x="62" y="433"/>
                  </a:lnTo>
                  <a:lnTo>
                    <a:pt x="64" y="432"/>
                  </a:lnTo>
                  <a:lnTo>
                    <a:pt x="227" y="344"/>
                  </a:lnTo>
                  <a:lnTo>
                    <a:pt x="213" y="345"/>
                  </a:lnTo>
                  <a:lnTo>
                    <a:pt x="200" y="346"/>
                  </a:lnTo>
                  <a:lnTo>
                    <a:pt x="187" y="348"/>
                  </a:lnTo>
                  <a:lnTo>
                    <a:pt x="173" y="349"/>
                  </a:lnTo>
                  <a:lnTo>
                    <a:pt x="160" y="352"/>
                  </a:lnTo>
                  <a:lnTo>
                    <a:pt x="147" y="354"/>
                  </a:lnTo>
                  <a:lnTo>
                    <a:pt x="134" y="357"/>
                  </a:lnTo>
                  <a:lnTo>
                    <a:pt x="121" y="361"/>
                  </a:lnTo>
                  <a:lnTo>
                    <a:pt x="109" y="365"/>
                  </a:lnTo>
                  <a:lnTo>
                    <a:pt x="96" y="369"/>
                  </a:lnTo>
                  <a:lnTo>
                    <a:pt x="83" y="374"/>
                  </a:lnTo>
                  <a:lnTo>
                    <a:pt x="71" y="379"/>
                  </a:lnTo>
                  <a:lnTo>
                    <a:pt x="59" y="385"/>
                  </a:lnTo>
                  <a:lnTo>
                    <a:pt x="47" y="391"/>
                  </a:lnTo>
                  <a:lnTo>
                    <a:pt x="35" y="398"/>
                  </a:lnTo>
                  <a:lnTo>
                    <a:pt x="23" y="405"/>
                  </a:lnTo>
                  <a:lnTo>
                    <a:pt x="21" y="406"/>
                  </a:lnTo>
                  <a:lnTo>
                    <a:pt x="19" y="406"/>
                  </a:lnTo>
                  <a:lnTo>
                    <a:pt x="18" y="405"/>
                  </a:lnTo>
                  <a:lnTo>
                    <a:pt x="17" y="403"/>
                  </a:lnTo>
                  <a:lnTo>
                    <a:pt x="16" y="402"/>
                  </a:lnTo>
                  <a:lnTo>
                    <a:pt x="16" y="400"/>
                  </a:lnTo>
                  <a:lnTo>
                    <a:pt x="17" y="398"/>
                  </a:lnTo>
                  <a:lnTo>
                    <a:pt x="18" y="397"/>
                  </a:lnTo>
                  <a:lnTo>
                    <a:pt x="30" y="390"/>
                  </a:lnTo>
                  <a:lnTo>
                    <a:pt x="42" y="383"/>
                  </a:lnTo>
                  <a:lnTo>
                    <a:pt x="53" y="377"/>
                  </a:lnTo>
                  <a:lnTo>
                    <a:pt x="65" y="371"/>
                  </a:lnTo>
                  <a:lnTo>
                    <a:pt x="78" y="366"/>
                  </a:lnTo>
                  <a:lnTo>
                    <a:pt x="90" y="361"/>
                  </a:lnTo>
                  <a:lnTo>
                    <a:pt x="102" y="357"/>
                  </a:lnTo>
                  <a:lnTo>
                    <a:pt x="115" y="353"/>
                  </a:lnTo>
                  <a:lnTo>
                    <a:pt x="128" y="349"/>
                  </a:lnTo>
                  <a:lnTo>
                    <a:pt x="140" y="346"/>
                  </a:lnTo>
                  <a:lnTo>
                    <a:pt x="166" y="341"/>
                  </a:lnTo>
                  <a:lnTo>
                    <a:pt x="179" y="339"/>
                  </a:lnTo>
                  <a:lnTo>
                    <a:pt x="192" y="337"/>
                  </a:lnTo>
                  <a:lnTo>
                    <a:pt x="206" y="336"/>
                  </a:lnTo>
                  <a:lnTo>
                    <a:pt x="219" y="335"/>
                  </a:lnTo>
                  <a:lnTo>
                    <a:pt x="193" y="326"/>
                  </a:lnTo>
                  <a:lnTo>
                    <a:pt x="167" y="318"/>
                  </a:lnTo>
                  <a:lnTo>
                    <a:pt x="154" y="315"/>
                  </a:lnTo>
                  <a:lnTo>
                    <a:pt x="141" y="312"/>
                  </a:lnTo>
                  <a:lnTo>
                    <a:pt x="128" y="309"/>
                  </a:lnTo>
                  <a:lnTo>
                    <a:pt x="114" y="306"/>
                  </a:lnTo>
                  <a:lnTo>
                    <a:pt x="101" y="304"/>
                  </a:lnTo>
                  <a:lnTo>
                    <a:pt x="88" y="303"/>
                  </a:lnTo>
                  <a:lnTo>
                    <a:pt x="74" y="302"/>
                  </a:lnTo>
                  <a:lnTo>
                    <a:pt x="60" y="301"/>
                  </a:lnTo>
                  <a:lnTo>
                    <a:pt x="47" y="301"/>
                  </a:lnTo>
                  <a:lnTo>
                    <a:pt x="33" y="301"/>
                  </a:lnTo>
                  <a:lnTo>
                    <a:pt x="5" y="302"/>
                  </a:lnTo>
                  <a:lnTo>
                    <a:pt x="3" y="302"/>
                  </a:lnTo>
                  <a:lnTo>
                    <a:pt x="1" y="301"/>
                  </a:lnTo>
                  <a:lnTo>
                    <a:pt x="0" y="299"/>
                  </a:lnTo>
                  <a:lnTo>
                    <a:pt x="0" y="298"/>
                  </a:lnTo>
                  <a:lnTo>
                    <a:pt x="0" y="296"/>
                  </a:lnTo>
                  <a:lnTo>
                    <a:pt x="1" y="294"/>
                  </a:lnTo>
                  <a:lnTo>
                    <a:pt x="2" y="293"/>
                  </a:lnTo>
                  <a:lnTo>
                    <a:pt x="4" y="293"/>
                  </a:lnTo>
                  <a:lnTo>
                    <a:pt x="28" y="291"/>
                  </a:lnTo>
                  <a:lnTo>
                    <a:pt x="52" y="291"/>
                  </a:lnTo>
                  <a:lnTo>
                    <a:pt x="64" y="292"/>
                  </a:lnTo>
                  <a:lnTo>
                    <a:pt x="76" y="292"/>
                  </a:lnTo>
                  <a:lnTo>
                    <a:pt x="99" y="295"/>
                  </a:lnTo>
                  <a:lnTo>
                    <a:pt x="122" y="298"/>
                  </a:lnTo>
                  <a:lnTo>
                    <a:pt x="145" y="303"/>
                  </a:lnTo>
                  <a:lnTo>
                    <a:pt x="156" y="305"/>
                  </a:lnTo>
                  <a:lnTo>
                    <a:pt x="167" y="308"/>
                  </a:lnTo>
                  <a:lnTo>
                    <a:pt x="190" y="315"/>
                  </a:lnTo>
                  <a:lnTo>
                    <a:pt x="168" y="306"/>
                  </a:lnTo>
                  <a:lnTo>
                    <a:pt x="146" y="298"/>
                  </a:lnTo>
                  <a:lnTo>
                    <a:pt x="124" y="291"/>
                  </a:lnTo>
                  <a:lnTo>
                    <a:pt x="112" y="288"/>
                  </a:lnTo>
                  <a:lnTo>
                    <a:pt x="101" y="286"/>
                  </a:lnTo>
                  <a:lnTo>
                    <a:pt x="90" y="283"/>
                  </a:lnTo>
                  <a:lnTo>
                    <a:pt x="78" y="281"/>
                  </a:lnTo>
                  <a:lnTo>
                    <a:pt x="55" y="278"/>
                  </a:lnTo>
                  <a:lnTo>
                    <a:pt x="43" y="277"/>
                  </a:lnTo>
                  <a:lnTo>
                    <a:pt x="32" y="276"/>
                  </a:lnTo>
                  <a:lnTo>
                    <a:pt x="20" y="276"/>
                  </a:lnTo>
                  <a:lnTo>
                    <a:pt x="8" y="276"/>
                  </a:lnTo>
                  <a:lnTo>
                    <a:pt x="6" y="276"/>
                  </a:lnTo>
                  <a:lnTo>
                    <a:pt x="4" y="275"/>
                  </a:lnTo>
                  <a:lnTo>
                    <a:pt x="4" y="273"/>
                  </a:lnTo>
                  <a:lnTo>
                    <a:pt x="3" y="271"/>
                  </a:lnTo>
                  <a:lnTo>
                    <a:pt x="4" y="270"/>
                  </a:lnTo>
                  <a:lnTo>
                    <a:pt x="4" y="268"/>
                  </a:lnTo>
                  <a:lnTo>
                    <a:pt x="6" y="267"/>
                  </a:lnTo>
                  <a:lnTo>
                    <a:pt x="8" y="266"/>
                  </a:lnTo>
                  <a:lnTo>
                    <a:pt x="20" y="267"/>
                  </a:lnTo>
                  <a:lnTo>
                    <a:pt x="32" y="267"/>
                  </a:lnTo>
                  <a:lnTo>
                    <a:pt x="55" y="269"/>
                  </a:lnTo>
                  <a:lnTo>
                    <a:pt x="78" y="272"/>
                  </a:lnTo>
                  <a:lnTo>
                    <a:pt x="101" y="276"/>
                  </a:lnTo>
                  <a:lnTo>
                    <a:pt x="112" y="279"/>
                  </a:lnTo>
                  <a:lnTo>
                    <a:pt x="124" y="282"/>
                  </a:lnTo>
                  <a:lnTo>
                    <a:pt x="146" y="288"/>
                  </a:lnTo>
                  <a:lnTo>
                    <a:pt x="168" y="296"/>
                  </a:lnTo>
                  <a:lnTo>
                    <a:pt x="190" y="305"/>
                  </a:lnTo>
                  <a:lnTo>
                    <a:pt x="172" y="292"/>
                  </a:lnTo>
                  <a:lnTo>
                    <a:pt x="153" y="281"/>
                  </a:lnTo>
                  <a:lnTo>
                    <a:pt x="144" y="276"/>
                  </a:lnTo>
                  <a:lnTo>
                    <a:pt x="134" y="271"/>
                  </a:lnTo>
                  <a:lnTo>
                    <a:pt x="116" y="263"/>
                  </a:lnTo>
                  <a:lnTo>
                    <a:pt x="103" y="258"/>
                  </a:lnTo>
                  <a:lnTo>
                    <a:pt x="92" y="254"/>
                  </a:lnTo>
                  <a:lnTo>
                    <a:pt x="86" y="251"/>
                  </a:lnTo>
                  <a:lnTo>
                    <a:pt x="81" y="248"/>
                  </a:lnTo>
                  <a:lnTo>
                    <a:pt x="75" y="244"/>
                  </a:lnTo>
                  <a:lnTo>
                    <a:pt x="70" y="240"/>
                  </a:lnTo>
                  <a:lnTo>
                    <a:pt x="59" y="231"/>
                  </a:lnTo>
                  <a:lnTo>
                    <a:pt x="51" y="221"/>
                  </a:lnTo>
                  <a:lnTo>
                    <a:pt x="44" y="211"/>
                  </a:lnTo>
                  <a:lnTo>
                    <a:pt x="37" y="199"/>
                  </a:lnTo>
                  <a:lnTo>
                    <a:pt x="36" y="197"/>
                  </a:lnTo>
                  <a:lnTo>
                    <a:pt x="37" y="196"/>
                  </a:lnTo>
                  <a:lnTo>
                    <a:pt x="38" y="194"/>
                  </a:lnTo>
                  <a:lnTo>
                    <a:pt x="39" y="193"/>
                  </a:lnTo>
                  <a:lnTo>
                    <a:pt x="41" y="192"/>
                  </a:lnTo>
                  <a:lnTo>
                    <a:pt x="42" y="193"/>
                  </a:lnTo>
                  <a:lnTo>
                    <a:pt x="44" y="193"/>
                  </a:lnTo>
                  <a:lnTo>
                    <a:pt x="45" y="195"/>
                  </a:lnTo>
                  <a:lnTo>
                    <a:pt x="51" y="204"/>
                  </a:lnTo>
                  <a:lnTo>
                    <a:pt x="56" y="213"/>
                  </a:lnTo>
                  <a:lnTo>
                    <a:pt x="63" y="220"/>
                  </a:lnTo>
                  <a:lnTo>
                    <a:pt x="70" y="227"/>
                  </a:lnTo>
                  <a:lnTo>
                    <a:pt x="77" y="234"/>
                  </a:lnTo>
                  <a:lnTo>
                    <a:pt x="85" y="239"/>
                  </a:lnTo>
                  <a:lnTo>
                    <a:pt x="94" y="244"/>
                  </a:lnTo>
                  <a:lnTo>
                    <a:pt x="104" y="248"/>
                  </a:lnTo>
                  <a:lnTo>
                    <a:pt x="120" y="254"/>
                  </a:lnTo>
                  <a:lnTo>
                    <a:pt x="128" y="258"/>
                  </a:lnTo>
                  <a:lnTo>
                    <a:pt x="136" y="262"/>
                  </a:lnTo>
                  <a:lnTo>
                    <a:pt x="150" y="269"/>
                  </a:lnTo>
                  <a:lnTo>
                    <a:pt x="162" y="276"/>
                  </a:lnTo>
                  <a:lnTo>
                    <a:pt x="184" y="290"/>
                  </a:lnTo>
                  <a:lnTo>
                    <a:pt x="68" y="175"/>
                  </a:lnTo>
                  <a:lnTo>
                    <a:pt x="67" y="174"/>
                  </a:lnTo>
                  <a:lnTo>
                    <a:pt x="66" y="172"/>
                  </a:lnTo>
                  <a:lnTo>
                    <a:pt x="67" y="170"/>
                  </a:lnTo>
                  <a:lnTo>
                    <a:pt x="68" y="169"/>
                  </a:lnTo>
                  <a:lnTo>
                    <a:pt x="69" y="168"/>
                  </a:lnTo>
                  <a:lnTo>
                    <a:pt x="71" y="167"/>
                  </a:lnTo>
                  <a:lnTo>
                    <a:pt x="73" y="167"/>
                  </a:lnTo>
                  <a:lnTo>
                    <a:pt x="74" y="168"/>
                  </a:lnTo>
                  <a:lnTo>
                    <a:pt x="75" y="169"/>
                  </a:lnTo>
                  <a:lnTo>
                    <a:pt x="166" y="259"/>
                  </a:lnTo>
                  <a:lnTo>
                    <a:pt x="95" y="175"/>
                  </a:lnTo>
                  <a:lnTo>
                    <a:pt x="94" y="173"/>
                  </a:lnTo>
                  <a:lnTo>
                    <a:pt x="93" y="172"/>
                  </a:lnTo>
                  <a:lnTo>
                    <a:pt x="94" y="170"/>
                  </a:lnTo>
                  <a:lnTo>
                    <a:pt x="95" y="169"/>
                  </a:lnTo>
                  <a:lnTo>
                    <a:pt x="97" y="168"/>
                  </a:lnTo>
                  <a:lnTo>
                    <a:pt x="98" y="167"/>
                  </a:lnTo>
                  <a:lnTo>
                    <a:pt x="100" y="168"/>
                  </a:lnTo>
                  <a:lnTo>
                    <a:pt x="102" y="169"/>
                  </a:lnTo>
                  <a:lnTo>
                    <a:pt x="226" y="314"/>
                  </a:lnTo>
                  <a:lnTo>
                    <a:pt x="161" y="170"/>
                  </a:lnTo>
                  <a:lnTo>
                    <a:pt x="160" y="168"/>
                  </a:lnTo>
                  <a:lnTo>
                    <a:pt x="161" y="166"/>
                  </a:lnTo>
                  <a:lnTo>
                    <a:pt x="162" y="165"/>
                  </a:lnTo>
                  <a:lnTo>
                    <a:pt x="163" y="164"/>
                  </a:lnTo>
                  <a:lnTo>
                    <a:pt x="165" y="163"/>
                  </a:lnTo>
                  <a:lnTo>
                    <a:pt x="167" y="164"/>
                  </a:lnTo>
                  <a:lnTo>
                    <a:pt x="168" y="164"/>
                  </a:lnTo>
                  <a:lnTo>
                    <a:pt x="169" y="166"/>
                  </a:lnTo>
                  <a:lnTo>
                    <a:pt x="232" y="304"/>
                  </a:lnTo>
                  <a:lnTo>
                    <a:pt x="219" y="211"/>
                  </a:lnTo>
                  <a:lnTo>
                    <a:pt x="220" y="209"/>
                  </a:lnTo>
                  <a:lnTo>
                    <a:pt x="220" y="207"/>
                  </a:lnTo>
                  <a:lnTo>
                    <a:pt x="222" y="206"/>
                  </a:lnTo>
                  <a:lnTo>
                    <a:pt x="223" y="206"/>
                  </a:lnTo>
                  <a:lnTo>
                    <a:pt x="225" y="206"/>
                  </a:lnTo>
                  <a:lnTo>
                    <a:pt x="227" y="206"/>
                  </a:lnTo>
                  <a:lnTo>
                    <a:pt x="228" y="208"/>
                  </a:lnTo>
                  <a:lnTo>
                    <a:pt x="229" y="210"/>
                  </a:lnTo>
                  <a:lnTo>
                    <a:pt x="238" y="275"/>
                  </a:lnTo>
                  <a:lnTo>
                    <a:pt x="238" y="207"/>
                  </a:lnTo>
                  <a:lnTo>
                    <a:pt x="238" y="205"/>
                  </a:lnTo>
                  <a:lnTo>
                    <a:pt x="240" y="204"/>
                  </a:lnTo>
                  <a:lnTo>
                    <a:pt x="241" y="203"/>
                  </a:lnTo>
                  <a:lnTo>
                    <a:pt x="243" y="202"/>
                  </a:lnTo>
                  <a:lnTo>
                    <a:pt x="245" y="203"/>
                  </a:lnTo>
                  <a:lnTo>
                    <a:pt x="246" y="204"/>
                  </a:lnTo>
                  <a:lnTo>
                    <a:pt x="247" y="205"/>
                  </a:lnTo>
                  <a:lnTo>
                    <a:pt x="248" y="207"/>
                  </a:lnTo>
                  <a:lnTo>
                    <a:pt x="247"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1952"/>
            <p:cNvSpPr>
              <a:spLocks noEditPoints="1"/>
            </p:cNvSpPr>
            <p:nvPr userDrawn="1"/>
          </p:nvSpPr>
          <p:spPr bwMode="auto">
            <a:xfrm>
              <a:off x="3709988" y="2746375"/>
              <a:ext cx="1168400" cy="687388"/>
            </a:xfrm>
            <a:custGeom>
              <a:avLst/>
              <a:gdLst>
                <a:gd name="T0" fmla="*/ 608 w 736"/>
                <a:gd name="T1" fmla="*/ 169 h 433"/>
                <a:gd name="T2" fmla="*/ 82 w 736"/>
                <a:gd name="T3" fmla="*/ 31 h 433"/>
                <a:gd name="T4" fmla="*/ 85 w 736"/>
                <a:gd name="T5" fmla="*/ 19 h 433"/>
                <a:gd name="T6" fmla="*/ 25 w 736"/>
                <a:gd name="T7" fmla="*/ 20 h 433"/>
                <a:gd name="T8" fmla="*/ 38 w 736"/>
                <a:gd name="T9" fmla="*/ 36 h 433"/>
                <a:gd name="T10" fmla="*/ 117 w 736"/>
                <a:gd name="T11" fmla="*/ 51 h 433"/>
                <a:gd name="T12" fmla="*/ 409 w 736"/>
                <a:gd name="T13" fmla="*/ 125 h 433"/>
                <a:gd name="T14" fmla="*/ 265 w 736"/>
                <a:gd name="T15" fmla="*/ 79 h 433"/>
                <a:gd name="T16" fmla="*/ 103 w 736"/>
                <a:gd name="T17" fmla="*/ 61 h 433"/>
                <a:gd name="T18" fmla="*/ 36 w 736"/>
                <a:gd name="T19" fmla="*/ 46 h 433"/>
                <a:gd name="T20" fmla="*/ 1 w 736"/>
                <a:gd name="T21" fmla="*/ 19 h 433"/>
                <a:gd name="T22" fmla="*/ 68 w 736"/>
                <a:gd name="T23" fmla="*/ 8 h 433"/>
                <a:gd name="T24" fmla="*/ 114 w 736"/>
                <a:gd name="T25" fmla="*/ 19 h 433"/>
                <a:gd name="T26" fmla="*/ 192 w 736"/>
                <a:gd name="T27" fmla="*/ 54 h 433"/>
                <a:gd name="T28" fmla="*/ 366 w 736"/>
                <a:gd name="T29" fmla="*/ 98 h 433"/>
                <a:gd name="T30" fmla="*/ 523 w 736"/>
                <a:gd name="T31" fmla="*/ 173 h 433"/>
                <a:gd name="T32" fmla="*/ 626 w 736"/>
                <a:gd name="T33" fmla="*/ 1 h 433"/>
                <a:gd name="T34" fmla="*/ 588 w 736"/>
                <a:gd name="T35" fmla="*/ 106 h 433"/>
                <a:gd name="T36" fmla="*/ 639 w 736"/>
                <a:gd name="T37" fmla="*/ 17 h 433"/>
                <a:gd name="T38" fmla="*/ 647 w 736"/>
                <a:gd name="T39" fmla="*/ 21 h 433"/>
                <a:gd name="T40" fmla="*/ 591 w 736"/>
                <a:gd name="T41" fmla="*/ 117 h 433"/>
                <a:gd name="T42" fmla="*/ 686 w 736"/>
                <a:gd name="T43" fmla="*/ 44 h 433"/>
                <a:gd name="T44" fmla="*/ 618 w 736"/>
                <a:gd name="T45" fmla="*/ 129 h 433"/>
                <a:gd name="T46" fmla="*/ 705 w 736"/>
                <a:gd name="T47" fmla="*/ 58 h 433"/>
                <a:gd name="T48" fmla="*/ 722 w 736"/>
                <a:gd name="T49" fmla="*/ 51 h 433"/>
                <a:gd name="T50" fmla="*/ 642 w 736"/>
                <a:gd name="T51" fmla="*/ 125 h 433"/>
                <a:gd name="T52" fmla="*/ 679 w 736"/>
                <a:gd name="T53" fmla="*/ 114 h 433"/>
                <a:gd name="T54" fmla="*/ 685 w 736"/>
                <a:gd name="T55" fmla="*/ 121 h 433"/>
                <a:gd name="T56" fmla="*/ 736 w 736"/>
                <a:gd name="T57" fmla="*/ 120 h 433"/>
                <a:gd name="T58" fmla="*/ 648 w 736"/>
                <a:gd name="T59" fmla="*/ 159 h 433"/>
                <a:gd name="T60" fmla="*/ 578 w 736"/>
                <a:gd name="T61" fmla="*/ 187 h 433"/>
                <a:gd name="T62" fmla="*/ 710 w 736"/>
                <a:gd name="T63" fmla="*/ 270 h 433"/>
                <a:gd name="T64" fmla="*/ 538 w 736"/>
                <a:gd name="T65" fmla="*/ 192 h 433"/>
                <a:gd name="T66" fmla="*/ 602 w 736"/>
                <a:gd name="T67" fmla="*/ 260 h 433"/>
                <a:gd name="T68" fmla="*/ 680 w 736"/>
                <a:gd name="T69" fmla="*/ 312 h 433"/>
                <a:gd name="T70" fmla="*/ 706 w 736"/>
                <a:gd name="T71" fmla="*/ 332 h 433"/>
                <a:gd name="T72" fmla="*/ 665 w 736"/>
                <a:gd name="T73" fmla="*/ 315 h 433"/>
                <a:gd name="T74" fmla="*/ 580 w 736"/>
                <a:gd name="T75" fmla="*/ 253 h 433"/>
                <a:gd name="T76" fmla="*/ 556 w 736"/>
                <a:gd name="T77" fmla="*/ 269 h 433"/>
                <a:gd name="T78" fmla="*/ 598 w 736"/>
                <a:gd name="T79" fmla="*/ 353 h 433"/>
                <a:gd name="T80" fmla="*/ 630 w 736"/>
                <a:gd name="T81" fmla="*/ 405 h 433"/>
                <a:gd name="T82" fmla="*/ 588 w 736"/>
                <a:gd name="T83" fmla="*/ 355 h 433"/>
                <a:gd name="T84" fmla="*/ 535 w 736"/>
                <a:gd name="T85" fmla="*/ 239 h 433"/>
                <a:gd name="T86" fmla="*/ 572 w 736"/>
                <a:gd name="T87" fmla="*/ 350 h 433"/>
                <a:gd name="T88" fmla="*/ 607 w 736"/>
                <a:gd name="T89" fmla="*/ 417 h 433"/>
                <a:gd name="T90" fmla="*/ 575 w 736"/>
                <a:gd name="T91" fmla="*/ 376 h 433"/>
                <a:gd name="T92" fmla="*/ 530 w 736"/>
                <a:gd name="T93" fmla="*/ 257 h 433"/>
                <a:gd name="T94" fmla="*/ 542 w 736"/>
                <a:gd name="T95" fmla="*/ 356 h 433"/>
                <a:gd name="T96" fmla="*/ 528 w 736"/>
                <a:gd name="T97" fmla="*/ 430 h 433"/>
                <a:gd name="T98" fmla="*/ 519 w 736"/>
                <a:gd name="T99" fmla="*/ 428 h 433"/>
                <a:gd name="T100" fmla="*/ 534 w 736"/>
                <a:gd name="T101" fmla="*/ 378 h 433"/>
                <a:gd name="T102" fmla="*/ 523 w 736"/>
                <a:gd name="T103" fmla="*/ 314 h 433"/>
                <a:gd name="T104" fmla="*/ 487 w 736"/>
                <a:gd name="T105" fmla="*/ 423 h 433"/>
                <a:gd name="T106" fmla="*/ 503 w 736"/>
                <a:gd name="T107" fmla="*/ 291 h 433"/>
                <a:gd name="T108" fmla="*/ 467 w 736"/>
                <a:gd name="T109" fmla="*/ 398 h 433"/>
                <a:gd name="T110" fmla="*/ 429 w 736"/>
                <a:gd name="T111" fmla="*/ 348 h 433"/>
                <a:gd name="T112" fmla="*/ 433 w 736"/>
                <a:gd name="T113" fmla="*/ 274 h 433"/>
                <a:gd name="T114" fmla="*/ 425 w 736"/>
                <a:gd name="T115" fmla="*/ 269 h 433"/>
                <a:gd name="T116" fmla="*/ 413 w 736"/>
                <a:gd name="T117" fmla="*/ 26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6" h="433">
                  <a:moveTo>
                    <a:pt x="550" y="179"/>
                  </a:moveTo>
                  <a:lnTo>
                    <a:pt x="560" y="179"/>
                  </a:lnTo>
                  <a:lnTo>
                    <a:pt x="570" y="178"/>
                  </a:lnTo>
                  <a:lnTo>
                    <a:pt x="579" y="177"/>
                  </a:lnTo>
                  <a:lnTo>
                    <a:pt x="589" y="175"/>
                  </a:lnTo>
                  <a:lnTo>
                    <a:pt x="598" y="173"/>
                  </a:lnTo>
                  <a:lnTo>
                    <a:pt x="608" y="169"/>
                  </a:lnTo>
                  <a:lnTo>
                    <a:pt x="617" y="165"/>
                  </a:lnTo>
                  <a:lnTo>
                    <a:pt x="626" y="161"/>
                  </a:lnTo>
                  <a:lnTo>
                    <a:pt x="635" y="156"/>
                  </a:lnTo>
                  <a:lnTo>
                    <a:pt x="642" y="151"/>
                  </a:lnTo>
                  <a:lnTo>
                    <a:pt x="550" y="179"/>
                  </a:lnTo>
                  <a:close/>
                  <a:moveTo>
                    <a:pt x="25" y="20"/>
                  </a:moveTo>
                  <a:lnTo>
                    <a:pt x="82" y="31"/>
                  </a:lnTo>
                  <a:lnTo>
                    <a:pt x="135" y="41"/>
                  </a:lnTo>
                  <a:lnTo>
                    <a:pt x="128" y="36"/>
                  </a:lnTo>
                  <a:lnTo>
                    <a:pt x="121" y="32"/>
                  </a:lnTo>
                  <a:lnTo>
                    <a:pt x="113" y="28"/>
                  </a:lnTo>
                  <a:lnTo>
                    <a:pt x="104" y="25"/>
                  </a:lnTo>
                  <a:lnTo>
                    <a:pt x="95" y="22"/>
                  </a:lnTo>
                  <a:lnTo>
                    <a:pt x="85" y="19"/>
                  </a:lnTo>
                  <a:lnTo>
                    <a:pt x="80" y="19"/>
                  </a:lnTo>
                  <a:lnTo>
                    <a:pt x="75" y="18"/>
                  </a:lnTo>
                  <a:lnTo>
                    <a:pt x="65" y="17"/>
                  </a:lnTo>
                  <a:lnTo>
                    <a:pt x="55" y="17"/>
                  </a:lnTo>
                  <a:lnTo>
                    <a:pt x="45" y="17"/>
                  </a:lnTo>
                  <a:lnTo>
                    <a:pt x="35" y="18"/>
                  </a:lnTo>
                  <a:lnTo>
                    <a:pt x="25" y="20"/>
                  </a:lnTo>
                  <a:close/>
                  <a:moveTo>
                    <a:pt x="131" y="50"/>
                  </a:moveTo>
                  <a:lnTo>
                    <a:pt x="105" y="45"/>
                  </a:lnTo>
                  <a:lnTo>
                    <a:pt x="80" y="40"/>
                  </a:lnTo>
                  <a:lnTo>
                    <a:pt x="54" y="35"/>
                  </a:lnTo>
                  <a:lnTo>
                    <a:pt x="26" y="30"/>
                  </a:lnTo>
                  <a:lnTo>
                    <a:pt x="31" y="33"/>
                  </a:lnTo>
                  <a:lnTo>
                    <a:pt x="38" y="36"/>
                  </a:lnTo>
                  <a:lnTo>
                    <a:pt x="50" y="41"/>
                  </a:lnTo>
                  <a:lnTo>
                    <a:pt x="63" y="45"/>
                  </a:lnTo>
                  <a:lnTo>
                    <a:pt x="76" y="48"/>
                  </a:lnTo>
                  <a:lnTo>
                    <a:pt x="90" y="51"/>
                  </a:lnTo>
                  <a:lnTo>
                    <a:pt x="104" y="51"/>
                  </a:lnTo>
                  <a:lnTo>
                    <a:pt x="111" y="52"/>
                  </a:lnTo>
                  <a:lnTo>
                    <a:pt x="117" y="51"/>
                  </a:lnTo>
                  <a:lnTo>
                    <a:pt x="131" y="50"/>
                  </a:lnTo>
                  <a:close/>
                  <a:moveTo>
                    <a:pt x="518" y="181"/>
                  </a:moveTo>
                  <a:lnTo>
                    <a:pt x="497" y="168"/>
                  </a:lnTo>
                  <a:lnTo>
                    <a:pt x="475" y="156"/>
                  </a:lnTo>
                  <a:lnTo>
                    <a:pt x="453" y="145"/>
                  </a:lnTo>
                  <a:lnTo>
                    <a:pt x="431" y="134"/>
                  </a:lnTo>
                  <a:lnTo>
                    <a:pt x="409" y="125"/>
                  </a:lnTo>
                  <a:lnTo>
                    <a:pt x="386" y="116"/>
                  </a:lnTo>
                  <a:lnTo>
                    <a:pt x="363" y="107"/>
                  </a:lnTo>
                  <a:lnTo>
                    <a:pt x="338" y="99"/>
                  </a:lnTo>
                  <a:lnTo>
                    <a:pt x="318" y="92"/>
                  </a:lnTo>
                  <a:lnTo>
                    <a:pt x="299" y="87"/>
                  </a:lnTo>
                  <a:lnTo>
                    <a:pt x="282" y="83"/>
                  </a:lnTo>
                  <a:lnTo>
                    <a:pt x="265" y="79"/>
                  </a:lnTo>
                  <a:lnTo>
                    <a:pt x="190" y="63"/>
                  </a:lnTo>
                  <a:lnTo>
                    <a:pt x="153" y="55"/>
                  </a:lnTo>
                  <a:lnTo>
                    <a:pt x="143" y="57"/>
                  </a:lnTo>
                  <a:lnTo>
                    <a:pt x="133" y="59"/>
                  </a:lnTo>
                  <a:lnTo>
                    <a:pt x="123" y="60"/>
                  </a:lnTo>
                  <a:lnTo>
                    <a:pt x="113" y="61"/>
                  </a:lnTo>
                  <a:lnTo>
                    <a:pt x="103" y="61"/>
                  </a:lnTo>
                  <a:lnTo>
                    <a:pt x="93" y="60"/>
                  </a:lnTo>
                  <a:lnTo>
                    <a:pt x="83" y="59"/>
                  </a:lnTo>
                  <a:lnTo>
                    <a:pt x="74" y="58"/>
                  </a:lnTo>
                  <a:lnTo>
                    <a:pt x="64" y="55"/>
                  </a:lnTo>
                  <a:lnTo>
                    <a:pt x="54" y="53"/>
                  </a:lnTo>
                  <a:lnTo>
                    <a:pt x="45" y="49"/>
                  </a:lnTo>
                  <a:lnTo>
                    <a:pt x="36" y="46"/>
                  </a:lnTo>
                  <a:lnTo>
                    <a:pt x="27" y="41"/>
                  </a:lnTo>
                  <a:lnTo>
                    <a:pt x="18" y="36"/>
                  </a:lnTo>
                  <a:lnTo>
                    <a:pt x="9" y="31"/>
                  </a:lnTo>
                  <a:lnTo>
                    <a:pt x="1" y="25"/>
                  </a:lnTo>
                  <a:lnTo>
                    <a:pt x="0" y="23"/>
                  </a:lnTo>
                  <a:lnTo>
                    <a:pt x="0" y="21"/>
                  </a:lnTo>
                  <a:lnTo>
                    <a:pt x="1" y="19"/>
                  </a:lnTo>
                  <a:lnTo>
                    <a:pt x="2" y="18"/>
                  </a:lnTo>
                  <a:lnTo>
                    <a:pt x="15" y="14"/>
                  </a:lnTo>
                  <a:lnTo>
                    <a:pt x="28" y="11"/>
                  </a:lnTo>
                  <a:lnTo>
                    <a:pt x="41" y="8"/>
                  </a:lnTo>
                  <a:lnTo>
                    <a:pt x="55" y="7"/>
                  </a:lnTo>
                  <a:lnTo>
                    <a:pt x="62" y="7"/>
                  </a:lnTo>
                  <a:lnTo>
                    <a:pt x="68" y="8"/>
                  </a:lnTo>
                  <a:lnTo>
                    <a:pt x="75" y="8"/>
                  </a:lnTo>
                  <a:lnTo>
                    <a:pt x="82" y="9"/>
                  </a:lnTo>
                  <a:lnTo>
                    <a:pt x="88" y="10"/>
                  </a:lnTo>
                  <a:lnTo>
                    <a:pt x="95" y="12"/>
                  </a:lnTo>
                  <a:lnTo>
                    <a:pt x="101" y="14"/>
                  </a:lnTo>
                  <a:lnTo>
                    <a:pt x="107" y="16"/>
                  </a:lnTo>
                  <a:lnTo>
                    <a:pt x="114" y="19"/>
                  </a:lnTo>
                  <a:lnTo>
                    <a:pt x="121" y="21"/>
                  </a:lnTo>
                  <a:lnTo>
                    <a:pt x="132" y="28"/>
                  </a:lnTo>
                  <a:lnTo>
                    <a:pt x="137" y="31"/>
                  </a:lnTo>
                  <a:lnTo>
                    <a:pt x="143" y="35"/>
                  </a:lnTo>
                  <a:lnTo>
                    <a:pt x="148" y="40"/>
                  </a:lnTo>
                  <a:lnTo>
                    <a:pt x="153" y="45"/>
                  </a:lnTo>
                  <a:lnTo>
                    <a:pt x="192" y="54"/>
                  </a:lnTo>
                  <a:lnTo>
                    <a:pt x="232" y="62"/>
                  </a:lnTo>
                  <a:lnTo>
                    <a:pt x="267" y="70"/>
                  </a:lnTo>
                  <a:lnTo>
                    <a:pt x="284" y="74"/>
                  </a:lnTo>
                  <a:lnTo>
                    <a:pt x="302" y="78"/>
                  </a:lnTo>
                  <a:lnTo>
                    <a:pt x="321" y="83"/>
                  </a:lnTo>
                  <a:lnTo>
                    <a:pt x="341" y="90"/>
                  </a:lnTo>
                  <a:lnTo>
                    <a:pt x="366" y="98"/>
                  </a:lnTo>
                  <a:lnTo>
                    <a:pt x="390" y="107"/>
                  </a:lnTo>
                  <a:lnTo>
                    <a:pt x="413" y="116"/>
                  </a:lnTo>
                  <a:lnTo>
                    <a:pt x="435" y="126"/>
                  </a:lnTo>
                  <a:lnTo>
                    <a:pt x="457" y="136"/>
                  </a:lnTo>
                  <a:lnTo>
                    <a:pt x="479" y="148"/>
                  </a:lnTo>
                  <a:lnTo>
                    <a:pt x="501" y="160"/>
                  </a:lnTo>
                  <a:lnTo>
                    <a:pt x="523" y="173"/>
                  </a:lnTo>
                  <a:lnTo>
                    <a:pt x="526" y="171"/>
                  </a:lnTo>
                  <a:lnTo>
                    <a:pt x="619" y="2"/>
                  </a:lnTo>
                  <a:lnTo>
                    <a:pt x="620" y="1"/>
                  </a:lnTo>
                  <a:lnTo>
                    <a:pt x="622" y="0"/>
                  </a:lnTo>
                  <a:lnTo>
                    <a:pt x="623" y="0"/>
                  </a:lnTo>
                  <a:lnTo>
                    <a:pt x="625" y="0"/>
                  </a:lnTo>
                  <a:lnTo>
                    <a:pt x="626" y="1"/>
                  </a:lnTo>
                  <a:lnTo>
                    <a:pt x="627" y="3"/>
                  </a:lnTo>
                  <a:lnTo>
                    <a:pt x="628" y="5"/>
                  </a:lnTo>
                  <a:lnTo>
                    <a:pt x="627" y="7"/>
                  </a:lnTo>
                  <a:lnTo>
                    <a:pt x="547" y="151"/>
                  </a:lnTo>
                  <a:lnTo>
                    <a:pt x="562" y="137"/>
                  </a:lnTo>
                  <a:lnTo>
                    <a:pt x="575" y="121"/>
                  </a:lnTo>
                  <a:lnTo>
                    <a:pt x="588" y="106"/>
                  </a:lnTo>
                  <a:lnTo>
                    <a:pt x="599" y="89"/>
                  </a:lnTo>
                  <a:lnTo>
                    <a:pt x="610" y="72"/>
                  </a:lnTo>
                  <a:lnTo>
                    <a:pt x="621" y="55"/>
                  </a:lnTo>
                  <a:lnTo>
                    <a:pt x="630" y="37"/>
                  </a:lnTo>
                  <a:lnTo>
                    <a:pt x="634" y="28"/>
                  </a:lnTo>
                  <a:lnTo>
                    <a:pt x="638" y="19"/>
                  </a:lnTo>
                  <a:lnTo>
                    <a:pt x="639" y="17"/>
                  </a:lnTo>
                  <a:lnTo>
                    <a:pt x="641" y="16"/>
                  </a:lnTo>
                  <a:lnTo>
                    <a:pt x="643" y="16"/>
                  </a:lnTo>
                  <a:lnTo>
                    <a:pt x="644" y="16"/>
                  </a:lnTo>
                  <a:lnTo>
                    <a:pt x="646" y="17"/>
                  </a:lnTo>
                  <a:lnTo>
                    <a:pt x="647" y="18"/>
                  </a:lnTo>
                  <a:lnTo>
                    <a:pt x="647" y="20"/>
                  </a:lnTo>
                  <a:lnTo>
                    <a:pt x="647" y="21"/>
                  </a:lnTo>
                  <a:lnTo>
                    <a:pt x="647" y="22"/>
                  </a:lnTo>
                  <a:lnTo>
                    <a:pt x="641" y="35"/>
                  </a:lnTo>
                  <a:lnTo>
                    <a:pt x="635" y="47"/>
                  </a:lnTo>
                  <a:lnTo>
                    <a:pt x="629" y="59"/>
                  </a:lnTo>
                  <a:lnTo>
                    <a:pt x="622" y="71"/>
                  </a:lnTo>
                  <a:lnTo>
                    <a:pt x="607" y="95"/>
                  </a:lnTo>
                  <a:lnTo>
                    <a:pt x="591" y="117"/>
                  </a:lnTo>
                  <a:lnTo>
                    <a:pt x="678" y="40"/>
                  </a:lnTo>
                  <a:lnTo>
                    <a:pt x="680" y="39"/>
                  </a:lnTo>
                  <a:lnTo>
                    <a:pt x="682" y="39"/>
                  </a:lnTo>
                  <a:lnTo>
                    <a:pt x="684" y="39"/>
                  </a:lnTo>
                  <a:lnTo>
                    <a:pt x="685" y="40"/>
                  </a:lnTo>
                  <a:lnTo>
                    <a:pt x="686" y="42"/>
                  </a:lnTo>
                  <a:lnTo>
                    <a:pt x="686" y="44"/>
                  </a:lnTo>
                  <a:lnTo>
                    <a:pt x="686" y="46"/>
                  </a:lnTo>
                  <a:lnTo>
                    <a:pt x="685" y="47"/>
                  </a:lnTo>
                  <a:lnTo>
                    <a:pt x="552" y="164"/>
                  </a:lnTo>
                  <a:lnTo>
                    <a:pt x="563" y="159"/>
                  </a:lnTo>
                  <a:lnTo>
                    <a:pt x="575" y="153"/>
                  </a:lnTo>
                  <a:lnTo>
                    <a:pt x="597" y="142"/>
                  </a:lnTo>
                  <a:lnTo>
                    <a:pt x="618" y="129"/>
                  </a:lnTo>
                  <a:lnTo>
                    <a:pt x="629" y="123"/>
                  </a:lnTo>
                  <a:lnTo>
                    <a:pt x="639" y="116"/>
                  </a:lnTo>
                  <a:lnTo>
                    <a:pt x="659" y="101"/>
                  </a:lnTo>
                  <a:lnTo>
                    <a:pt x="678" y="85"/>
                  </a:lnTo>
                  <a:lnTo>
                    <a:pt x="687" y="76"/>
                  </a:lnTo>
                  <a:lnTo>
                    <a:pt x="696" y="68"/>
                  </a:lnTo>
                  <a:lnTo>
                    <a:pt x="705" y="58"/>
                  </a:lnTo>
                  <a:lnTo>
                    <a:pt x="714" y="49"/>
                  </a:lnTo>
                  <a:lnTo>
                    <a:pt x="716" y="47"/>
                  </a:lnTo>
                  <a:lnTo>
                    <a:pt x="717" y="47"/>
                  </a:lnTo>
                  <a:lnTo>
                    <a:pt x="719" y="47"/>
                  </a:lnTo>
                  <a:lnTo>
                    <a:pt x="721" y="48"/>
                  </a:lnTo>
                  <a:lnTo>
                    <a:pt x="722" y="50"/>
                  </a:lnTo>
                  <a:lnTo>
                    <a:pt x="722" y="51"/>
                  </a:lnTo>
                  <a:lnTo>
                    <a:pt x="722" y="53"/>
                  </a:lnTo>
                  <a:lnTo>
                    <a:pt x="721" y="55"/>
                  </a:lnTo>
                  <a:lnTo>
                    <a:pt x="706" y="71"/>
                  </a:lnTo>
                  <a:lnTo>
                    <a:pt x="691" y="86"/>
                  </a:lnTo>
                  <a:lnTo>
                    <a:pt x="675" y="100"/>
                  </a:lnTo>
                  <a:lnTo>
                    <a:pt x="659" y="113"/>
                  </a:lnTo>
                  <a:lnTo>
                    <a:pt x="642" y="125"/>
                  </a:lnTo>
                  <a:lnTo>
                    <a:pt x="624" y="137"/>
                  </a:lnTo>
                  <a:lnTo>
                    <a:pt x="606" y="147"/>
                  </a:lnTo>
                  <a:lnTo>
                    <a:pt x="588" y="157"/>
                  </a:lnTo>
                  <a:lnTo>
                    <a:pt x="661" y="136"/>
                  </a:lnTo>
                  <a:lnTo>
                    <a:pt x="669" y="127"/>
                  </a:lnTo>
                  <a:lnTo>
                    <a:pt x="677" y="116"/>
                  </a:lnTo>
                  <a:lnTo>
                    <a:pt x="679" y="114"/>
                  </a:lnTo>
                  <a:lnTo>
                    <a:pt x="680" y="114"/>
                  </a:lnTo>
                  <a:lnTo>
                    <a:pt x="682" y="114"/>
                  </a:lnTo>
                  <a:lnTo>
                    <a:pt x="684" y="115"/>
                  </a:lnTo>
                  <a:lnTo>
                    <a:pt x="685" y="116"/>
                  </a:lnTo>
                  <a:lnTo>
                    <a:pt x="686" y="118"/>
                  </a:lnTo>
                  <a:lnTo>
                    <a:pt x="686" y="120"/>
                  </a:lnTo>
                  <a:lnTo>
                    <a:pt x="685" y="121"/>
                  </a:lnTo>
                  <a:lnTo>
                    <a:pt x="678" y="130"/>
                  </a:lnTo>
                  <a:lnTo>
                    <a:pt x="730" y="115"/>
                  </a:lnTo>
                  <a:lnTo>
                    <a:pt x="732" y="115"/>
                  </a:lnTo>
                  <a:lnTo>
                    <a:pt x="734" y="115"/>
                  </a:lnTo>
                  <a:lnTo>
                    <a:pt x="735" y="117"/>
                  </a:lnTo>
                  <a:lnTo>
                    <a:pt x="736" y="118"/>
                  </a:lnTo>
                  <a:lnTo>
                    <a:pt x="736" y="120"/>
                  </a:lnTo>
                  <a:lnTo>
                    <a:pt x="736" y="122"/>
                  </a:lnTo>
                  <a:lnTo>
                    <a:pt x="735" y="123"/>
                  </a:lnTo>
                  <a:lnTo>
                    <a:pt x="733" y="124"/>
                  </a:lnTo>
                  <a:lnTo>
                    <a:pt x="665" y="144"/>
                  </a:lnTo>
                  <a:lnTo>
                    <a:pt x="657" y="152"/>
                  </a:lnTo>
                  <a:lnTo>
                    <a:pt x="652" y="155"/>
                  </a:lnTo>
                  <a:lnTo>
                    <a:pt x="648" y="159"/>
                  </a:lnTo>
                  <a:lnTo>
                    <a:pt x="639" y="165"/>
                  </a:lnTo>
                  <a:lnTo>
                    <a:pt x="629" y="170"/>
                  </a:lnTo>
                  <a:lnTo>
                    <a:pt x="619" y="175"/>
                  </a:lnTo>
                  <a:lnTo>
                    <a:pt x="609" y="179"/>
                  </a:lnTo>
                  <a:lnTo>
                    <a:pt x="598" y="183"/>
                  </a:lnTo>
                  <a:lnTo>
                    <a:pt x="587" y="185"/>
                  </a:lnTo>
                  <a:lnTo>
                    <a:pt x="578" y="187"/>
                  </a:lnTo>
                  <a:lnTo>
                    <a:pt x="569" y="188"/>
                  </a:lnTo>
                  <a:lnTo>
                    <a:pt x="561" y="189"/>
                  </a:lnTo>
                  <a:lnTo>
                    <a:pt x="553" y="189"/>
                  </a:lnTo>
                  <a:lnTo>
                    <a:pt x="708" y="267"/>
                  </a:lnTo>
                  <a:lnTo>
                    <a:pt x="709" y="268"/>
                  </a:lnTo>
                  <a:lnTo>
                    <a:pt x="710" y="269"/>
                  </a:lnTo>
                  <a:lnTo>
                    <a:pt x="710" y="270"/>
                  </a:lnTo>
                  <a:lnTo>
                    <a:pt x="710" y="272"/>
                  </a:lnTo>
                  <a:lnTo>
                    <a:pt x="710" y="273"/>
                  </a:lnTo>
                  <a:lnTo>
                    <a:pt x="709" y="275"/>
                  </a:lnTo>
                  <a:lnTo>
                    <a:pt x="707" y="276"/>
                  </a:lnTo>
                  <a:lnTo>
                    <a:pt x="705" y="276"/>
                  </a:lnTo>
                  <a:lnTo>
                    <a:pt x="703" y="275"/>
                  </a:lnTo>
                  <a:lnTo>
                    <a:pt x="538" y="192"/>
                  </a:lnTo>
                  <a:lnTo>
                    <a:pt x="547" y="202"/>
                  </a:lnTo>
                  <a:lnTo>
                    <a:pt x="555" y="213"/>
                  </a:lnTo>
                  <a:lnTo>
                    <a:pt x="564" y="223"/>
                  </a:lnTo>
                  <a:lnTo>
                    <a:pt x="573" y="233"/>
                  </a:lnTo>
                  <a:lnTo>
                    <a:pt x="583" y="242"/>
                  </a:lnTo>
                  <a:lnTo>
                    <a:pt x="592" y="251"/>
                  </a:lnTo>
                  <a:lnTo>
                    <a:pt x="602" y="260"/>
                  </a:lnTo>
                  <a:lnTo>
                    <a:pt x="612" y="269"/>
                  </a:lnTo>
                  <a:lnTo>
                    <a:pt x="623" y="277"/>
                  </a:lnTo>
                  <a:lnTo>
                    <a:pt x="634" y="285"/>
                  </a:lnTo>
                  <a:lnTo>
                    <a:pt x="645" y="292"/>
                  </a:lnTo>
                  <a:lnTo>
                    <a:pt x="656" y="299"/>
                  </a:lnTo>
                  <a:lnTo>
                    <a:pt x="668" y="306"/>
                  </a:lnTo>
                  <a:lnTo>
                    <a:pt x="680" y="312"/>
                  </a:lnTo>
                  <a:lnTo>
                    <a:pt x="692" y="318"/>
                  </a:lnTo>
                  <a:lnTo>
                    <a:pt x="705" y="324"/>
                  </a:lnTo>
                  <a:lnTo>
                    <a:pt x="706" y="325"/>
                  </a:lnTo>
                  <a:lnTo>
                    <a:pt x="707" y="327"/>
                  </a:lnTo>
                  <a:lnTo>
                    <a:pt x="708" y="328"/>
                  </a:lnTo>
                  <a:lnTo>
                    <a:pt x="707" y="330"/>
                  </a:lnTo>
                  <a:lnTo>
                    <a:pt x="706" y="332"/>
                  </a:lnTo>
                  <a:lnTo>
                    <a:pt x="705" y="333"/>
                  </a:lnTo>
                  <a:lnTo>
                    <a:pt x="703" y="333"/>
                  </a:lnTo>
                  <a:lnTo>
                    <a:pt x="702" y="333"/>
                  </a:lnTo>
                  <a:lnTo>
                    <a:pt x="701" y="333"/>
                  </a:lnTo>
                  <a:lnTo>
                    <a:pt x="689" y="327"/>
                  </a:lnTo>
                  <a:lnTo>
                    <a:pt x="676" y="321"/>
                  </a:lnTo>
                  <a:lnTo>
                    <a:pt x="665" y="315"/>
                  </a:lnTo>
                  <a:lnTo>
                    <a:pt x="653" y="308"/>
                  </a:lnTo>
                  <a:lnTo>
                    <a:pt x="642" y="302"/>
                  </a:lnTo>
                  <a:lnTo>
                    <a:pt x="631" y="294"/>
                  </a:lnTo>
                  <a:lnTo>
                    <a:pt x="609" y="279"/>
                  </a:lnTo>
                  <a:lnTo>
                    <a:pt x="599" y="270"/>
                  </a:lnTo>
                  <a:lnTo>
                    <a:pt x="589" y="262"/>
                  </a:lnTo>
                  <a:lnTo>
                    <a:pt x="580" y="253"/>
                  </a:lnTo>
                  <a:lnTo>
                    <a:pt x="570" y="243"/>
                  </a:lnTo>
                  <a:lnTo>
                    <a:pt x="561" y="234"/>
                  </a:lnTo>
                  <a:lnTo>
                    <a:pt x="552" y="224"/>
                  </a:lnTo>
                  <a:lnTo>
                    <a:pt x="535" y="203"/>
                  </a:lnTo>
                  <a:lnTo>
                    <a:pt x="543" y="230"/>
                  </a:lnTo>
                  <a:lnTo>
                    <a:pt x="551" y="256"/>
                  </a:lnTo>
                  <a:lnTo>
                    <a:pt x="556" y="269"/>
                  </a:lnTo>
                  <a:lnTo>
                    <a:pt x="561" y="281"/>
                  </a:lnTo>
                  <a:lnTo>
                    <a:pt x="566" y="293"/>
                  </a:lnTo>
                  <a:lnTo>
                    <a:pt x="572" y="306"/>
                  </a:lnTo>
                  <a:lnTo>
                    <a:pt x="578" y="318"/>
                  </a:lnTo>
                  <a:lnTo>
                    <a:pt x="584" y="330"/>
                  </a:lnTo>
                  <a:lnTo>
                    <a:pt x="591" y="341"/>
                  </a:lnTo>
                  <a:lnTo>
                    <a:pt x="598" y="353"/>
                  </a:lnTo>
                  <a:lnTo>
                    <a:pt x="606" y="364"/>
                  </a:lnTo>
                  <a:lnTo>
                    <a:pt x="614" y="376"/>
                  </a:lnTo>
                  <a:lnTo>
                    <a:pt x="631" y="398"/>
                  </a:lnTo>
                  <a:lnTo>
                    <a:pt x="632" y="400"/>
                  </a:lnTo>
                  <a:lnTo>
                    <a:pt x="632" y="402"/>
                  </a:lnTo>
                  <a:lnTo>
                    <a:pt x="632" y="403"/>
                  </a:lnTo>
                  <a:lnTo>
                    <a:pt x="630" y="405"/>
                  </a:lnTo>
                  <a:lnTo>
                    <a:pt x="629" y="405"/>
                  </a:lnTo>
                  <a:lnTo>
                    <a:pt x="627" y="406"/>
                  </a:lnTo>
                  <a:lnTo>
                    <a:pt x="625" y="405"/>
                  </a:lnTo>
                  <a:lnTo>
                    <a:pt x="624" y="404"/>
                  </a:lnTo>
                  <a:lnTo>
                    <a:pt x="609" y="385"/>
                  </a:lnTo>
                  <a:lnTo>
                    <a:pt x="595" y="365"/>
                  </a:lnTo>
                  <a:lnTo>
                    <a:pt x="588" y="355"/>
                  </a:lnTo>
                  <a:lnTo>
                    <a:pt x="582" y="345"/>
                  </a:lnTo>
                  <a:lnTo>
                    <a:pt x="571" y="325"/>
                  </a:lnTo>
                  <a:lnTo>
                    <a:pt x="561" y="304"/>
                  </a:lnTo>
                  <a:lnTo>
                    <a:pt x="551" y="283"/>
                  </a:lnTo>
                  <a:lnTo>
                    <a:pt x="543" y="261"/>
                  </a:lnTo>
                  <a:lnTo>
                    <a:pt x="539" y="250"/>
                  </a:lnTo>
                  <a:lnTo>
                    <a:pt x="535" y="239"/>
                  </a:lnTo>
                  <a:lnTo>
                    <a:pt x="541" y="262"/>
                  </a:lnTo>
                  <a:lnTo>
                    <a:pt x="543" y="273"/>
                  </a:lnTo>
                  <a:lnTo>
                    <a:pt x="547" y="284"/>
                  </a:lnTo>
                  <a:lnTo>
                    <a:pt x="554" y="307"/>
                  </a:lnTo>
                  <a:lnTo>
                    <a:pt x="558" y="317"/>
                  </a:lnTo>
                  <a:lnTo>
                    <a:pt x="562" y="328"/>
                  </a:lnTo>
                  <a:lnTo>
                    <a:pt x="572" y="350"/>
                  </a:lnTo>
                  <a:lnTo>
                    <a:pt x="583" y="370"/>
                  </a:lnTo>
                  <a:lnTo>
                    <a:pt x="595" y="391"/>
                  </a:lnTo>
                  <a:lnTo>
                    <a:pt x="608" y="410"/>
                  </a:lnTo>
                  <a:lnTo>
                    <a:pt x="609" y="412"/>
                  </a:lnTo>
                  <a:lnTo>
                    <a:pt x="609" y="414"/>
                  </a:lnTo>
                  <a:lnTo>
                    <a:pt x="608" y="416"/>
                  </a:lnTo>
                  <a:lnTo>
                    <a:pt x="607" y="417"/>
                  </a:lnTo>
                  <a:lnTo>
                    <a:pt x="605" y="418"/>
                  </a:lnTo>
                  <a:lnTo>
                    <a:pt x="603" y="418"/>
                  </a:lnTo>
                  <a:lnTo>
                    <a:pt x="602" y="417"/>
                  </a:lnTo>
                  <a:lnTo>
                    <a:pt x="600" y="416"/>
                  </a:lnTo>
                  <a:lnTo>
                    <a:pt x="587" y="396"/>
                  </a:lnTo>
                  <a:lnTo>
                    <a:pt x="581" y="386"/>
                  </a:lnTo>
                  <a:lnTo>
                    <a:pt x="575" y="376"/>
                  </a:lnTo>
                  <a:lnTo>
                    <a:pt x="564" y="355"/>
                  </a:lnTo>
                  <a:lnTo>
                    <a:pt x="555" y="334"/>
                  </a:lnTo>
                  <a:lnTo>
                    <a:pt x="546" y="313"/>
                  </a:lnTo>
                  <a:lnTo>
                    <a:pt x="539" y="291"/>
                  </a:lnTo>
                  <a:lnTo>
                    <a:pt x="535" y="279"/>
                  </a:lnTo>
                  <a:lnTo>
                    <a:pt x="532" y="268"/>
                  </a:lnTo>
                  <a:lnTo>
                    <a:pt x="530" y="257"/>
                  </a:lnTo>
                  <a:lnTo>
                    <a:pt x="527" y="245"/>
                  </a:lnTo>
                  <a:lnTo>
                    <a:pt x="528" y="270"/>
                  </a:lnTo>
                  <a:lnTo>
                    <a:pt x="530" y="295"/>
                  </a:lnTo>
                  <a:lnTo>
                    <a:pt x="534" y="320"/>
                  </a:lnTo>
                  <a:lnTo>
                    <a:pt x="536" y="333"/>
                  </a:lnTo>
                  <a:lnTo>
                    <a:pt x="539" y="345"/>
                  </a:lnTo>
                  <a:lnTo>
                    <a:pt x="542" y="356"/>
                  </a:lnTo>
                  <a:lnTo>
                    <a:pt x="543" y="367"/>
                  </a:lnTo>
                  <a:lnTo>
                    <a:pt x="543" y="378"/>
                  </a:lnTo>
                  <a:lnTo>
                    <a:pt x="542" y="389"/>
                  </a:lnTo>
                  <a:lnTo>
                    <a:pt x="540" y="399"/>
                  </a:lnTo>
                  <a:lnTo>
                    <a:pt x="537" y="410"/>
                  </a:lnTo>
                  <a:lnTo>
                    <a:pt x="533" y="420"/>
                  </a:lnTo>
                  <a:lnTo>
                    <a:pt x="528" y="430"/>
                  </a:lnTo>
                  <a:lnTo>
                    <a:pt x="527" y="432"/>
                  </a:lnTo>
                  <a:lnTo>
                    <a:pt x="525" y="433"/>
                  </a:lnTo>
                  <a:lnTo>
                    <a:pt x="524" y="433"/>
                  </a:lnTo>
                  <a:lnTo>
                    <a:pt x="522" y="432"/>
                  </a:lnTo>
                  <a:lnTo>
                    <a:pt x="521" y="431"/>
                  </a:lnTo>
                  <a:lnTo>
                    <a:pt x="520" y="430"/>
                  </a:lnTo>
                  <a:lnTo>
                    <a:pt x="519" y="428"/>
                  </a:lnTo>
                  <a:lnTo>
                    <a:pt x="520" y="426"/>
                  </a:lnTo>
                  <a:lnTo>
                    <a:pt x="524" y="416"/>
                  </a:lnTo>
                  <a:lnTo>
                    <a:pt x="528" y="407"/>
                  </a:lnTo>
                  <a:lnTo>
                    <a:pt x="531" y="397"/>
                  </a:lnTo>
                  <a:lnTo>
                    <a:pt x="532" y="392"/>
                  </a:lnTo>
                  <a:lnTo>
                    <a:pt x="533" y="388"/>
                  </a:lnTo>
                  <a:lnTo>
                    <a:pt x="534" y="378"/>
                  </a:lnTo>
                  <a:lnTo>
                    <a:pt x="533" y="368"/>
                  </a:lnTo>
                  <a:lnTo>
                    <a:pt x="533" y="363"/>
                  </a:lnTo>
                  <a:lnTo>
                    <a:pt x="532" y="358"/>
                  </a:lnTo>
                  <a:lnTo>
                    <a:pt x="530" y="348"/>
                  </a:lnTo>
                  <a:lnTo>
                    <a:pt x="527" y="336"/>
                  </a:lnTo>
                  <a:lnTo>
                    <a:pt x="525" y="325"/>
                  </a:lnTo>
                  <a:lnTo>
                    <a:pt x="523" y="314"/>
                  </a:lnTo>
                  <a:lnTo>
                    <a:pt x="521" y="303"/>
                  </a:lnTo>
                  <a:lnTo>
                    <a:pt x="519" y="281"/>
                  </a:lnTo>
                  <a:lnTo>
                    <a:pt x="518" y="259"/>
                  </a:lnTo>
                  <a:lnTo>
                    <a:pt x="491" y="419"/>
                  </a:lnTo>
                  <a:lnTo>
                    <a:pt x="490" y="421"/>
                  </a:lnTo>
                  <a:lnTo>
                    <a:pt x="489" y="422"/>
                  </a:lnTo>
                  <a:lnTo>
                    <a:pt x="487" y="423"/>
                  </a:lnTo>
                  <a:lnTo>
                    <a:pt x="486" y="423"/>
                  </a:lnTo>
                  <a:lnTo>
                    <a:pt x="484" y="422"/>
                  </a:lnTo>
                  <a:lnTo>
                    <a:pt x="483" y="421"/>
                  </a:lnTo>
                  <a:lnTo>
                    <a:pt x="482" y="420"/>
                  </a:lnTo>
                  <a:lnTo>
                    <a:pt x="482" y="419"/>
                  </a:lnTo>
                  <a:lnTo>
                    <a:pt x="482" y="417"/>
                  </a:lnTo>
                  <a:lnTo>
                    <a:pt x="503" y="291"/>
                  </a:lnTo>
                  <a:lnTo>
                    <a:pt x="476" y="397"/>
                  </a:lnTo>
                  <a:lnTo>
                    <a:pt x="475" y="399"/>
                  </a:lnTo>
                  <a:lnTo>
                    <a:pt x="473" y="400"/>
                  </a:lnTo>
                  <a:lnTo>
                    <a:pt x="472" y="401"/>
                  </a:lnTo>
                  <a:lnTo>
                    <a:pt x="470" y="400"/>
                  </a:lnTo>
                  <a:lnTo>
                    <a:pt x="468" y="400"/>
                  </a:lnTo>
                  <a:lnTo>
                    <a:pt x="467" y="398"/>
                  </a:lnTo>
                  <a:lnTo>
                    <a:pt x="466" y="397"/>
                  </a:lnTo>
                  <a:lnTo>
                    <a:pt x="466" y="395"/>
                  </a:lnTo>
                  <a:lnTo>
                    <a:pt x="514" y="210"/>
                  </a:lnTo>
                  <a:lnTo>
                    <a:pt x="433" y="346"/>
                  </a:lnTo>
                  <a:lnTo>
                    <a:pt x="432" y="347"/>
                  </a:lnTo>
                  <a:lnTo>
                    <a:pt x="430" y="348"/>
                  </a:lnTo>
                  <a:lnTo>
                    <a:pt x="429" y="348"/>
                  </a:lnTo>
                  <a:lnTo>
                    <a:pt x="427" y="348"/>
                  </a:lnTo>
                  <a:lnTo>
                    <a:pt x="426" y="346"/>
                  </a:lnTo>
                  <a:lnTo>
                    <a:pt x="425" y="345"/>
                  </a:lnTo>
                  <a:lnTo>
                    <a:pt x="425" y="343"/>
                  </a:lnTo>
                  <a:lnTo>
                    <a:pt x="425" y="341"/>
                  </a:lnTo>
                  <a:lnTo>
                    <a:pt x="502" y="211"/>
                  </a:lnTo>
                  <a:lnTo>
                    <a:pt x="433" y="274"/>
                  </a:lnTo>
                  <a:lnTo>
                    <a:pt x="431" y="276"/>
                  </a:lnTo>
                  <a:lnTo>
                    <a:pt x="430" y="276"/>
                  </a:lnTo>
                  <a:lnTo>
                    <a:pt x="428" y="275"/>
                  </a:lnTo>
                  <a:lnTo>
                    <a:pt x="426" y="274"/>
                  </a:lnTo>
                  <a:lnTo>
                    <a:pt x="426" y="273"/>
                  </a:lnTo>
                  <a:lnTo>
                    <a:pt x="425" y="271"/>
                  </a:lnTo>
                  <a:lnTo>
                    <a:pt x="425" y="269"/>
                  </a:lnTo>
                  <a:lnTo>
                    <a:pt x="427" y="267"/>
                  </a:lnTo>
                  <a:lnTo>
                    <a:pt x="476" y="222"/>
                  </a:lnTo>
                  <a:lnTo>
                    <a:pt x="419" y="261"/>
                  </a:lnTo>
                  <a:lnTo>
                    <a:pt x="418" y="262"/>
                  </a:lnTo>
                  <a:lnTo>
                    <a:pt x="416" y="262"/>
                  </a:lnTo>
                  <a:lnTo>
                    <a:pt x="414" y="261"/>
                  </a:lnTo>
                  <a:lnTo>
                    <a:pt x="413" y="260"/>
                  </a:lnTo>
                  <a:lnTo>
                    <a:pt x="412" y="258"/>
                  </a:lnTo>
                  <a:lnTo>
                    <a:pt x="412" y="257"/>
                  </a:lnTo>
                  <a:lnTo>
                    <a:pt x="413" y="255"/>
                  </a:lnTo>
                  <a:lnTo>
                    <a:pt x="414" y="253"/>
                  </a:lnTo>
                  <a:lnTo>
                    <a:pt x="518"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Freeform 1953"/>
            <p:cNvSpPr>
              <a:spLocks noEditPoints="1"/>
            </p:cNvSpPr>
            <p:nvPr userDrawn="1"/>
          </p:nvSpPr>
          <p:spPr bwMode="auto">
            <a:xfrm>
              <a:off x="4569547" y="4419178"/>
              <a:ext cx="1146175" cy="752475"/>
            </a:xfrm>
            <a:custGeom>
              <a:avLst/>
              <a:gdLst>
                <a:gd name="T0" fmla="*/ 133 w 722"/>
                <a:gd name="T1" fmla="*/ 255 h 474"/>
                <a:gd name="T2" fmla="*/ 642 w 722"/>
                <a:gd name="T3" fmla="*/ 448 h 474"/>
                <a:gd name="T4" fmla="*/ 637 w 722"/>
                <a:gd name="T5" fmla="*/ 458 h 474"/>
                <a:gd name="T6" fmla="*/ 595 w 722"/>
                <a:gd name="T7" fmla="*/ 423 h 474"/>
                <a:gd name="T8" fmla="*/ 655 w 722"/>
                <a:gd name="T9" fmla="*/ 432 h 474"/>
                <a:gd name="T10" fmla="*/ 243 w 722"/>
                <a:gd name="T11" fmla="*/ 267 h 474"/>
                <a:gd name="T12" fmla="*/ 394 w 722"/>
                <a:gd name="T13" fmla="*/ 353 h 474"/>
                <a:gd name="T14" fmla="*/ 573 w 722"/>
                <a:gd name="T15" fmla="*/ 416 h 474"/>
                <a:gd name="T16" fmla="*/ 643 w 722"/>
                <a:gd name="T17" fmla="*/ 419 h 474"/>
                <a:gd name="T18" fmla="*/ 706 w 722"/>
                <a:gd name="T19" fmla="*/ 448 h 474"/>
                <a:gd name="T20" fmla="*/ 706 w 722"/>
                <a:gd name="T21" fmla="*/ 471 h 474"/>
                <a:gd name="T22" fmla="*/ 627 w 722"/>
                <a:gd name="T23" fmla="*/ 465 h 474"/>
                <a:gd name="T24" fmla="*/ 577 w 722"/>
                <a:gd name="T25" fmla="*/ 431 h 474"/>
                <a:gd name="T26" fmla="*/ 409 w 722"/>
                <a:gd name="T27" fmla="*/ 370 h 474"/>
                <a:gd name="T28" fmla="*/ 258 w 722"/>
                <a:gd name="T29" fmla="*/ 290 h 474"/>
                <a:gd name="T30" fmla="*/ 100 w 722"/>
                <a:gd name="T31" fmla="*/ 422 h 474"/>
                <a:gd name="T32" fmla="*/ 175 w 722"/>
                <a:gd name="T33" fmla="*/ 292 h 474"/>
                <a:gd name="T34" fmla="*/ 87 w 722"/>
                <a:gd name="T35" fmla="*/ 401 h 474"/>
                <a:gd name="T36" fmla="*/ 78 w 722"/>
                <a:gd name="T37" fmla="*/ 399 h 474"/>
                <a:gd name="T38" fmla="*/ 126 w 722"/>
                <a:gd name="T39" fmla="*/ 329 h 474"/>
                <a:gd name="T40" fmla="*/ 42 w 722"/>
                <a:gd name="T41" fmla="*/ 375 h 474"/>
                <a:gd name="T42" fmla="*/ 141 w 722"/>
                <a:gd name="T43" fmla="*/ 283 h 474"/>
                <a:gd name="T44" fmla="*/ 64 w 722"/>
                <a:gd name="T45" fmla="*/ 324 h 474"/>
                <a:gd name="T46" fmla="*/ 11 w 722"/>
                <a:gd name="T47" fmla="*/ 365 h 474"/>
                <a:gd name="T48" fmla="*/ 24 w 722"/>
                <a:gd name="T49" fmla="*/ 342 h 474"/>
                <a:gd name="T50" fmla="*/ 151 w 722"/>
                <a:gd name="T51" fmla="*/ 269 h 474"/>
                <a:gd name="T52" fmla="*/ 51 w 722"/>
                <a:gd name="T53" fmla="*/ 301 h 474"/>
                <a:gd name="T54" fmla="*/ 3 w 722"/>
                <a:gd name="T55" fmla="*/ 296 h 474"/>
                <a:gd name="T56" fmla="*/ 4 w 722"/>
                <a:gd name="T57" fmla="*/ 287 h 474"/>
                <a:gd name="T58" fmla="*/ 133 w 722"/>
                <a:gd name="T59" fmla="*/ 245 h 474"/>
                <a:gd name="T60" fmla="*/ 43 w 722"/>
                <a:gd name="T61" fmla="*/ 146 h 474"/>
                <a:gd name="T62" fmla="*/ 46 w 722"/>
                <a:gd name="T63" fmla="*/ 137 h 474"/>
                <a:gd name="T64" fmla="*/ 166 w 722"/>
                <a:gd name="T65" fmla="*/ 185 h 474"/>
                <a:gd name="T66" fmla="*/ 98 w 722"/>
                <a:gd name="T67" fmla="*/ 119 h 474"/>
                <a:gd name="T68" fmla="*/ 49 w 722"/>
                <a:gd name="T69" fmla="*/ 85 h 474"/>
                <a:gd name="T70" fmla="*/ 92 w 722"/>
                <a:gd name="T71" fmla="*/ 103 h 474"/>
                <a:gd name="T72" fmla="*/ 161 w 722"/>
                <a:gd name="T73" fmla="*/ 165 h 474"/>
                <a:gd name="T74" fmla="*/ 198 w 722"/>
                <a:gd name="T75" fmla="*/ 175 h 474"/>
                <a:gd name="T76" fmla="*/ 162 w 722"/>
                <a:gd name="T77" fmla="*/ 72 h 474"/>
                <a:gd name="T78" fmla="*/ 134 w 722"/>
                <a:gd name="T79" fmla="*/ 19 h 474"/>
                <a:gd name="T80" fmla="*/ 166 w 722"/>
                <a:gd name="T81" fmla="*/ 60 h 474"/>
                <a:gd name="T82" fmla="*/ 207 w 722"/>
                <a:gd name="T83" fmla="*/ 170 h 474"/>
                <a:gd name="T84" fmla="*/ 195 w 722"/>
                <a:gd name="T85" fmla="*/ 100 h 474"/>
                <a:gd name="T86" fmla="*/ 157 w 722"/>
                <a:gd name="T87" fmla="*/ 12 h 474"/>
                <a:gd name="T88" fmla="*/ 166 w 722"/>
                <a:gd name="T89" fmla="*/ 9 h 474"/>
                <a:gd name="T90" fmla="*/ 209 w 722"/>
                <a:gd name="T91" fmla="*/ 117 h 474"/>
                <a:gd name="T92" fmla="*/ 223 w 722"/>
                <a:gd name="T93" fmla="*/ 149 h 474"/>
                <a:gd name="T94" fmla="*/ 219 w 722"/>
                <a:gd name="T95" fmla="*/ 53 h 474"/>
                <a:gd name="T96" fmla="*/ 242 w 722"/>
                <a:gd name="T97" fmla="*/ 0 h 474"/>
                <a:gd name="T98" fmla="*/ 242 w 722"/>
                <a:gd name="T99" fmla="*/ 17 h 474"/>
                <a:gd name="T100" fmla="*/ 228 w 722"/>
                <a:gd name="T101" fmla="*/ 74 h 474"/>
                <a:gd name="T102" fmla="*/ 232 w 722"/>
                <a:gd name="T103" fmla="*/ 164 h 474"/>
                <a:gd name="T104" fmla="*/ 283 w 722"/>
                <a:gd name="T105" fmla="*/ 15 h 474"/>
                <a:gd name="T106" fmla="*/ 291 w 722"/>
                <a:gd name="T107" fmla="*/ 38 h 474"/>
                <a:gd name="T108" fmla="*/ 231 w 722"/>
                <a:gd name="T109" fmla="*/ 224 h 474"/>
                <a:gd name="T110" fmla="*/ 333 w 722"/>
                <a:gd name="T111" fmla="*/ 98 h 474"/>
                <a:gd name="T112" fmla="*/ 322 w 722"/>
                <a:gd name="T113" fmla="*/ 168 h 474"/>
                <a:gd name="T114" fmla="*/ 270 w 722"/>
                <a:gd name="T115" fmla="*/ 216 h 474"/>
                <a:gd name="T116" fmla="*/ 337 w 722"/>
                <a:gd name="T117" fmla="*/ 18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2" h="474">
                  <a:moveTo>
                    <a:pt x="191" y="251"/>
                  </a:moveTo>
                  <a:lnTo>
                    <a:pt x="181" y="250"/>
                  </a:lnTo>
                  <a:lnTo>
                    <a:pt x="172" y="250"/>
                  </a:lnTo>
                  <a:lnTo>
                    <a:pt x="162" y="250"/>
                  </a:lnTo>
                  <a:lnTo>
                    <a:pt x="152" y="251"/>
                  </a:lnTo>
                  <a:lnTo>
                    <a:pt x="143" y="252"/>
                  </a:lnTo>
                  <a:lnTo>
                    <a:pt x="133" y="255"/>
                  </a:lnTo>
                  <a:lnTo>
                    <a:pt x="123" y="258"/>
                  </a:lnTo>
                  <a:lnTo>
                    <a:pt x="114" y="261"/>
                  </a:lnTo>
                  <a:lnTo>
                    <a:pt x="105" y="265"/>
                  </a:lnTo>
                  <a:lnTo>
                    <a:pt x="97" y="269"/>
                  </a:lnTo>
                  <a:lnTo>
                    <a:pt x="191" y="251"/>
                  </a:lnTo>
                  <a:close/>
                  <a:moveTo>
                    <a:pt x="697" y="464"/>
                  </a:moveTo>
                  <a:lnTo>
                    <a:pt x="642" y="448"/>
                  </a:lnTo>
                  <a:lnTo>
                    <a:pt x="590" y="432"/>
                  </a:lnTo>
                  <a:lnTo>
                    <a:pt x="596" y="437"/>
                  </a:lnTo>
                  <a:lnTo>
                    <a:pt x="603" y="442"/>
                  </a:lnTo>
                  <a:lnTo>
                    <a:pt x="610" y="447"/>
                  </a:lnTo>
                  <a:lnTo>
                    <a:pt x="619" y="451"/>
                  </a:lnTo>
                  <a:lnTo>
                    <a:pt x="628" y="455"/>
                  </a:lnTo>
                  <a:lnTo>
                    <a:pt x="637" y="458"/>
                  </a:lnTo>
                  <a:lnTo>
                    <a:pt x="647" y="461"/>
                  </a:lnTo>
                  <a:lnTo>
                    <a:pt x="657" y="463"/>
                  </a:lnTo>
                  <a:lnTo>
                    <a:pt x="667" y="464"/>
                  </a:lnTo>
                  <a:lnTo>
                    <a:pt x="677" y="465"/>
                  </a:lnTo>
                  <a:lnTo>
                    <a:pt x="687" y="465"/>
                  </a:lnTo>
                  <a:lnTo>
                    <a:pt x="697" y="464"/>
                  </a:lnTo>
                  <a:close/>
                  <a:moveTo>
                    <a:pt x="595" y="423"/>
                  </a:moveTo>
                  <a:lnTo>
                    <a:pt x="620" y="431"/>
                  </a:lnTo>
                  <a:lnTo>
                    <a:pt x="644" y="438"/>
                  </a:lnTo>
                  <a:lnTo>
                    <a:pt x="697" y="454"/>
                  </a:lnTo>
                  <a:lnTo>
                    <a:pt x="686" y="447"/>
                  </a:lnTo>
                  <a:lnTo>
                    <a:pt x="674" y="440"/>
                  </a:lnTo>
                  <a:lnTo>
                    <a:pt x="662" y="435"/>
                  </a:lnTo>
                  <a:lnTo>
                    <a:pt x="655" y="432"/>
                  </a:lnTo>
                  <a:lnTo>
                    <a:pt x="649" y="430"/>
                  </a:lnTo>
                  <a:lnTo>
                    <a:pt x="635" y="427"/>
                  </a:lnTo>
                  <a:lnTo>
                    <a:pt x="622" y="424"/>
                  </a:lnTo>
                  <a:lnTo>
                    <a:pt x="608" y="423"/>
                  </a:lnTo>
                  <a:lnTo>
                    <a:pt x="595" y="423"/>
                  </a:lnTo>
                  <a:close/>
                  <a:moveTo>
                    <a:pt x="223" y="252"/>
                  </a:moveTo>
                  <a:lnTo>
                    <a:pt x="243" y="267"/>
                  </a:lnTo>
                  <a:lnTo>
                    <a:pt x="264" y="282"/>
                  </a:lnTo>
                  <a:lnTo>
                    <a:pt x="284" y="295"/>
                  </a:lnTo>
                  <a:lnTo>
                    <a:pt x="305" y="308"/>
                  </a:lnTo>
                  <a:lnTo>
                    <a:pt x="326" y="320"/>
                  </a:lnTo>
                  <a:lnTo>
                    <a:pt x="348" y="331"/>
                  </a:lnTo>
                  <a:lnTo>
                    <a:pt x="370" y="342"/>
                  </a:lnTo>
                  <a:lnTo>
                    <a:pt x="394" y="353"/>
                  </a:lnTo>
                  <a:lnTo>
                    <a:pt x="413" y="361"/>
                  </a:lnTo>
                  <a:lnTo>
                    <a:pt x="431" y="369"/>
                  </a:lnTo>
                  <a:lnTo>
                    <a:pt x="448" y="375"/>
                  </a:lnTo>
                  <a:lnTo>
                    <a:pt x="465" y="381"/>
                  </a:lnTo>
                  <a:lnTo>
                    <a:pt x="499" y="392"/>
                  </a:lnTo>
                  <a:lnTo>
                    <a:pt x="537" y="404"/>
                  </a:lnTo>
                  <a:lnTo>
                    <a:pt x="573" y="416"/>
                  </a:lnTo>
                  <a:lnTo>
                    <a:pt x="583" y="415"/>
                  </a:lnTo>
                  <a:lnTo>
                    <a:pt x="594" y="414"/>
                  </a:lnTo>
                  <a:lnTo>
                    <a:pt x="604" y="414"/>
                  </a:lnTo>
                  <a:lnTo>
                    <a:pt x="614" y="414"/>
                  </a:lnTo>
                  <a:lnTo>
                    <a:pt x="623" y="415"/>
                  </a:lnTo>
                  <a:lnTo>
                    <a:pt x="633" y="417"/>
                  </a:lnTo>
                  <a:lnTo>
                    <a:pt x="643" y="419"/>
                  </a:lnTo>
                  <a:lnTo>
                    <a:pt x="653" y="422"/>
                  </a:lnTo>
                  <a:lnTo>
                    <a:pt x="662" y="425"/>
                  </a:lnTo>
                  <a:lnTo>
                    <a:pt x="671" y="428"/>
                  </a:lnTo>
                  <a:lnTo>
                    <a:pt x="680" y="433"/>
                  </a:lnTo>
                  <a:lnTo>
                    <a:pt x="689" y="437"/>
                  </a:lnTo>
                  <a:lnTo>
                    <a:pt x="697" y="443"/>
                  </a:lnTo>
                  <a:lnTo>
                    <a:pt x="706" y="448"/>
                  </a:lnTo>
                  <a:lnTo>
                    <a:pt x="714" y="455"/>
                  </a:lnTo>
                  <a:lnTo>
                    <a:pt x="721" y="461"/>
                  </a:lnTo>
                  <a:lnTo>
                    <a:pt x="722" y="464"/>
                  </a:lnTo>
                  <a:lnTo>
                    <a:pt x="721" y="466"/>
                  </a:lnTo>
                  <a:lnTo>
                    <a:pt x="721" y="467"/>
                  </a:lnTo>
                  <a:lnTo>
                    <a:pt x="719" y="469"/>
                  </a:lnTo>
                  <a:lnTo>
                    <a:pt x="706" y="471"/>
                  </a:lnTo>
                  <a:lnTo>
                    <a:pt x="693" y="473"/>
                  </a:lnTo>
                  <a:lnTo>
                    <a:pt x="679" y="474"/>
                  </a:lnTo>
                  <a:lnTo>
                    <a:pt x="673" y="474"/>
                  </a:lnTo>
                  <a:lnTo>
                    <a:pt x="666" y="473"/>
                  </a:lnTo>
                  <a:lnTo>
                    <a:pt x="653" y="472"/>
                  </a:lnTo>
                  <a:lnTo>
                    <a:pt x="639" y="469"/>
                  </a:lnTo>
                  <a:lnTo>
                    <a:pt x="627" y="465"/>
                  </a:lnTo>
                  <a:lnTo>
                    <a:pt x="621" y="462"/>
                  </a:lnTo>
                  <a:lnTo>
                    <a:pt x="615" y="460"/>
                  </a:lnTo>
                  <a:lnTo>
                    <a:pt x="602" y="453"/>
                  </a:lnTo>
                  <a:lnTo>
                    <a:pt x="591" y="445"/>
                  </a:lnTo>
                  <a:lnTo>
                    <a:pt x="586" y="441"/>
                  </a:lnTo>
                  <a:lnTo>
                    <a:pt x="582" y="436"/>
                  </a:lnTo>
                  <a:lnTo>
                    <a:pt x="577" y="431"/>
                  </a:lnTo>
                  <a:lnTo>
                    <a:pt x="572" y="426"/>
                  </a:lnTo>
                  <a:lnTo>
                    <a:pt x="534" y="413"/>
                  </a:lnTo>
                  <a:lnTo>
                    <a:pt x="495" y="401"/>
                  </a:lnTo>
                  <a:lnTo>
                    <a:pt x="461" y="389"/>
                  </a:lnTo>
                  <a:lnTo>
                    <a:pt x="444" y="384"/>
                  </a:lnTo>
                  <a:lnTo>
                    <a:pt x="427" y="377"/>
                  </a:lnTo>
                  <a:lnTo>
                    <a:pt x="409" y="370"/>
                  </a:lnTo>
                  <a:lnTo>
                    <a:pt x="390" y="362"/>
                  </a:lnTo>
                  <a:lnTo>
                    <a:pt x="366" y="351"/>
                  </a:lnTo>
                  <a:lnTo>
                    <a:pt x="343" y="340"/>
                  </a:lnTo>
                  <a:lnTo>
                    <a:pt x="321" y="328"/>
                  </a:lnTo>
                  <a:lnTo>
                    <a:pt x="300" y="316"/>
                  </a:lnTo>
                  <a:lnTo>
                    <a:pt x="279" y="303"/>
                  </a:lnTo>
                  <a:lnTo>
                    <a:pt x="258" y="290"/>
                  </a:lnTo>
                  <a:lnTo>
                    <a:pt x="238" y="275"/>
                  </a:lnTo>
                  <a:lnTo>
                    <a:pt x="217" y="259"/>
                  </a:lnTo>
                  <a:lnTo>
                    <a:pt x="215" y="261"/>
                  </a:lnTo>
                  <a:lnTo>
                    <a:pt x="105" y="420"/>
                  </a:lnTo>
                  <a:lnTo>
                    <a:pt x="103" y="421"/>
                  </a:lnTo>
                  <a:lnTo>
                    <a:pt x="101" y="422"/>
                  </a:lnTo>
                  <a:lnTo>
                    <a:pt x="100" y="422"/>
                  </a:lnTo>
                  <a:lnTo>
                    <a:pt x="98" y="421"/>
                  </a:lnTo>
                  <a:lnTo>
                    <a:pt x="97" y="420"/>
                  </a:lnTo>
                  <a:lnTo>
                    <a:pt x="96" y="418"/>
                  </a:lnTo>
                  <a:lnTo>
                    <a:pt x="96" y="416"/>
                  </a:lnTo>
                  <a:lnTo>
                    <a:pt x="97" y="414"/>
                  </a:lnTo>
                  <a:lnTo>
                    <a:pt x="191" y="279"/>
                  </a:lnTo>
                  <a:lnTo>
                    <a:pt x="175" y="292"/>
                  </a:lnTo>
                  <a:lnTo>
                    <a:pt x="161" y="306"/>
                  </a:lnTo>
                  <a:lnTo>
                    <a:pt x="146" y="320"/>
                  </a:lnTo>
                  <a:lnTo>
                    <a:pt x="133" y="335"/>
                  </a:lnTo>
                  <a:lnTo>
                    <a:pt x="120" y="351"/>
                  </a:lnTo>
                  <a:lnTo>
                    <a:pt x="108" y="367"/>
                  </a:lnTo>
                  <a:lnTo>
                    <a:pt x="97" y="384"/>
                  </a:lnTo>
                  <a:lnTo>
                    <a:pt x="87" y="401"/>
                  </a:lnTo>
                  <a:lnTo>
                    <a:pt x="85" y="403"/>
                  </a:lnTo>
                  <a:lnTo>
                    <a:pt x="84" y="404"/>
                  </a:lnTo>
                  <a:lnTo>
                    <a:pt x="82" y="404"/>
                  </a:lnTo>
                  <a:lnTo>
                    <a:pt x="80" y="403"/>
                  </a:lnTo>
                  <a:lnTo>
                    <a:pt x="79" y="402"/>
                  </a:lnTo>
                  <a:lnTo>
                    <a:pt x="78" y="401"/>
                  </a:lnTo>
                  <a:lnTo>
                    <a:pt x="78" y="399"/>
                  </a:lnTo>
                  <a:lnTo>
                    <a:pt x="79" y="397"/>
                  </a:lnTo>
                  <a:lnTo>
                    <a:pt x="85" y="385"/>
                  </a:lnTo>
                  <a:lnTo>
                    <a:pt x="93" y="373"/>
                  </a:lnTo>
                  <a:lnTo>
                    <a:pt x="100" y="362"/>
                  </a:lnTo>
                  <a:lnTo>
                    <a:pt x="108" y="350"/>
                  </a:lnTo>
                  <a:lnTo>
                    <a:pt x="117" y="340"/>
                  </a:lnTo>
                  <a:lnTo>
                    <a:pt x="126" y="329"/>
                  </a:lnTo>
                  <a:lnTo>
                    <a:pt x="135" y="319"/>
                  </a:lnTo>
                  <a:lnTo>
                    <a:pt x="144" y="309"/>
                  </a:lnTo>
                  <a:lnTo>
                    <a:pt x="48" y="376"/>
                  </a:lnTo>
                  <a:lnTo>
                    <a:pt x="46" y="377"/>
                  </a:lnTo>
                  <a:lnTo>
                    <a:pt x="45" y="377"/>
                  </a:lnTo>
                  <a:lnTo>
                    <a:pt x="43" y="376"/>
                  </a:lnTo>
                  <a:lnTo>
                    <a:pt x="42" y="375"/>
                  </a:lnTo>
                  <a:lnTo>
                    <a:pt x="41" y="373"/>
                  </a:lnTo>
                  <a:lnTo>
                    <a:pt x="41" y="371"/>
                  </a:lnTo>
                  <a:lnTo>
                    <a:pt x="41" y="370"/>
                  </a:lnTo>
                  <a:lnTo>
                    <a:pt x="43" y="368"/>
                  </a:lnTo>
                  <a:lnTo>
                    <a:pt x="188" y="266"/>
                  </a:lnTo>
                  <a:lnTo>
                    <a:pt x="164" y="274"/>
                  </a:lnTo>
                  <a:lnTo>
                    <a:pt x="141" y="283"/>
                  </a:lnTo>
                  <a:lnTo>
                    <a:pt x="130" y="288"/>
                  </a:lnTo>
                  <a:lnTo>
                    <a:pt x="118" y="293"/>
                  </a:lnTo>
                  <a:lnTo>
                    <a:pt x="107" y="299"/>
                  </a:lnTo>
                  <a:lnTo>
                    <a:pt x="96" y="305"/>
                  </a:lnTo>
                  <a:lnTo>
                    <a:pt x="86" y="311"/>
                  </a:lnTo>
                  <a:lnTo>
                    <a:pt x="75" y="317"/>
                  </a:lnTo>
                  <a:lnTo>
                    <a:pt x="64" y="324"/>
                  </a:lnTo>
                  <a:lnTo>
                    <a:pt x="54" y="331"/>
                  </a:lnTo>
                  <a:lnTo>
                    <a:pt x="44" y="339"/>
                  </a:lnTo>
                  <a:lnTo>
                    <a:pt x="34" y="347"/>
                  </a:lnTo>
                  <a:lnTo>
                    <a:pt x="24" y="355"/>
                  </a:lnTo>
                  <a:lnTo>
                    <a:pt x="15" y="363"/>
                  </a:lnTo>
                  <a:lnTo>
                    <a:pt x="13" y="365"/>
                  </a:lnTo>
                  <a:lnTo>
                    <a:pt x="11" y="365"/>
                  </a:lnTo>
                  <a:lnTo>
                    <a:pt x="9" y="364"/>
                  </a:lnTo>
                  <a:lnTo>
                    <a:pt x="8" y="363"/>
                  </a:lnTo>
                  <a:lnTo>
                    <a:pt x="7" y="362"/>
                  </a:lnTo>
                  <a:lnTo>
                    <a:pt x="7" y="360"/>
                  </a:lnTo>
                  <a:lnTo>
                    <a:pt x="7" y="358"/>
                  </a:lnTo>
                  <a:lnTo>
                    <a:pt x="8" y="357"/>
                  </a:lnTo>
                  <a:lnTo>
                    <a:pt x="24" y="342"/>
                  </a:lnTo>
                  <a:lnTo>
                    <a:pt x="41" y="329"/>
                  </a:lnTo>
                  <a:lnTo>
                    <a:pt x="58" y="317"/>
                  </a:lnTo>
                  <a:lnTo>
                    <a:pt x="76" y="305"/>
                  </a:lnTo>
                  <a:lnTo>
                    <a:pt x="95" y="295"/>
                  </a:lnTo>
                  <a:lnTo>
                    <a:pt x="113" y="285"/>
                  </a:lnTo>
                  <a:lnTo>
                    <a:pt x="132" y="276"/>
                  </a:lnTo>
                  <a:lnTo>
                    <a:pt x="151" y="269"/>
                  </a:lnTo>
                  <a:lnTo>
                    <a:pt x="76" y="283"/>
                  </a:lnTo>
                  <a:lnTo>
                    <a:pt x="67" y="291"/>
                  </a:lnTo>
                  <a:lnTo>
                    <a:pt x="57" y="300"/>
                  </a:lnTo>
                  <a:lnTo>
                    <a:pt x="56" y="302"/>
                  </a:lnTo>
                  <a:lnTo>
                    <a:pt x="54" y="302"/>
                  </a:lnTo>
                  <a:lnTo>
                    <a:pt x="52" y="302"/>
                  </a:lnTo>
                  <a:lnTo>
                    <a:pt x="51" y="301"/>
                  </a:lnTo>
                  <a:lnTo>
                    <a:pt x="50" y="299"/>
                  </a:lnTo>
                  <a:lnTo>
                    <a:pt x="49" y="298"/>
                  </a:lnTo>
                  <a:lnTo>
                    <a:pt x="49" y="296"/>
                  </a:lnTo>
                  <a:lnTo>
                    <a:pt x="50" y="294"/>
                  </a:lnTo>
                  <a:lnTo>
                    <a:pt x="58" y="286"/>
                  </a:lnTo>
                  <a:lnTo>
                    <a:pt x="5" y="296"/>
                  </a:lnTo>
                  <a:lnTo>
                    <a:pt x="3" y="296"/>
                  </a:lnTo>
                  <a:lnTo>
                    <a:pt x="2" y="295"/>
                  </a:lnTo>
                  <a:lnTo>
                    <a:pt x="1" y="294"/>
                  </a:lnTo>
                  <a:lnTo>
                    <a:pt x="0" y="292"/>
                  </a:lnTo>
                  <a:lnTo>
                    <a:pt x="0" y="290"/>
                  </a:lnTo>
                  <a:lnTo>
                    <a:pt x="0" y="289"/>
                  </a:lnTo>
                  <a:lnTo>
                    <a:pt x="2" y="287"/>
                  </a:lnTo>
                  <a:lnTo>
                    <a:pt x="4" y="287"/>
                  </a:lnTo>
                  <a:lnTo>
                    <a:pt x="73" y="274"/>
                  </a:lnTo>
                  <a:lnTo>
                    <a:pt x="82" y="267"/>
                  </a:lnTo>
                  <a:lnTo>
                    <a:pt x="92" y="261"/>
                  </a:lnTo>
                  <a:lnTo>
                    <a:pt x="102" y="256"/>
                  </a:lnTo>
                  <a:lnTo>
                    <a:pt x="112" y="251"/>
                  </a:lnTo>
                  <a:lnTo>
                    <a:pt x="122" y="248"/>
                  </a:lnTo>
                  <a:lnTo>
                    <a:pt x="133" y="245"/>
                  </a:lnTo>
                  <a:lnTo>
                    <a:pt x="144" y="242"/>
                  </a:lnTo>
                  <a:lnTo>
                    <a:pt x="155" y="241"/>
                  </a:lnTo>
                  <a:lnTo>
                    <a:pt x="165" y="240"/>
                  </a:lnTo>
                  <a:lnTo>
                    <a:pt x="173" y="240"/>
                  </a:lnTo>
                  <a:lnTo>
                    <a:pt x="181" y="240"/>
                  </a:lnTo>
                  <a:lnTo>
                    <a:pt x="189" y="241"/>
                  </a:lnTo>
                  <a:lnTo>
                    <a:pt x="43" y="146"/>
                  </a:lnTo>
                  <a:lnTo>
                    <a:pt x="41" y="145"/>
                  </a:lnTo>
                  <a:lnTo>
                    <a:pt x="40" y="143"/>
                  </a:lnTo>
                  <a:lnTo>
                    <a:pt x="41" y="141"/>
                  </a:lnTo>
                  <a:lnTo>
                    <a:pt x="41" y="140"/>
                  </a:lnTo>
                  <a:lnTo>
                    <a:pt x="42" y="138"/>
                  </a:lnTo>
                  <a:lnTo>
                    <a:pt x="44" y="137"/>
                  </a:lnTo>
                  <a:lnTo>
                    <a:pt x="46" y="137"/>
                  </a:lnTo>
                  <a:lnTo>
                    <a:pt x="48" y="138"/>
                  </a:lnTo>
                  <a:lnTo>
                    <a:pt x="204" y="240"/>
                  </a:lnTo>
                  <a:lnTo>
                    <a:pt x="197" y="228"/>
                  </a:lnTo>
                  <a:lnTo>
                    <a:pt x="190" y="217"/>
                  </a:lnTo>
                  <a:lnTo>
                    <a:pt x="182" y="206"/>
                  </a:lnTo>
                  <a:lnTo>
                    <a:pt x="174" y="195"/>
                  </a:lnTo>
                  <a:lnTo>
                    <a:pt x="166" y="185"/>
                  </a:lnTo>
                  <a:lnTo>
                    <a:pt x="157" y="175"/>
                  </a:lnTo>
                  <a:lnTo>
                    <a:pt x="148" y="165"/>
                  </a:lnTo>
                  <a:lnTo>
                    <a:pt x="139" y="154"/>
                  </a:lnTo>
                  <a:lnTo>
                    <a:pt x="129" y="145"/>
                  </a:lnTo>
                  <a:lnTo>
                    <a:pt x="119" y="136"/>
                  </a:lnTo>
                  <a:lnTo>
                    <a:pt x="109" y="128"/>
                  </a:lnTo>
                  <a:lnTo>
                    <a:pt x="98" y="119"/>
                  </a:lnTo>
                  <a:lnTo>
                    <a:pt x="87" y="111"/>
                  </a:lnTo>
                  <a:lnTo>
                    <a:pt x="76" y="104"/>
                  </a:lnTo>
                  <a:lnTo>
                    <a:pt x="64" y="97"/>
                  </a:lnTo>
                  <a:lnTo>
                    <a:pt x="52" y="90"/>
                  </a:lnTo>
                  <a:lnTo>
                    <a:pt x="50" y="88"/>
                  </a:lnTo>
                  <a:lnTo>
                    <a:pt x="49" y="87"/>
                  </a:lnTo>
                  <a:lnTo>
                    <a:pt x="49" y="85"/>
                  </a:lnTo>
                  <a:lnTo>
                    <a:pt x="50" y="83"/>
                  </a:lnTo>
                  <a:lnTo>
                    <a:pt x="51" y="82"/>
                  </a:lnTo>
                  <a:lnTo>
                    <a:pt x="52" y="81"/>
                  </a:lnTo>
                  <a:lnTo>
                    <a:pt x="54" y="81"/>
                  </a:lnTo>
                  <a:lnTo>
                    <a:pt x="56" y="81"/>
                  </a:lnTo>
                  <a:lnTo>
                    <a:pt x="80" y="95"/>
                  </a:lnTo>
                  <a:lnTo>
                    <a:pt x="92" y="103"/>
                  </a:lnTo>
                  <a:lnTo>
                    <a:pt x="102" y="111"/>
                  </a:lnTo>
                  <a:lnTo>
                    <a:pt x="113" y="119"/>
                  </a:lnTo>
                  <a:lnTo>
                    <a:pt x="123" y="127"/>
                  </a:lnTo>
                  <a:lnTo>
                    <a:pt x="133" y="136"/>
                  </a:lnTo>
                  <a:lnTo>
                    <a:pt x="143" y="145"/>
                  </a:lnTo>
                  <a:lnTo>
                    <a:pt x="152" y="154"/>
                  </a:lnTo>
                  <a:lnTo>
                    <a:pt x="161" y="165"/>
                  </a:lnTo>
                  <a:lnTo>
                    <a:pt x="178" y="185"/>
                  </a:lnTo>
                  <a:lnTo>
                    <a:pt x="194" y="206"/>
                  </a:lnTo>
                  <a:lnTo>
                    <a:pt x="208" y="228"/>
                  </a:lnTo>
                  <a:lnTo>
                    <a:pt x="206" y="215"/>
                  </a:lnTo>
                  <a:lnTo>
                    <a:pt x="204" y="201"/>
                  </a:lnTo>
                  <a:lnTo>
                    <a:pt x="201" y="188"/>
                  </a:lnTo>
                  <a:lnTo>
                    <a:pt x="198" y="175"/>
                  </a:lnTo>
                  <a:lnTo>
                    <a:pt x="195" y="160"/>
                  </a:lnTo>
                  <a:lnTo>
                    <a:pt x="191" y="147"/>
                  </a:lnTo>
                  <a:lnTo>
                    <a:pt x="187" y="135"/>
                  </a:lnTo>
                  <a:lnTo>
                    <a:pt x="183" y="122"/>
                  </a:lnTo>
                  <a:lnTo>
                    <a:pt x="173" y="97"/>
                  </a:lnTo>
                  <a:lnTo>
                    <a:pt x="168" y="84"/>
                  </a:lnTo>
                  <a:lnTo>
                    <a:pt x="162" y="72"/>
                  </a:lnTo>
                  <a:lnTo>
                    <a:pt x="155" y="60"/>
                  </a:lnTo>
                  <a:lnTo>
                    <a:pt x="149" y="48"/>
                  </a:lnTo>
                  <a:lnTo>
                    <a:pt x="141" y="36"/>
                  </a:lnTo>
                  <a:lnTo>
                    <a:pt x="134" y="24"/>
                  </a:lnTo>
                  <a:lnTo>
                    <a:pt x="133" y="22"/>
                  </a:lnTo>
                  <a:lnTo>
                    <a:pt x="133" y="20"/>
                  </a:lnTo>
                  <a:lnTo>
                    <a:pt x="134" y="19"/>
                  </a:lnTo>
                  <a:lnTo>
                    <a:pt x="135" y="17"/>
                  </a:lnTo>
                  <a:lnTo>
                    <a:pt x="137" y="17"/>
                  </a:lnTo>
                  <a:lnTo>
                    <a:pt x="138" y="16"/>
                  </a:lnTo>
                  <a:lnTo>
                    <a:pt x="140" y="17"/>
                  </a:lnTo>
                  <a:lnTo>
                    <a:pt x="142" y="19"/>
                  </a:lnTo>
                  <a:lnTo>
                    <a:pt x="155" y="39"/>
                  </a:lnTo>
                  <a:lnTo>
                    <a:pt x="166" y="60"/>
                  </a:lnTo>
                  <a:lnTo>
                    <a:pt x="172" y="70"/>
                  </a:lnTo>
                  <a:lnTo>
                    <a:pt x="177" y="81"/>
                  </a:lnTo>
                  <a:lnTo>
                    <a:pt x="186" y="103"/>
                  </a:lnTo>
                  <a:lnTo>
                    <a:pt x="190" y="113"/>
                  </a:lnTo>
                  <a:lnTo>
                    <a:pt x="194" y="124"/>
                  </a:lnTo>
                  <a:lnTo>
                    <a:pt x="201" y="147"/>
                  </a:lnTo>
                  <a:lnTo>
                    <a:pt x="207" y="170"/>
                  </a:lnTo>
                  <a:lnTo>
                    <a:pt x="212" y="193"/>
                  </a:lnTo>
                  <a:lnTo>
                    <a:pt x="209" y="170"/>
                  </a:lnTo>
                  <a:lnTo>
                    <a:pt x="208" y="157"/>
                  </a:lnTo>
                  <a:lnTo>
                    <a:pt x="206" y="146"/>
                  </a:lnTo>
                  <a:lnTo>
                    <a:pt x="203" y="134"/>
                  </a:lnTo>
                  <a:lnTo>
                    <a:pt x="201" y="123"/>
                  </a:lnTo>
                  <a:lnTo>
                    <a:pt x="195" y="100"/>
                  </a:lnTo>
                  <a:lnTo>
                    <a:pt x="187" y="78"/>
                  </a:lnTo>
                  <a:lnTo>
                    <a:pt x="179" y="56"/>
                  </a:lnTo>
                  <a:lnTo>
                    <a:pt x="174" y="45"/>
                  </a:lnTo>
                  <a:lnTo>
                    <a:pt x="169" y="35"/>
                  </a:lnTo>
                  <a:lnTo>
                    <a:pt x="164" y="24"/>
                  </a:lnTo>
                  <a:lnTo>
                    <a:pt x="158" y="14"/>
                  </a:lnTo>
                  <a:lnTo>
                    <a:pt x="157" y="12"/>
                  </a:lnTo>
                  <a:lnTo>
                    <a:pt x="158" y="10"/>
                  </a:lnTo>
                  <a:lnTo>
                    <a:pt x="159" y="9"/>
                  </a:lnTo>
                  <a:lnTo>
                    <a:pt x="160" y="8"/>
                  </a:lnTo>
                  <a:lnTo>
                    <a:pt x="162" y="7"/>
                  </a:lnTo>
                  <a:lnTo>
                    <a:pt x="163" y="7"/>
                  </a:lnTo>
                  <a:lnTo>
                    <a:pt x="165" y="8"/>
                  </a:lnTo>
                  <a:lnTo>
                    <a:pt x="166" y="9"/>
                  </a:lnTo>
                  <a:lnTo>
                    <a:pt x="177" y="30"/>
                  </a:lnTo>
                  <a:lnTo>
                    <a:pt x="182" y="41"/>
                  </a:lnTo>
                  <a:lnTo>
                    <a:pt x="187" y="51"/>
                  </a:lnTo>
                  <a:lnTo>
                    <a:pt x="191" y="62"/>
                  </a:lnTo>
                  <a:lnTo>
                    <a:pt x="196" y="73"/>
                  </a:lnTo>
                  <a:lnTo>
                    <a:pt x="203" y="95"/>
                  </a:lnTo>
                  <a:lnTo>
                    <a:pt x="209" y="117"/>
                  </a:lnTo>
                  <a:lnTo>
                    <a:pt x="212" y="129"/>
                  </a:lnTo>
                  <a:lnTo>
                    <a:pt x="214" y="140"/>
                  </a:lnTo>
                  <a:lnTo>
                    <a:pt x="218" y="164"/>
                  </a:lnTo>
                  <a:lnTo>
                    <a:pt x="220" y="176"/>
                  </a:lnTo>
                  <a:lnTo>
                    <a:pt x="221" y="187"/>
                  </a:lnTo>
                  <a:lnTo>
                    <a:pt x="223" y="161"/>
                  </a:lnTo>
                  <a:lnTo>
                    <a:pt x="223" y="149"/>
                  </a:lnTo>
                  <a:lnTo>
                    <a:pt x="223" y="136"/>
                  </a:lnTo>
                  <a:lnTo>
                    <a:pt x="223" y="124"/>
                  </a:lnTo>
                  <a:lnTo>
                    <a:pt x="222" y="111"/>
                  </a:lnTo>
                  <a:lnTo>
                    <a:pt x="219" y="86"/>
                  </a:lnTo>
                  <a:lnTo>
                    <a:pt x="218" y="75"/>
                  </a:lnTo>
                  <a:lnTo>
                    <a:pt x="218" y="63"/>
                  </a:lnTo>
                  <a:lnTo>
                    <a:pt x="219" y="53"/>
                  </a:lnTo>
                  <a:lnTo>
                    <a:pt x="221" y="42"/>
                  </a:lnTo>
                  <a:lnTo>
                    <a:pt x="224" y="32"/>
                  </a:lnTo>
                  <a:lnTo>
                    <a:pt x="228" y="22"/>
                  </a:lnTo>
                  <a:lnTo>
                    <a:pt x="233" y="12"/>
                  </a:lnTo>
                  <a:lnTo>
                    <a:pt x="239" y="2"/>
                  </a:lnTo>
                  <a:lnTo>
                    <a:pt x="241" y="1"/>
                  </a:lnTo>
                  <a:lnTo>
                    <a:pt x="242" y="0"/>
                  </a:lnTo>
                  <a:lnTo>
                    <a:pt x="244" y="0"/>
                  </a:lnTo>
                  <a:lnTo>
                    <a:pt x="246" y="1"/>
                  </a:lnTo>
                  <a:lnTo>
                    <a:pt x="247" y="2"/>
                  </a:lnTo>
                  <a:lnTo>
                    <a:pt x="248" y="4"/>
                  </a:lnTo>
                  <a:lnTo>
                    <a:pt x="248" y="6"/>
                  </a:lnTo>
                  <a:lnTo>
                    <a:pt x="247" y="7"/>
                  </a:lnTo>
                  <a:lnTo>
                    <a:pt x="242" y="17"/>
                  </a:lnTo>
                  <a:lnTo>
                    <a:pt x="239" y="21"/>
                  </a:lnTo>
                  <a:lnTo>
                    <a:pt x="237" y="26"/>
                  </a:lnTo>
                  <a:lnTo>
                    <a:pt x="233" y="35"/>
                  </a:lnTo>
                  <a:lnTo>
                    <a:pt x="230" y="44"/>
                  </a:lnTo>
                  <a:lnTo>
                    <a:pt x="229" y="54"/>
                  </a:lnTo>
                  <a:lnTo>
                    <a:pt x="228" y="64"/>
                  </a:lnTo>
                  <a:lnTo>
                    <a:pt x="228" y="74"/>
                  </a:lnTo>
                  <a:lnTo>
                    <a:pt x="229" y="84"/>
                  </a:lnTo>
                  <a:lnTo>
                    <a:pt x="230" y="96"/>
                  </a:lnTo>
                  <a:lnTo>
                    <a:pt x="232" y="107"/>
                  </a:lnTo>
                  <a:lnTo>
                    <a:pt x="232" y="118"/>
                  </a:lnTo>
                  <a:lnTo>
                    <a:pt x="233" y="130"/>
                  </a:lnTo>
                  <a:lnTo>
                    <a:pt x="233" y="152"/>
                  </a:lnTo>
                  <a:lnTo>
                    <a:pt x="232" y="164"/>
                  </a:lnTo>
                  <a:lnTo>
                    <a:pt x="232" y="175"/>
                  </a:lnTo>
                  <a:lnTo>
                    <a:pt x="275" y="18"/>
                  </a:lnTo>
                  <a:lnTo>
                    <a:pt x="276" y="16"/>
                  </a:lnTo>
                  <a:lnTo>
                    <a:pt x="277" y="15"/>
                  </a:lnTo>
                  <a:lnTo>
                    <a:pt x="279" y="14"/>
                  </a:lnTo>
                  <a:lnTo>
                    <a:pt x="281" y="14"/>
                  </a:lnTo>
                  <a:lnTo>
                    <a:pt x="283" y="15"/>
                  </a:lnTo>
                  <a:lnTo>
                    <a:pt x="284" y="16"/>
                  </a:lnTo>
                  <a:lnTo>
                    <a:pt x="284" y="18"/>
                  </a:lnTo>
                  <a:lnTo>
                    <a:pt x="284" y="20"/>
                  </a:lnTo>
                  <a:lnTo>
                    <a:pt x="250" y="144"/>
                  </a:lnTo>
                  <a:lnTo>
                    <a:pt x="288" y="41"/>
                  </a:lnTo>
                  <a:lnTo>
                    <a:pt x="289" y="39"/>
                  </a:lnTo>
                  <a:lnTo>
                    <a:pt x="291" y="38"/>
                  </a:lnTo>
                  <a:lnTo>
                    <a:pt x="292" y="38"/>
                  </a:lnTo>
                  <a:lnTo>
                    <a:pt x="294" y="38"/>
                  </a:lnTo>
                  <a:lnTo>
                    <a:pt x="296" y="39"/>
                  </a:lnTo>
                  <a:lnTo>
                    <a:pt x="297" y="40"/>
                  </a:lnTo>
                  <a:lnTo>
                    <a:pt x="297" y="42"/>
                  </a:lnTo>
                  <a:lnTo>
                    <a:pt x="297" y="44"/>
                  </a:lnTo>
                  <a:lnTo>
                    <a:pt x="231" y="224"/>
                  </a:lnTo>
                  <a:lnTo>
                    <a:pt x="325" y="96"/>
                  </a:lnTo>
                  <a:lnTo>
                    <a:pt x="326" y="95"/>
                  </a:lnTo>
                  <a:lnTo>
                    <a:pt x="328" y="94"/>
                  </a:lnTo>
                  <a:lnTo>
                    <a:pt x="330" y="94"/>
                  </a:lnTo>
                  <a:lnTo>
                    <a:pt x="331" y="95"/>
                  </a:lnTo>
                  <a:lnTo>
                    <a:pt x="333" y="97"/>
                  </a:lnTo>
                  <a:lnTo>
                    <a:pt x="333" y="98"/>
                  </a:lnTo>
                  <a:lnTo>
                    <a:pt x="333" y="100"/>
                  </a:lnTo>
                  <a:lnTo>
                    <a:pt x="332" y="102"/>
                  </a:lnTo>
                  <a:lnTo>
                    <a:pt x="242" y="225"/>
                  </a:lnTo>
                  <a:lnTo>
                    <a:pt x="317" y="168"/>
                  </a:lnTo>
                  <a:lnTo>
                    <a:pt x="319" y="167"/>
                  </a:lnTo>
                  <a:lnTo>
                    <a:pt x="321" y="167"/>
                  </a:lnTo>
                  <a:lnTo>
                    <a:pt x="322" y="168"/>
                  </a:lnTo>
                  <a:lnTo>
                    <a:pt x="323" y="168"/>
                  </a:lnTo>
                  <a:lnTo>
                    <a:pt x="324" y="169"/>
                  </a:lnTo>
                  <a:lnTo>
                    <a:pt x="325" y="171"/>
                  </a:lnTo>
                  <a:lnTo>
                    <a:pt x="325" y="173"/>
                  </a:lnTo>
                  <a:lnTo>
                    <a:pt x="325" y="174"/>
                  </a:lnTo>
                  <a:lnTo>
                    <a:pt x="323" y="176"/>
                  </a:lnTo>
                  <a:lnTo>
                    <a:pt x="270" y="216"/>
                  </a:lnTo>
                  <a:lnTo>
                    <a:pt x="330" y="183"/>
                  </a:lnTo>
                  <a:lnTo>
                    <a:pt x="332" y="182"/>
                  </a:lnTo>
                  <a:lnTo>
                    <a:pt x="334" y="182"/>
                  </a:lnTo>
                  <a:lnTo>
                    <a:pt x="335" y="183"/>
                  </a:lnTo>
                  <a:lnTo>
                    <a:pt x="336" y="185"/>
                  </a:lnTo>
                  <a:lnTo>
                    <a:pt x="337" y="186"/>
                  </a:lnTo>
                  <a:lnTo>
                    <a:pt x="337" y="188"/>
                  </a:lnTo>
                  <a:lnTo>
                    <a:pt x="336" y="190"/>
                  </a:lnTo>
                  <a:lnTo>
                    <a:pt x="334" y="191"/>
                  </a:lnTo>
                  <a:lnTo>
                    <a:pt x="223"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6" name="Freeform 1954"/>
            <p:cNvSpPr>
              <a:spLocks noEditPoints="1"/>
            </p:cNvSpPr>
            <p:nvPr userDrawn="1"/>
          </p:nvSpPr>
          <p:spPr bwMode="auto">
            <a:xfrm>
              <a:off x="5194300" y="3030538"/>
              <a:ext cx="706438" cy="1198563"/>
            </a:xfrm>
            <a:custGeom>
              <a:avLst/>
              <a:gdLst>
                <a:gd name="T0" fmla="*/ 170 w 445"/>
                <a:gd name="T1" fmla="*/ 131 h 755"/>
                <a:gd name="T2" fmla="*/ 143 w 445"/>
                <a:gd name="T3" fmla="*/ 674 h 755"/>
                <a:gd name="T4" fmla="*/ 131 w 445"/>
                <a:gd name="T5" fmla="*/ 673 h 755"/>
                <a:gd name="T6" fmla="*/ 152 w 445"/>
                <a:gd name="T7" fmla="*/ 622 h 755"/>
                <a:gd name="T8" fmla="*/ 162 w 445"/>
                <a:gd name="T9" fmla="*/ 675 h 755"/>
                <a:gd name="T10" fmla="*/ 200 w 445"/>
                <a:gd name="T11" fmla="*/ 216 h 755"/>
                <a:gd name="T12" fmla="*/ 163 w 445"/>
                <a:gd name="T13" fmla="*/ 358 h 755"/>
                <a:gd name="T14" fmla="*/ 152 w 445"/>
                <a:gd name="T15" fmla="*/ 561 h 755"/>
                <a:gd name="T16" fmla="*/ 171 w 445"/>
                <a:gd name="T17" fmla="*/ 676 h 755"/>
                <a:gd name="T18" fmla="*/ 153 w 445"/>
                <a:gd name="T19" fmla="*/ 755 h 755"/>
                <a:gd name="T20" fmla="*/ 130 w 445"/>
                <a:gd name="T21" fmla="*/ 718 h 755"/>
                <a:gd name="T22" fmla="*/ 126 w 445"/>
                <a:gd name="T23" fmla="*/ 638 h 755"/>
                <a:gd name="T24" fmla="*/ 143 w 445"/>
                <a:gd name="T25" fmla="*/ 484 h 755"/>
                <a:gd name="T26" fmla="*/ 158 w 445"/>
                <a:gd name="T27" fmla="*/ 332 h 755"/>
                <a:gd name="T28" fmla="*/ 4 w 445"/>
                <a:gd name="T29" fmla="*/ 155 h 755"/>
                <a:gd name="T30" fmla="*/ 3 w 445"/>
                <a:gd name="T31" fmla="*/ 146 h 755"/>
                <a:gd name="T32" fmla="*/ 102 w 445"/>
                <a:gd name="T33" fmla="*/ 159 h 755"/>
                <a:gd name="T34" fmla="*/ 14 w 445"/>
                <a:gd name="T35" fmla="*/ 131 h 755"/>
                <a:gd name="T36" fmla="*/ 17 w 445"/>
                <a:gd name="T37" fmla="*/ 123 h 755"/>
                <a:gd name="T38" fmla="*/ 122 w 445"/>
                <a:gd name="T39" fmla="*/ 158 h 755"/>
                <a:gd name="T40" fmla="*/ 30 w 445"/>
                <a:gd name="T41" fmla="*/ 80 h 755"/>
                <a:gd name="T42" fmla="*/ 128 w 445"/>
                <a:gd name="T43" fmla="*/ 129 h 755"/>
                <a:gd name="T44" fmla="*/ 41 w 445"/>
                <a:gd name="T45" fmla="*/ 59 h 755"/>
                <a:gd name="T46" fmla="*/ 29 w 445"/>
                <a:gd name="T47" fmla="*/ 45 h 755"/>
                <a:gd name="T48" fmla="*/ 104 w 445"/>
                <a:gd name="T49" fmla="*/ 92 h 755"/>
                <a:gd name="T50" fmla="*/ 115 w 445"/>
                <a:gd name="T51" fmla="*/ 79 h 755"/>
                <a:gd name="T52" fmla="*/ 103 w 445"/>
                <a:gd name="T53" fmla="*/ 65 h 755"/>
                <a:gd name="T54" fmla="*/ 92 w 445"/>
                <a:gd name="T55" fmla="*/ 18 h 755"/>
                <a:gd name="T56" fmla="*/ 142 w 445"/>
                <a:gd name="T57" fmla="*/ 86 h 755"/>
                <a:gd name="T58" fmla="*/ 185 w 445"/>
                <a:gd name="T59" fmla="*/ 137 h 755"/>
                <a:gd name="T60" fmla="*/ 245 w 445"/>
                <a:gd name="T61" fmla="*/ 10 h 755"/>
                <a:gd name="T62" fmla="*/ 253 w 445"/>
                <a:gd name="T63" fmla="*/ 15 h 755"/>
                <a:gd name="T64" fmla="*/ 266 w 445"/>
                <a:gd name="T65" fmla="*/ 105 h 755"/>
                <a:gd name="T66" fmla="*/ 298 w 445"/>
                <a:gd name="T67" fmla="*/ 17 h 755"/>
                <a:gd name="T68" fmla="*/ 309 w 445"/>
                <a:gd name="T69" fmla="*/ 1 h 755"/>
                <a:gd name="T70" fmla="*/ 296 w 445"/>
                <a:gd name="T71" fmla="*/ 57 h 755"/>
                <a:gd name="T72" fmla="*/ 250 w 445"/>
                <a:gd name="T73" fmla="*/ 152 h 755"/>
                <a:gd name="T74" fmla="*/ 277 w 445"/>
                <a:gd name="T75" fmla="*/ 161 h 755"/>
                <a:gd name="T76" fmla="*/ 361 w 445"/>
                <a:gd name="T77" fmla="*/ 92 h 755"/>
                <a:gd name="T78" fmla="*/ 395 w 445"/>
                <a:gd name="T79" fmla="*/ 59 h 755"/>
                <a:gd name="T80" fmla="*/ 364 w 445"/>
                <a:gd name="T81" fmla="*/ 102 h 755"/>
                <a:gd name="T82" fmla="*/ 273 w 445"/>
                <a:gd name="T83" fmla="*/ 175 h 755"/>
                <a:gd name="T84" fmla="*/ 334 w 445"/>
                <a:gd name="T85" fmla="*/ 142 h 755"/>
                <a:gd name="T86" fmla="*/ 405 w 445"/>
                <a:gd name="T87" fmla="*/ 80 h 755"/>
                <a:gd name="T88" fmla="*/ 413 w 445"/>
                <a:gd name="T89" fmla="*/ 85 h 755"/>
                <a:gd name="T90" fmla="*/ 342 w 445"/>
                <a:gd name="T91" fmla="*/ 148 h 755"/>
                <a:gd name="T92" fmla="*/ 281 w 445"/>
                <a:gd name="T93" fmla="*/ 189 h 755"/>
                <a:gd name="T94" fmla="*/ 364 w 445"/>
                <a:gd name="T95" fmla="*/ 157 h 755"/>
                <a:gd name="T96" fmla="*/ 428 w 445"/>
                <a:gd name="T97" fmla="*/ 151 h 755"/>
                <a:gd name="T98" fmla="*/ 443 w 445"/>
                <a:gd name="T99" fmla="*/ 162 h 755"/>
                <a:gd name="T100" fmla="*/ 394 w 445"/>
                <a:gd name="T101" fmla="*/ 159 h 755"/>
                <a:gd name="T102" fmla="*/ 328 w 445"/>
                <a:gd name="T103" fmla="*/ 184 h 755"/>
                <a:gd name="T104" fmla="*/ 443 w 445"/>
                <a:gd name="T105" fmla="*/ 197 h 755"/>
                <a:gd name="T106" fmla="*/ 422 w 445"/>
                <a:gd name="T107" fmla="*/ 213 h 755"/>
                <a:gd name="T108" fmla="*/ 419 w 445"/>
                <a:gd name="T109" fmla="*/ 222 h 755"/>
                <a:gd name="T110" fmla="*/ 380 w 445"/>
                <a:gd name="T111" fmla="*/ 272 h 755"/>
                <a:gd name="T112" fmla="*/ 311 w 445"/>
                <a:gd name="T113" fmla="*/ 283 h 755"/>
                <a:gd name="T114" fmla="*/ 249 w 445"/>
                <a:gd name="T115" fmla="*/ 249 h 755"/>
                <a:gd name="T116" fmla="*/ 296 w 445"/>
                <a:gd name="T117" fmla="*/ 30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5" h="755">
                  <a:moveTo>
                    <a:pt x="191" y="185"/>
                  </a:moveTo>
                  <a:lnTo>
                    <a:pt x="189" y="175"/>
                  </a:lnTo>
                  <a:lnTo>
                    <a:pt x="186" y="166"/>
                  </a:lnTo>
                  <a:lnTo>
                    <a:pt x="183" y="157"/>
                  </a:lnTo>
                  <a:lnTo>
                    <a:pt x="179" y="148"/>
                  </a:lnTo>
                  <a:lnTo>
                    <a:pt x="175" y="139"/>
                  </a:lnTo>
                  <a:lnTo>
                    <a:pt x="170" y="131"/>
                  </a:lnTo>
                  <a:lnTo>
                    <a:pt x="164" y="122"/>
                  </a:lnTo>
                  <a:lnTo>
                    <a:pt x="157" y="114"/>
                  </a:lnTo>
                  <a:lnTo>
                    <a:pt x="151" y="107"/>
                  </a:lnTo>
                  <a:lnTo>
                    <a:pt x="144" y="100"/>
                  </a:lnTo>
                  <a:lnTo>
                    <a:pt x="191" y="185"/>
                  </a:lnTo>
                  <a:close/>
                  <a:moveTo>
                    <a:pt x="145" y="732"/>
                  </a:moveTo>
                  <a:lnTo>
                    <a:pt x="143" y="674"/>
                  </a:lnTo>
                  <a:lnTo>
                    <a:pt x="142" y="620"/>
                  </a:lnTo>
                  <a:lnTo>
                    <a:pt x="139" y="627"/>
                  </a:lnTo>
                  <a:lnTo>
                    <a:pt x="136" y="635"/>
                  </a:lnTo>
                  <a:lnTo>
                    <a:pt x="134" y="644"/>
                  </a:lnTo>
                  <a:lnTo>
                    <a:pt x="133" y="653"/>
                  </a:lnTo>
                  <a:lnTo>
                    <a:pt x="132" y="663"/>
                  </a:lnTo>
                  <a:lnTo>
                    <a:pt x="131" y="673"/>
                  </a:lnTo>
                  <a:lnTo>
                    <a:pt x="132" y="683"/>
                  </a:lnTo>
                  <a:lnTo>
                    <a:pt x="133" y="693"/>
                  </a:lnTo>
                  <a:lnTo>
                    <a:pt x="135" y="703"/>
                  </a:lnTo>
                  <a:lnTo>
                    <a:pt x="138" y="713"/>
                  </a:lnTo>
                  <a:lnTo>
                    <a:pt x="141" y="723"/>
                  </a:lnTo>
                  <a:lnTo>
                    <a:pt x="145" y="732"/>
                  </a:lnTo>
                  <a:close/>
                  <a:moveTo>
                    <a:pt x="152" y="622"/>
                  </a:moveTo>
                  <a:lnTo>
                    <a:pt x="152" y="648"/>
                  </a:lnTo>
                  <a:lnTo>
                    <a:pt x="153" y="674"/>
                  </a:lnTo>
                  <a:lnTo>
                    <a:pt x="154" y="729"/>
                  </a:lnTo>
                  <a:lnTo>
                    <a:pt x="158" y="716"/>
                  </a:lnTo>
                  <a:lnTo>
                    <a:pt x="160" y="703"/>
                  </a:lnTo>
                  <a:lnTo>
                    <a:pt x="161" y="689"/>
                  </a:lnTo>
                  <a:lnTo>
                    <a:pt x="162" y="675"/>
                  </a:lnTo>
                  <a:lnTo>
                    <a:pt x="161" y="661"/>
                  </a:lnTo>
                  <a:lnTo>
                    <a:pt x="160" y="655"/>
                  </a:lnTo>
                  <a:lnTo>
                    <a:pt x="159" y="648"/>
                  </a:lnTo>
                  <a:lnTo>
                    <a:pt x="158" y="641"/>
                  </a:lnTo>
                  <a:lnTo>
                    <a:pt x="156" y="635"/>
                  </a:lnTo>
                  <a:lnTo>
                    <a:pt x="152" y="622"/>
                  </a:lnTo>
                  <a:close/>
                  <a:moveTo>
                    <a:pt x="200" y="216"/>
                  </a:moveTo>
                  <a:lnTo>
                    <a:pt x="191" y="239"/>
                  </a:lnTo>
                  <a:lnTo>
                    <a:pt x="184" y="263"/>
                  </a:lnTo>
                  <a:lnTo>
                    <a:pt x="178" y="287"/>
                  </a:lnTo>
                  <a:lnTo>
                    <a:pt x="175" y="298"/>
                  </a:lnTo>
                  <a:lnTo>
                    <a:pt x="172" y="310"/>
                  </a:lnTo>
                  <a:lnTo>
                    <a:pt x="167" y="334"/>
                  </a:lnTo>
                  <a:lnTo>
                    <a:pt x="163" y="358"/>
                  </a:lnTo>
                  <a:lnTo>
                    <a:pt x="159" y="383"/>
                  </a:lnTo>
                  <a:lnTo>
                    <a:pt x="156" y="409"/>
                  </a:lnTo>
                  <a:lnTo>
                    <a:pt x="154" y="430"/>
                  </a:lnTo>
                  <a:lnTo>
                    <a:pt x="153" y="449"/>
                  </a:lnTo>
                  <a:lnTo>
                    <a:pt x="152" y="467"/>
                  </a:lnTo>
                  <a:lnTo>
                    <a:pt x="152" y="485"/>
                  </a:lnTo>
                  <a:lnTo>
                    <a:pt x="152" y="561"/>
                  </a:lnTo>
                  <a:lnTo>
                    <a:pt x="152" y="599"/>
                  </a:lnTo>
                  <a:lnTo>
                    <a:pt x="156" y="608"/>
                  </a:lnTo>
                  <a:lnTo>
                    <a:pt x="160" y="618"/>
                  </a:lnTo>
                  <a:lnTo>
                    <a:pt x="163" y="627"/>
                  </a:lnTo>
                  <a:lnTo>
                    <a:pt x="166" y="637"/>
                  </a:lnTo>
                  <a:lnTo>
                    <a:pt x="170" y="656"/>
                  </a:lnTo>
                  <a:lnTo>
                    <a:pt x="171" y="676"/>
                  </a:lnTo>
                  <a:lnTo>
                    <a:pt x="170" y="696"/>
                  </a:lnTo>
                  <a:lnTo>
                    <a:pt x="167" y="716"/>
                  </a:lnTo>
                  <a:lnTo>
                    <a:pt x="165" y="725"/>
                  </a:lnTo>
                  <a:lnTo>
                    <a:pt x="162" y="735"/>
                  </a:lnTo>
                  <a:lnTo>
                    <a:pt x="159" y="745"/>
                  </a:lnTo>
                  <a:lnTo>
                    <a:pt x="155" y="754"/>
                  </a:lnTo>
                  <a:lnTo>
                    <a:pt x="153" y="755"/>
                  </a:lnTo>
                  <a:lnTo>
                    <a:pt x="151" y="755"/>
                  </a:lnTo>
                  <a:lnTo>
                    <a:pt x="149" y="755"/>
                  </a:lnTo>
                  <a:lnTo>
                    <a:pt x="147" y="754"/>
                  </a:lnTo>
                  <a:lnTo>
                    <a:pt x="140" y="743"/>
                  </a:lnTo>
                  <a:lnTo>
                    <a:pt x="135" y="731"/>
                  </a:lnTo>
                  <a:lnTo>
                    <a:pt x="132" y="724"/>
                  </a:lnTo>
                  <a:lnTo>
                    <a:pt x="130" y="718"/>
                  </a:lnTo>
                  <a:lnTo>
                    <a:pt x="126" y="705"/>
                  </a:lnTo>
                  <a:lnTo>
                    <a:pt x="123" y="692"/>
                  </a:lnTo>
                  <a:lnTo>
                    <a:pt x="122" y="678"/>
                  </a:lnTo>
                  <a:lnTo>
                    <a:pt x="122" y="665"/>
                  </a:lnTo>
                  <a:lnTo>
                    <a:pt x="122" y="658"/>
                  </a:lnTo>
                  <a:lnTo>
                    <a:pt x="123" y="652"/>
                  </a:lnTo>
                  <a:lnTo>
                    <a:pt x="126" y="638"/>
                  </a:lnTo>
                  <a:lnTo>
                    <a:pt x="128" y="631"/>
                  </a:lnTo>
                  <a:lnTo>
                    <a:pt x="130" y="625"/>
                  </a:lnTo>
                  <a:lnTo>
                    <a:pt x="135" y="613"/>
                  </a:lnTo>
                  <a:lnTo>
                    <a:pt x="138" y="607"/>
                  </a:lnTo>
                  <a:lnTo>
                    <a:pt x="142" y="601"/>
                  </a:lnTo>
                  <a:lnTo>
                    <a:pt x="143" y="561"/>
                  </a:lnTo>
                  <a:lnTo>
                    <a:pt x="143" y="484"/>
                  </a:lnTo>
                  <a:lnTo>
                    <a:pt x="143" y="467"/>
                  </a:lnTo>
                  <a:lnTo>
                    <a:pt x="144" y="448"/>
                  </a:lnTo>
                  <a:lnTo>
                    <a:pt x="145" y="429"/>
                  </a:lnTo>
                  <a:lnTo>
                    <a:pt x="147" y="408"/>
                  </a:lnTo>
                  <a:lnTo>
                    <a:pt x="150" y="382"/>
                  </a:lnTo>
                  <a:lnTo>
                    <a:pt x="154" y="357"/>
                  </a:lnTo>
                  <a:lnTo>
                    <a:pt x="158" y="332"/>
                  </a:lnTo>
                  <a:lnTo>
                    <a:pt x="163" y="308"/>
                  </a:lnTo>
                  <a:lnTo>
                    <a:pt x="168" y="284"/>
                  </a:lnTo>
                  <a:lnTo>
                    <a:pt x="175" y="261"/>
                  </a:lnTo>
                  <a:lnTo>
                    <a:pt x="182" y="237"/>
                  </a:lnTo>
                  <a:lnTo>
                    <a:pt x="191" y="212"/>
                  </a:lnTo>
                  <a:lnTo>
                    <a:pt x="189" y="211"/>
                  </a:lnTo>
                  <a:lnTo>
                    <a:pt x="4" y="155"/>
                  </a:lnTo>
                  <a:lnTo>
                    <a:pt x="3" y="154"/>
                  </a:lnTo>
                  <a:lnTo>
                    <a:pt x="2" y="154"/>
                  </a:lnTo>
                  <a:lnTo>
                    <a:pt x="1" y="152"/>
                  </a:lnTo>
                  <a:lnTo>
                    <a:pt x="0" y="150"/>
                  </a:lnTo>
                  <a:lnTo>
                    <a:pt x="1" y="149"/>
                  </a:lnTo>
                  <a:lnTo>
                    <a:pt x="1" y="147"/>
                  </a:lnTo>
                  <a:lnTo>
                    <a:pt x="3" y="146"/>
                  </a:lnTo>
                  <a:lnTo>
                    <a:pt x="4" y="145"/>
                  </a:lnTo>
                  <a:lnTo>
                    <a:pt x="6" y="145"/>
                  </a:lnTo>
                  <a:lnTo>
                    <a:pt x="164" y="193"/>
                  </a:lnTo>
                  <a:lnTo>
                    <a:pt x="147" y="182"/>
                  </a:lnTo>
                  <a:lnTo>
                    <a:pt x="129" y="173"/>
                  </a:lnTo>
                  <a:lnTo>
                    <a:pt x="111" y="163"/>
                  </a:lnTo>
                  <a:lnTo>
                    <a:pt x="102" y="159"/>
                  </a:lnTo>
                  <a:lnTo>
                    <a:pt x="93" y="155"/>
                  </a:lnTo>
                  <a:lnTo>
                    <a:pt x="74" y="148"/>
                  </a:lnTo>
                  <a:lnTo>
                    <a:pt x="65" y="145"/>
                  </a:lnTo>
                  <a:lnTo>
                    <a:pt x="55" y="142"/>
                  </a:lnTo>
                  <a:lnTo>
                    <a:pt x="35" y="136"/>
                  </a:lnTo>
                  <a:lnTo>
                    <a:pt x="16" y="132"/>
                  </a:lnTo>
                  <a:lnTo>
                    <a:pt x="14" y="131"/>
                  </a:lnTo>
                  <a:lnTo>
                    <a:pt x="12" y="130"/>
                  </a:lnTo>
                  <a:lnTo>
                    <a:pt x="12" y="128"/>
                  </a:lnTo>
                  <a:lnTo>
                    <a:pt x="12" y="126"/>
                  </a:lnTo>
                  <a:lnTo>
                    <a:pt x="12" y="125"/>
                  </a:lnTo>
                  <a:lnTo>
                    <a:pt x="14" y="123"/>
                  </a:lnTo>
                  <a:lnTo>
                    <a:pt x="15" y="123"/>
                  </a:lnTo>
                  <a:lnTo>
                    <a:pt x="17" y="123"/>
                  </a:lnTo>
                  <a:lnTo>
                    <a:pt x="44" y="129"/>
                  </a:lnTo>
                  <a:lnTo>
                    <a:pt x="58" y="133"/>
                  </a:lnTo>
                  <a:lnTo>
                    <a:pt x="71" y="137"/>
                  </a:lnTo>
                  <a:lnTo>
                    <a:pt x="84" y="141"/>
                  </a:lnTo>
                  <a:lnTo>
                    <a:pt x="96" y="146"/>
                  </a:lnTo>
                  <a:lnTo>
                    <a:pt x="109" y="152"/>
                  </a:lnTo>
                  <a:lnTo>
                    <a:pt x="122" y="158"/>
                  </a:lnTo>
                  <a:lnTo>
                    <a:pt x="28" y="88"/>
                  </a:lnTo>
                  <a:lnTo>
                    <a:pt x="27" y="87"/>
                  </a:lnTo>
                  <a:lnTo>
                    <a:pt x="26" y="85"/>
                  </a:lnTo>
                  <a:lnTo>
                    <a:pt x="27" y="83"/>
                  </a:lnTo>
                  <a:lnTo>
                    <a:pt x="27" y="82"/>
                  </a:lnTo>
                  <a:lnTo>
                    <a:pt x="29" y="81"/>
                  </a:lnTo>
                  <a:lnTo>
                    <a:pt x="30" y="80"/>
                  </a:lnTo>
                  <a:lnTo>
                    <a:pt x="32" y="80"/>
                  </a:lnTo>
                  <a:lnTo>
                    <a:pt x="34" y="81"/>
                  </a:lnTo>
                  <a:lnTo>
                    <a:pt x="176" y="186"/>
                  </a:lnTo>
                  <a:lnTo>
                    <a:pt x="161" y="166"/>
                  </a:lnTo>
                  <a:lnTo>
                    <a:pt x="145" y="147"/>
                  </a:lnTo>
                  <a:lnTo>
                    <a:pt x="137" y="138"/>
                  </a:lnTo>
                  <a:lnTo>
                    <a:pt x="128" y="129"/>
                  </a:lnTo>
                  <a:lnTo>
                    <a:pt x="120" y="120"/>
                  </a:lnTo>
                  <a:lnTo>
                    <a:pt x="111" y="111"/>
                  </a:lnTo>
                  <a:lnTo>
                    <a:pt x="92" y="95"/>
                  </a:lnTo>
                  <a:lnTo>
                    <a:pt x="72" y="80"/>
                  </a:lnTo>
                  <a:lnTo>
                    <a:pt x="62" y="72"/>
                  </a:lnTo>
                  <a:lnTo>
                    <a:pt x="52" y="65"/>
                  </a:lnTo>
                  <a:lnTo>
                    <a:pt x="41" y="59"/>
                  </a:lnTo>
                  <a:lnTo>
                    <a:pt x="30" y="53"/>
                  </a:lnTo>
                  <a:lnTo>
                    <a:pt x="28" y="51"/>
                  </a:lnTo>
                  <a:lnTo>
                    <a:pt x="28" y="50"/>
                  </a:lnTo>
                  <a:lnTo>
                    <a:pt x="27" y="49"/>
                  </a:lnTo>
                  <a:lnTo>
                    <a:pt x="27" y="48"/>
                  </a:lnTo>
                  <a:lnTo>
                    <a:pt x="28" y="46"/>
                  </a:lnTo>
                  <a:lnTo>
                    <a:pt x="29" y="45"/>
                  </a:lnTo>
                  <a:lnTo>
                    <a:pt x="30" y="44"/>
                  </a:lnTo>
                  <a:lnTo>
                    <a:pt x="32" y="44"/>
                  </a:lnTo>
                  <a:lnTo>
                    <a:pt x="34" y="44"/>
                  </a:lnTo>
                  <a:lnTo>
                    <a:pt x="53" y="55"/>
                  </a:lnTo>
                  <a:lnTo>
                    <a:pt x="71" y="67"/>
                  </a:lnTo>
                  <a:lnTo>
                    <a:pt x="88" y="79"/>
                  </a:lnTo>
                  <a:lnTo>
                    <a:pt x="104" y="92"/>
                  </a:lnTo>
                  <a:lnTo>
                    <a:pt x="119" y="106"/>
                  </a:lnTo>
                  <a:lnTo>
                    <a:pt x="134" y="121"/>
                  </a:lnTo>
                  <a:lnTo>
                    <a:pt x="148" y="136"/>
                  </a:lnTo>
                  <a:lnTo>
                    <a:pt x="155" y="144"/>
                  </a:lnTo>
                  <a:lnTo>
                    <a:pt x="162" y="152"/>
                  </a:lnTo>
                  <a:lnTo>
                    <a:pt x="125" y="85"/>
                  </a:lnTo>
                  <a:lnTo>
                    <a:pt x="115" y="79"/>
                  </a:lnTo>
                  <a:lnTo>
                    <a:pt x="103" y="74"/>
                  </a:lnTo>
                  <a:lnTo>
                    <a:pt x="101" y="72"/>
                  </a:lnTo>
                  <a:lnTo>
                    <a:pt x="100" y="71"/>
                  </a:lnTo>
                  <a:lnTo>
                    <a:pt x="100" y="69"/>
                  </a:lnTo>
                  <a:lnTo>
                    <a:pt x="100" y="67"/>
                  </a:lnTo>
                  <a:lnTo>
                    <a:pt x="101" y="66"/>
                  </a:lnTo>
                  <a:lnTo>
                    <a:pt x="103" y="65"/>
                  </a:lnTo>
                  <a:lnTo>
                    <a:pt x="105" y="65"/>
                  </a:lnTo>
                  <a:lnTo>
                    <a:pt x="107" y="65"/>
                  </a:lnTo>
                  <a:lnTo>
                    <a:pt x="117" y="70"/>
                  </a:lnTo>
                  <a:lnTo>
                    <a:pt x="91" y="23"/>
                  </a:lnTo>
                  <a:lnTo>
                    <a:pt x="90" y="21"/>
                  </a:lnTo>
                  <a:lnTo>
                    <a:pt x="91" y="19"/>
                  </a:lnTo>
                  <a:lnTo>
                    <a:pt x="92" y="18"/>
                  </a:lnTo>
                  <a:lnTo>
                    <a:pt x="93" y="16"/>
                  </a:lnTo>
                  <a:lnTo>
                    <a:pt x="95" y="16"/>
                  </a:lnTo>
                  <a:lnTo>
                    <a:pt x="96" y="16"/>
                  </a:lnTo>
                  <a:lnTo>
                    <a:pt x="98" y="17"/>
                  </a:lnTo>
                  <a:lnTo>
                    <a:pt x="99" y="18"/>
                  </a:lnTo>
                  <a:lnTo>
                    <a:pt x="133" y="80"/>
                  </a:lnTo>
                  <a:lnTo>
                    <a:pt x="142" y="86"/>
                  </a:lnTo>
                  <a:lnTo>
                    <a:pt x="150" y="93"/>
                  </a:lnTo>
                  <a:lnTo>
                    <a:pt x="158" y="101"/>
                  </a:lnTo>
                  <a:lnTo>
                    <a:pt x="166" y="109"/>
                  </a:lnTo>
                  <a:lnTo>
                    <a:pt x="169" y="114"/>
                  </a:lnTo>
                  <a:lnTo>
                    <a:pt x="173" y="118"/>
                  </a:lnTo>
                  <a:lnTo>
                    <a:pt x="179" y="128"/>
                  </a:lnTo>
                  <a:lnTo>
                    <a:pt x="185" y="137"/>
                  </a:lnTo>
                  <a:lnTo>
                    <a:pt x="189" y="148"/>
                  </a:lnTo>
                  <a:lnTo>
                    <a:pt x="193" y="156"/>
                  </a:lnTo>
                  <a:lnTo>
                    <a:pt x="196" y="164"/>
                  </a:lnTo>
                  <a:lnTo>
                    <a:pt x="198" y="172"/>
                  </a:lnTo>
                  <a:lnTo>
                    <a:pt x="200" y="180"/>
                  </a:lnTo>
                  <a:lnTo>
                    <a:pt x="244" y="12"/>
                  </a:lnTo>
                  <a:lnTo>
                    <a:pt x="245" y="10"/>
                  </a:lnTo>
                  <a:lnTo>
                    <a:pt x="246" y="9"/>
                  </a:lnTo>
                  <a:lnTo>
                    <a:pt x="248" y="9"/>
                  </a:lnTo>
                  <a:lnTo>
                    <a:pt x="250" y="9"/>
                  </a:lnTo>
                  <a:lnTo>
                    <a:pt x="252" y="10"/>
                  </a:lnTo>
                  <a:lnTo>
                    <a:pt x="253" y="11"/>
                  </a:lnTo>
                  <a:lnTo>
                    <a:pt x="253" y="13"/>
                  </a:lnTo>
                  <a:lnTo>
                    <a:pt x="253" y="15"/>
                  </a:lnTo>
                  <a:lnTo>
                    <a:pt x="206" y="194"/>
                  </a:lnTo>
                  <a:lnTo>
                    <a:pt x="214" y="183"/>
                  </a:lnTo>
                  <a:lnTo>
                    <a:pt x="223" y="173"/>
                  </a:lnTo>
                  <a:lnTo>
                    <a:pt x="231" y="162"/>
                  </a:lnTo>
                  <a:lnTo>
                    <a:pt x="239" y="151"/>
                  </a:lnTo>
                  <a:lnTo>
                    <a:pt x="253" y="129"/>
                  </a:lnTo>
                  <a:lnTo>
                    <a:pt x="266" y="105"/>
                  </a:lnTo>
                  <a:lnTo>
                    <a:pt x="272" y="93"/>
                  </a:lnTo>
                  <a:lnTo>
                    <a:pt x="277" y="81"/>
                  </a:lnTo>
                  <a:lnTo>
                    <a:pt x="282" y="69"/>
                  </a:lnTo>
                  <a:lnTo>
                    <a:pt x="286" y="56"/>
                  </a:lnTo>
                  <a:lnTo>
                    <a:pt x="291" y="43"/>
                  </a:lnTo>
                  <a:lnTo>
                    <a:pt x="294" y="30"/>
                  </a:lnTo>
                  <a:lnTo>
                    <a:pt x="298" y="17"/>
                  </a:lnTo>
                  <a:lnTo>
                    <a:pt x="300" y="4"/>
                  </a:lnTo>
                  <a:lnTo>
                    <a:pt x="301" y="2"/>
                  </a:lnTo>
                  <a:lnTo>
                    <a:pt x="303" y="0"/>
                  </a:lnTo>
                  <a:lnTo>
                    <a:pt x="304" y="0"/>
                  </a:lnTo>
                  <a:lnTo>
                    <a:pt x="306" y="0"/>
                  </a:lnTo>
                  <a:lnTo>
                    <a:pt x="308" y="0"/>
                  </a:lnTo>
                  <a:lnTo>
                    <a:pt x="309" y="1"/>
                  </a:lnTo>
                  <a:lnTo>
                    <a:pt x="309" y="2"/>
                  </a:lnTo>
                  <a:lnTo>
                    <a:pt x="310" y="3"/>
                  </a:lnTo>
                  <a:lnTo>
                    <a:pt x="310" y="5"/>
                  </a:lnTo>
                  <a:lnTo>
                    <a:pt x="307" y="19"/>
                  </a:lnTo>
                  <a:lnTo>
                    <a:pt x="304" y="32"/>
                  </a:lnTo>
                  <a:lnTo>
                    <a:pt x="300" y="45"/>
                  </a:lnTo>
                  <a:lnTo>
                    <a:pt x="296" y="57"/>
                  </a:lnTo>
                  <a:lnTo>
                    <a:pt x="292" y="70"/>
                  </a:lnTo>
                  <a:lnTo>
                    <a:pt x="287" y="82"/>
                  </a:lnTo>
                  <a:lnTo>
                    <a:pt x="282" y="94"/>
                  </a:lnTo>
                  <a:lnTo>
                    <a:pt x="276" y="106"/>
                  </a:lnTo>
                  <a:lnTo>
                    <a:pt x="270" y="118"/>
                  </a:lnTo>
                  <a:lnTo>
                    <a:pt x="264" y="129"/>
                  </a:lnTo>
                  <a:lnTo>
                    <a:pt x="250" y="152"/>
                  </a:lnTo>
                  <a:lnTo>
                    <a:pt x="234" y="173"/>
                  </a:lnTo>
                  <a:lnTo>
                    <a:pt x="226" y="184"/>
                  </a:lnTo>
                  <a:lnTo>
                    <a:pt x="218" y="194"/>
                  </a:lnTo>
                  <a:lnTo>
                    <a:pt x="230" y="188"/>
                  </a:lnTo>
                  <a:lnTo>
                    <a:pt x="242" y="182"/>
                  </a:lnTo>
                  <a:lnTo>
                    <a:pt x="266" y="168"/>
                  </a:lnTo>
                  <a:lnTo>
                    <a:pt x="277" y="161"/>
                  </a:lnTo>
                  <a:lnTo>
                    <a:pt x="288" y="153"/>
                  </a:lnTo>
                  <a:lnTo>
                    <a:pt x="299" y="145"/>
                  </a:lnTo>
                  <a:lnTo>
                    <a:pt x="310" y="137"/>
                  </a:lnTo>
                  <a:lnTo>
                    <a:pt x="331" y="120"/>
                  </a:lnTo>
                  <a:lnTo>
                    <a:pt x="341" y="111"/>
                  </a:lnTo>
                  <a:lnTo>
                    <a:pt x="351" y="102"/>
                  </a:lnTo>
                  <a:lnTo>
                    <a:pt x="361" y="92"/>
                  </a:lnTo>
                  <a:lnTo>
                    <a:pt x="370" y="82"/>
                  </a:lnTo>
                  <a:lnTo>
                    <a:pt x="379" y="71"/>
                  </a:lnTo>
                  <a:lnTo>
                    <a:pt x="388" y="60"/>
                  </a:lnTo>
                  <a:lnTo>
                    <a:pt x="390" y="59"/>
                  </a:lnTo>
                  <a:lnTo>
                    <a:pt x="391" y="58"/>
                  </a:lnTo>
                  <a:lnTo>
                    <a:pt x="393" y="59"/>
                  </a:lnTo>
                  <a:lnTo>
                    <a:pt x="395" y="59"/>
                  </a:lnTo>
                  <a:lnTo>
                    <a:pt x="396" y="61"/>
                  </a:lnTo>
                  <a:lnTo>
                    <a:pt x="397" y="62"/>
                  </a:lnTo>
                  <a:lnTo>
                    <a:pt x="397" y="64"/>
                  </a:lnTo>
                  <a:lnTo>
                    <a:pt x="396" y="66"/>
                  </a:lnTo>
                  <a:lnTo>
                    <a:pt x="388" y="76"/>
                  </a:lnTo>
                  <a:lnTo>
                    <a:pt x="380" y="85"/>
                  </a:lnTo>
                  <a:lnTo>
                    <a:pt x="364" y="102"/>
                  </a:lnTo>
                  <a:lnTo>
                    <a:pt x="356" y="111"/>
                  </a:lnTo>
                  <a:lnTo>
                    <a:pt x="347" y="119"/>
                  </a:lnTo>
                  <a:lnTo>
                    <a:pt x="329" y="134"/>
                  </a:lnTo>
                  <a:lnTo>
                    <a:pt x="311" y="149"/>
                  </a:lnTo>
                  <a:lnTo>
                    <a:pt x="302" y="155"/>
                  </a:lnTo>
                  <a:lnTo>
                    <a:pt x="292" y="162"/>
                  </a:lnTo>
                  <a:lnTo>
                    <a:pt x="273" y="175"/>
                  </a:lnTo>
                  <a:lnTo>
                    <a:pt x="252" y="187"/>
                  </a:lnTo>
                  <a:lnTo>
                    <a:pt x="263" y="182"/>
                  </a:lnTo>
                  <a:lnTo>
                    <a:pt x="274" y="177"/>
                  </a:lnTo>
                  <a:lnTo>
                    <a:pt x="295" y="166"/>
                  </a:lnTo>
                  <a:lnTo>
                    <a:pt x="315" y="155"/>
                  </a:lnTo>
                  <a:lnTo>
                    <a:pt x="325" y="148"/>
                  </a:lnTo>
                  <a:lnTo>
                    <a:pt x="334" y="142"/>
                  </a:lnTo>
                  <a:lnTo>
                    <a:pt x="344" y="135"/>
                  </a:lnTo>
                  <a:lnTo>
                    <a:pt x="353" y="128"/>
                  </a:lnTo>
                  <a:lnTo>
                    <a:pt x="362" y="121"/>
                  </a:lnTo>
                  <a:lnTo>
                    <a:pt x="371" y="113"/>
                  </a:lnTo>
                  <a:lnTo>
                    <a:pt x="380" y="105"/>
                  </a:lnTo>
                  <a:lnTo>
                    <a:pt x="389" y="97"/>
                  </a:lnTo>
                  <a:lnTo>
                    <a:pt x="405" y="80"/>
                  </a:lnTo>
                  <a:lnTo>
                    <a:pt x="407" y="79"/>
                  </a:lnTo>
                  <a:lnTo>
                    <a:pt x="409" y="79"/>
                  </a:lnTo>
                  <a:lnTo>
                    <a:pt x="410" y="79"/>
                  </a:lnTo>
                  <a:lnTo>
                    <a:pt x="412" y="80"/>
                  </a:lnTo>
                  <a:lnTo>
                    <a:pt x="413" y="81"/>
                  </a:lnTo>
                  <a:lnTo>
                    <a:pt x="413" y="83"/>
                  </a:lnTo>
                  <a:lnTo>
                    <a:pt x="413" y="85"/>
                  </a:lnTo>
                  <a:lnTo>
                    <a:pt x="412" y="87"/>
                  </a:lnTo>
                  <a:lnTo>
                    <a:pt x="404" y="95"/>
                  </a:lnTo>
                  <a:lnTo>
                    <a:pt x="396" y="104"/>
                  </a:lnTo>
                  <a:lnTo>
                    <a:pt x="387" y="112"/>
                  </a:lnTo>
                  <a:lnTo>
                    <a:pt x="378" y="120"/>
                  </a:lnTo>
                  <a:lnTo>
                    <a:pt x="360" y="134"/>
                  </a:lnTo>
                  <a:lnTo>
                    <a:pt x="342" y="148"/>
                  </a:lnTo>
                  <a:lnTo>
                    <a:pt x="322" y="161"/>
                  </a:lnTo>
                  <a:lnTo>
                    <a:pt x="302" y="173"/>
                  </a:lnTo>
                  <a:lnTo>
                    <a:pt x="292" y="179"/>
                  </a:lnTo>
                  <a:lnTo>
                    <a:pt x="281" y="184"/>
                  </a:lnTo>
                  <a:lnTo>
                    <a:pt x="271" y="189"/>
                  </a:lnTo>
                  <a:lnTo>
                    <a:pt x="260" y="194"/>
                  </a:lnTo>
                  <a:lnTo>
                    <a:pt x="281" y="189"/>
                  </a:lnTo>
                  <a:lnTo>
                    <a:pt x="303" y="183"/>
                  </a:lnTo>
                  <a:lnTo>
                    <a:pt x="313" y="180"/>
                  </a:lnTo>
                  <a:lnTo>
                    <a:pt x="323" y="176"/>
                  </a:lnTo>
                  <a:lnTo>
                    <a:pt x="332" y="172"/>
                  </a:lnTo>
                  <a:lnTo>
                    <a:pt x="341" y="168"/>
                  </a:lnTo>
                  <a:lnTo>
                    <a:pt x="353" y="162"/>
                  </a:lnTo>
                  <a:lnTo>
                    <a:pt x="364" y="157"/>
                  </a:lnTo>
                  <a:lnTo>
                    <a:pt x="376" y="153"/>
                  </a:lnTo>
                  <a:lnTo>
                    <a:pt x="382" y="151"/>
                  </a:lnTo>
                  <a:lnTo>
                    <a:pt x="389" y="150"/>
                  </a:lnTo>
                  <a:lnTo>
                    <a:pt x="403" y="149"/>
                  </a:lnTo>
                  <a:lnTo>
                    <a:pt x="409" y="149"/>
                  </a:lnTo>
                  <a:lnTo>
                    <a:pt x="416" y="149"/>
                  </a:lnTo>
                  <a:lnTo>
                    <a:pt x="428" y="151"/>
                  </a:lnTo>
                  <a:lnTo>
                    <a:pt x="441" y="154"/>
                  </a:lnTo>
                  <a:lnTo>
                    <a:pt x="443" y="155"/>
                  </a:lnTo>
                  <a:lnTo>
                    <a:pt x="444" y="156"/>
                  </a:lnTo>
                  <a:lnTo>
                    <a:pt x="445" y="158"/>
                  </a:lnTo>
                  <a:lnTo>
                    <a:pt x="445" y="160"/>
                  </a:lnTo>
                  <a:lnTo>
                    <a:pt x="444" y="161"/>
                  </a:lnTo>
                  <a:lnTo>
                    <a:pt x="443" y="162"/>
                  </a:lnTo>
                  <a:lnTo>
                    <a:pt x="441" y="163"/>
                  </a:lnTo>
                  <a:lnTo>
                    <a:pt x="439" y="163"/>
                  </a:lnTo>
                  <a:lnTo>
                    <a:pt x="428" y="161"/>
                  </a:lnTo>
                  <a:lnTo>
                    <a:pt x="418" y="159"/>
                  </a:lnTo>
                  <a:lnTo>
                    <a:pt x="408" y="158"/>
                  </a:lnTo>
                  <a:lnTo>
                    <a:pt x="399" y="159"/>
                  </a:lnTo>
                  <a:lnTo>
                    <a:pt x="394" y="159"/>
                  </a:lnTo>
                  <a:lnTo>
                    <a:pt x="389" y="160"/>
                  </a:lnTo>
                  <a:lnTo>
                    <a:pt x="379" y="162"/>
                  </a:lnTo>
                  <a:lnTo>
                    <a:pt x="370" y="165"/>
                  </a:lnTo>
                  <a:lnTo>
                    <a:pt x="360" y="169"/>
                  </a:lnTo>
                  <a:lnTo>
                    <a:pt x="344" y="177"/>
                  </a:lnTo>
                  <a:lnTo>
                    <a:pt x="336" y="181"/>
                  </a:lnTo>
                  <a:lnTo>
                    <a:pt x="328" y="184"/>
                  </a:lnTo>
                  <a:lnTo>
                    <a:pt x="300" y="193"/>
                  </a:lnTo>
                  <a:lnTo>
                    <a:pt x="275" y="200"/>
                  </a:lnTo>
                  <a:lnTo>
                    <a:pt x="438" y="193"/>
                  </a:lnTo>
                  <a:lnTo>
                    <a:pt x="440" y="193"/>
                  </a:lnTo>
                  <a:lnTo>
                    <a:pt x="441" y="194"/>
                  </a:lnTo>
                  <a:lnTo>
                    <a:pt x="442" y="196"/>
                  </a:lnTo>
                  <a:lnTo>
                    <a:pt x="443" y="197"/>
                  </a:lnTo>
                  <a:lnTo>
                    <a:pt x="443" y="199"/>
                  </a:lnTo>
                  <a:lnTo>
                    <a:pt x="442" y="201"/>
                  </a:lnTo>
                  <a:lnTo>
                    <a:pt x="440" y="202"/>
                  </a:lnTo>
                  <a:lnTo>
                    <a:pt x="438" y="202"/>
                  </a:lnTo>
                  <a:lnTo>
                    <a:pt x="310" y="208"/>
                  </a:lnTo>
                  <a:lnTo>
                    <a:pt x="420" y="212"/>
                  </a:lnTo>
                  <a:lnTo>
                    <a:pt x="422" y="213"/>
                  </a:lnTo>
                  <a:lnTo>
                    <a:pt x="423" y="214"/>
                  </a:lnTo>
                  <a:lnTo>
                    <a:pt x="424" y="216"/>
                  </a:lnTo>
                  <a:lnTo>
                    <a:pt x="424" y="217"/>
                  </a:lnTo>
                  <a:lnTo>
                    <a:pt x="424" y="219"/>
                  </a:lnTo>
                  <a:lnTo>
                    <a:pt x="423" y="221"/>
                  </a:lnTo>
                  <a:lnTo>
                    <a:pt x="421" y="222"/>
                  </a:lnTo>
                  <a:lnTo>
                    <a:pt x="419" y="222"/>
                  </a:lnTo>
                  <a:lnTo>
                    <a:pt x="229" y="214"/>
                  </a:lnTo>
                  <a:lnTo>
                    <a:pt x="378" y="264"/>
                  </a:lnTo>
                  <a:lnTo>
                    <a:pt x="380" y="265"/>
                  </a:lnTo>
                  <a:lnTo>
                    <a:pt x="381" y="267"/>
                  </a:lnTo>
                  <a:lnTo>
                    <a:pt x="382" y="268"/>
                  </a:lnTo>
                  <a:lnTo>
                    <a:pt x="381" y="270"/>
                  </a:lnTo>
                  <a:lnTo>
                    <a:pt x="380" y="272"/>
                  </a:lnTo>
                  <a:lnTo>
                    <a:pt x="379" y="273"/>
                  </a:lnTo>
                  <a:lnTo>
                    <a:pt x="377" y="273"/>
                  </a:lnTo>
                  <a:lnTo>
                    <a:pt x="375" y="273"/>
                  </a:lnTo>
                  <a:lnTo>
                    <a:pt x="232" y="225"/>
                  </a:lnTo>
                  <a:lnTo>
                    <a:pt x="309" y="279"/>
                  </a:lnTo>
                  <a:lnTo>
                    <a:pt x="310" y="281"/>
                  </a:lnTo>
                  <a:lnTo>
                    <a:pt x="311" y="283"/>
                  </a:lnTo>
                  <a:lnTo>
                    <a:pt x="310" y="284"/>
                  </a:lnTo>
                  <a:lnTo>
                    <a:pt x="310" y="286"/>
                  </a:lnTo>
                  <a:lnTo>
                    <a:pt x="308" y="287"/>
                  </a:lnTo>
                  <a:lnTo>
                    <a:pt x="307" y="288"/>
                  </a:lnTo>
                  <a:lnTo>
                    <a:pt x="305" y="288"/>
                  </a:lnTo>
                  <a:lnTo>
                    <a:pt x="303" y="287"/>
                  </a:lnTo>
                  <a:lnTo>
                    <a:pt x="249" y="249"/>
                  </a:lnTo>
                  <a:lnTo>
                    <a:pt x="298" y="295"/>
                  </a:lnTo>
                  <a:lnTo>
                    <a:pt x="300" y="297"/>
                  </a:lnTo>
                  <a:lnTo>
                    <a:pt x="300" y="299"/>
                  </a:lnTo>
                  <a:lnTo>
                    <a:pt x="300" y="301"/>
                  </a:lnTo>
                  <a:lnTo>
                    <a:pt x="299" y="302"/>
                  </a:lnTo>
                  <a:lnTo>
                    <a:pt x="297" y="303"/>
                  </a:lnTo>
                  <a:lnTo>
                    <a:pt x="296" y="304"/>
                  </a:lnTo>
                  <a:lnTo>
                    <a:pt x="294" y="304"/>
                  </a:lnTo>
                  <a:lnTo>
                    <a:pt x="293" y="303"/>
                  </a:lnTo>
                  <a:lnTo>
                    <a:pt x="292" y="302"/>
                  </a:lnTo>
                  <a:lnTo>
                    <a:pt x="200"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1955"/>
            <p:cNvSpPr>
              <a:spLocks noEditPoints="1"/>
            </p:cNvSpPr>
            <p:nvPr userDrawn="1"/>
          </p:nvSpPr>
          <p:spPr bwMode="auto">
            <a:xfrm>
              <a:off x="7497763" y="2867397"/>
              <a:ext cx="1082675" cy="903288"/>
            </a:xfrm>
            <a:custGeom>
              <a:avLst/>
              <a:gdLst>
                <a:gd name="T0" fmla="*/ 478 w 682"/>
                <a:gd name="T1" fmla="*/ 163 h 569"/>
                <a:gd name="T2" fmla="*/ 56 w 682"/>
                <a:gd name="T3" fmla="*/ 508 h 569"/>
                <a:gd name="T4" fmla="*/ 50 w 682"/>
                <a:gd name="T5" fmla="*/ 497 h 569"/>
                <a:gd name="T6" fmla="*/ 101 w 682"/>
                <a:gd name="T7" fmla="*/ 479 h 569"/>
                <a:gd name="T8" fmla="*/ 63 w 682"/>
                <a:gd name="T9" fmla="*/ 526 h 569"/>
                <a:gd name="T10" fmla="*/ 98 w 682"/>
                <a:gd name="T11" fmla="*/ 485 h 569"/>
                <a:gd name="T12" fmla="*/ 343 w 682"/>
                <a:gd name="T13" fmla="*/ 287 h 569"/>
                <a:gd name="T14" fmla="*/ 230 w 682"/>
                <a:gd name="T15" fmla="*/ 365 h 569"/>
                <a:gd name="T16" fmla="*/ 100 w 682"/>
                <a:gd name="T17" fmla="*/ 499 h 569"/>
                <a:gd name="T18" fmla="*/ 59 w 682"/>
                <a:gd name="T19" fmla="*/ 542 h 569"/>
                <a:gd name="T20" fmla="*/ 3 w 682"/>
                <a:gd name="T21" fmla="*/ 568 h 569"/>
                <a:gd name="T22" fmla="*/ 19 w 682"/>
                <a:gd name="T23" fmla="*/ 521 h 569"/>
                <a:gd name="T24" fmla="*/ 60 w 682"/>
                <a:gd name="T25" fmla="*/ 477 h 569"/>
                <a:gd name="T26" fmla="*/ 111 w 682"/>
                <a:gd name="T27" fmla="*/ 458 h 569"/>
                <a:gd name="T28" fmla="*/ 279 w 682"/>
                <a:gd name="T29" fmla="*/ 315 h 569"/>
                <a:gd name="T30" fmla="*/ 384 w 682"/>
                <a:gd name="T31" fmla="*/ 254 h 569"/>
                <a:gd name="T32" fmla="*/ 350 w 682"/>
                <a:gd name="T33" fmla="*/ 52 h 569"/>
                <a:gd name="T34" fmla="*/ 428 w 682"/>
                <a:gd name="T35" fmla="*/ 201 h 569"/>
                <a:gd name="T36" fmla="*/ 394 w 682"/>
                <a:gd name="T37" fmla="*/ 85 h 569"/>
                <a:gd name="T38" fmla="*/ 378 w 682"/>
                <a:gd name="T39" fmla="*/ 42 h 569"/>
                <a:gd name="T40" fmla="*/ 408 w 682"/>
                <a:gd name="T41" fmla="*/ 94 h 569"/>
                <a:gd name="T42" fmla="*/ 418 w 682"/>
                <a:gd name="T43" fmla="*/ 25 h 569"/>
                <a:gd name="T44" fmla="*/ 441 w 682"/>
                <a:gd name="T45" fmla="*/ 205 h 569"/>
                <a:gd name="T46" fmla="*/ 453 w 682"/>
                <a:gd name="T47" fmla="*/ 81 h 569"/>
                <a:gd name="T48" fmla="*/ 443 w 682"/>
                <a:gd name="T49" fmla="*/ 4 h 569"/>
                <a:gd name="T50" fmla="*/ 451 w 682"/>
                <a:gd name="T51" fmla="*/ 2 h 569"/>
                <a:gd name="T52" fmla="*/ 462 w 682"/>
                <a:gd name="T53" fmla="*/ 68 h 569"/>
                <a:gd name="T54" fmla="*/ 480 w 682"/>
                <a:gd name="T55" fmla="*/ 88 h 569"/>
                <a:gd name="T56" fmla="*/ 484 w 682"/>
                <a:gd name="T57" fmla="*/ 70 h 569"/>
                <a:gd name="T58" fmla="*/ 512 w 682"/>
                <a:gd name="T59" fmla="*/ 30 h 569"/>
                <a:gd name="T60" fmla="*/ 493 w 682"/>
                <a:gd name="T61" fmla="*/ 118 h 569"/>
                <a:gd name="T62" fmla="*/ 479 w 682"/>
                <a:gd name="T63" fmla="*/ 189 h 569"/>
                <a:gd name="T64" fmla="*/ 620 w 682"/>
                <a:gd name="T65" fmla="*/ 139 h 569"/>
                <a:gd name="T66" fmla="*/ 456 w 682"/>
                <a:gd name="T67" fmla="*/ 232 h 569"/>
                <a:gd name="T68" fmla="*/ 574 w 682"/>
                <a:gd name="T69" fmla="*/ 214 h 569"/>
                <a:gd name="T70" fmla="*/ 660 w 682"/>
                <a:gd name="T71" fmla="*/ 175 h 569"/>
                <a:gd name="T72" fmla="*/ 667 w 682"/>
                <a:gd name="T73" fmla="*/ 182 h 569"/>
                <a:gd name="T74" fmla="*/ 593 w 682"/>
                <a:gd name="T75" fmla="*/ 218 h 569"/>
                <a:gd name="T76" fmla="*/ 490 w 682"/>
                <a:gd name="T77" fmla="*/ 240 h 569"/>
                <a:gd name="T78" fmla="*/ 568 w 682"/>
                <a:gd name="T79" fmla="*/ 272 h 569"/>
                <a:gd name="T80" fmla="*/ 677 w 682"/>
                <a:gd name="T81" fmla="*/ 278 h 569"/>
                <a:gd name="T82" fmla="*/ 680 w 682"/>
                <a:gd name="T83" fmla="*/ 287 h 569"/>
                <a:gd name="T84" fmla="*/ 571 w 682"/>
                <a:gd name="T85" fmla="*/ 282 h 569"/>
                <a:gd name="T86" fmla="*/ 536 w 682"/>
                <a:gd name="T87" fmla="*/ 280 h 569"/>
                <a:gd name="T88" fmla="*/ 650 w 682"/>
                <a:gd name="T89" fmla="*/ 303 h 569"/>
                <a:gd name="T90" fmla="*/ 677 w 682"/>
                <a:gd name="T91" fmla="*/ 312 h 569"/>
                <a:gd name="T92" fmla="*/ 603 w 682"/>
                <a:gd name="T93" fmla="*/ 307 h 569"/>
                <a:gd name="T94" fmla="*/ 510 w 682"/>
                <a:gd name="T95" fmla="*/ 285 h 569"/>
                <a:gd name="T96" fmla="*/ 600 w 682"/>
                <a:gd name="T97" fmla="*/ 331 h 569"/>
                <a:gd name="T98" fmla="*/ 643 w 682"/>
                <a:gd name="T99" fmla="*/ 380 h 569"/>
                <a:gd name="T100" fmla="*/ 636 w 682"/>
                <a:gd name="T101" fmla="*/ 386 h 569"/>
                <a:gd name="T102" fmla="*/ 604 w 682"/>
                <a:gd name="T103" fmla="*/ 345 h 569"/>
                <a:gd name="T104" fmla="*/ 520 w 682"/>
                <a:gd name="T105" fmla="*/ 302 h 569"/>
                <a:gd name="T106" fmla="*/ 610 w 682"/>
                <a:gd name="T107" fmla="*/ 412 h 569"/>
                <a:gd name="T108" fmla="*/ 586 w 682"/>
                <a:gd name="T109" fmla="*/ 407 h 569"/>
                <a:gd name="T110" fmla="*/ 456 w 682"/>
                <a:gd name="T111" fmla="*/ 263 h 569"/>
                <a:gd name="T112" fmla="*/ 513 w 682"/>
                <a:gd name="T113" fmla="*/ 414 h 569"/>
                <a:gd name="T114" fmla="*/ 458 w 682"/>
                <a:gd name="T115" fmla="*/ 370 h 569"/>
                <a:gd name="T116" fmla="*/ 444 w 682"/>
                <a:gd name="T117" fmla="*/ 301 h 569"/>
                <a:gd name="T118" fmla="*/ 434 w 682"/>
                <a:gd name="T119" fmla="*/ 372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69">
                  <a:moveTo>
                    <a:pt x="452" y="215"/>
                  </a:moveTo>
                  <a:lnTo>
                    <a:pt x="458" y="207"/>
                  </a:lnTo>
                  <a:lnTo>
                    <a:pt x="463" y="199"/>
                  </a:lnTo>
                  <a:lnTo>
                    <a:pt x="468" y="190"/>
                  </a:lnTo>
                  <a:lnTo>
                    <a:pt x="472" y="182"/>
                  </a:lnTo>
                  <a:lnTo>
                    <a:pt x="476" y="172"/>
                  </a:lnTo>
                  <a:lnTo>
                    <a:pt x="478" y="163"/>
                  </a:lnTo>
                  <a:lnTo>
                    <a:pt x="481" y="153"/>
                  </a:lnTo>
                  <a:lnTo>
                    <a:pt x="482" y="143"/>
                  </a:lnTo>
                  <a:lnTo>
                    <a:pt x="483" y="133"/>
                  </a:lnTo>
                  <a:lnTo>
                    <a:pt x="484" y="124"/>
                  </a:lnTo>
                  <a:lnTo>
                    <a:pt x="452" y="215"/>
                  </a:lnTo>
                  <a:close/>
                  <a:moveTo>
                    <a:pt x="15" y="547"/>
                  </a:moveTo>
                  <a:lnTo>
                    <a:pt x="56" y="508"/>
                  </a:lnTo>
                  <a:lnTo>
                    <a:pt x="97" y="470"/>
                  </a:lnTo>
                  <a:lnTo>
                    <a:pt x="89" y="473"/>
                  </a:lnTo>
                  <a:lnTo>
                    <a:pt x="81" y="476"/>
                  </a:lnTo>
                  <a:lnTo>
                    <a:pt x="74" y="480"/>
                  </a:lnTo>
                  <a:lnTo>
                    <a:pt x="65" y="485"/>
                  </a:lnTo>
                  <a:lnTo>
                    <a:pt x="57" y="491"/>
                  </a:lnTo>
                  <a:lnTo>
                    <a:pt x="50" y="497"/>
                  </a:lnTo>
                  <a:lnTo>
                    <a:pt x="43" y="505"/>
                  </a:lnTo>
                  <a:lnTo>
                    <a:pt x="36" y="512"/>
                  </a:lnTo>
                  <a:lnTo>
                    <a:pt x="30" y="520"/>
                  </a:lnTo>
                  <a:lnTo>
                    <a:pt x="24" y="529"/>
                  </a:lnTo>
                  <a:lnTo>
                    <a:pt x="19" y="538"/>
                  </a:lnTo>
                  <a:lnTo>
                    <a:pt x="15" y="547"/>
                  </a:lnTo>
                  <a:close/>
                  <a:moveTo>
                    <a:pt x="101" y="479"/>
                  </a:moveTo>
                  <a:lnTo>
                    <a:pt x="62" y="515"/>
                  </a:lnTo>
                  <a:lnTo>
                    <a:pt x="24" y="552"/>
                  </a:lnTo>
                  <a:lnTo>
                    <a:pt x="36" y="546"/>
                  </a:lnTo>
                  <a:lnTo>
                    <a:pt x="41" y="542"/>
                  </a:lnTo>
                  <a:lnTo>
                    <a:pt x="47" y="539"/>
                  </a:lnTo>
                  <a:lnTo>
                    <a:pt x="58" y="530"/>
                  </a:lnTo>
                  <a:lnTo>
                    <a:pt x="63" y="526"/>
                  </a:lnTo>
                  <a:lnTo>
                    <a:pt x="68" y="522"/>
                  </a:lnTo>
                  <a:lnTo>
                    <a:pt x="78" y="512"/>
                  </a:lnTo>
                  <a:lnTo>
                    <a:pt x="83" y="507"/>
                  </a:lnTo>
                  <a:lnTo>
                    <a:pt x="87" y="501"/>
                  </a:lnTo>
                  <a:lnTo>
                    <a:pt x="91" y="496"/>
                  </a:lnTo>
                  <a:lnTo>
                    <a:pt x="95" y="490"/>
                  </a:lnTo>
                  <a:lnTo>
                    <a:pt x="98" y="485"/>
                  </a:lnTo>
                  <a:lnTo>
                    <a:pt x="101" y="479"/>
                  </a:lnTo>
                  <a:close/>
                  <a:moveTo>
                    <a:pt x="436" y="242"/>
                  </a:moveTo>
                  <a:lnTo>
                    <a:pt x="420" y="249"/>
                  </a:lnTo>
                  <a:lnTo>
                    <a:pt x="404" y="256"/>
                  </a:lnTo>
                  <a:lnTo>
                    <a:pt x="373" y="271"/>
                  </a:lnTo>
                  <a:lnTo>
                    <a:pt x="358" y="279"/>
                  </a:lnTo>
                  <a:lnTo>
                    <a:pt x="343" y="287"/>
                  </a:lnTo>
                  <a:lnTo>
                    <a:pt x="313" y="304"/>
                  </a:lnTo>
                  <a:lnTo>
                    <a:pt x="299" y="314"/>
                  </a:lnTo>
                  <a:lnTo>
                    <a:pt x="285" y="323"/>
                  </a:lnTo>
                  <a:lnTo>
                    <a:pt x="271" y="333"/>
                  </a:lnTo>
                  <a:lnTo>
                    <a:pt x="257" y="343"/>
                  </a:lnTo>
                  <a:lnTo>
                    <a:pt x="243" y="354"/>
                  </a:lnTo>
                  <a:lnTo>
                    <a:pt x="230" y="365"/>
                  </a:lnTo>
                  <a:lnTo>
                    <a:pt x="204" y="387"/>
                  </a:lnTo>
                  <a:lnTo>
                    <a:pt x="161" y="425"/>
                  </a:lnTo>
                  <a:lnTo>
                    <a:pt x="118" y="463"/>
                  </a:lnTo>
                  <a:lnTo>
                    <a:pt x="114" y="473"/>
                  </a:lnTo>
                  <a:lnTo>
                    <a:pt x="110" y="482"/>
                  </a:lnTo>
                  <a:lnTo>
                    <a:pt x="105" y="491"/>
                  </a:lnTo>
                  <a:lnTo>
                    <a:pt x="100" y="499"/>
                  </a:lnTo>
                  <a:lnTo>
                    <a:pt x="94" y="507"/>
                  </a:lnTo>
                  <a:lnTo>
                    <a:pt x="88" y="515"/>
                  </a:lnTo>
                  <a:lnTo>
                    <a:pt x="85" y="519"/>
                  </a:lnTo>
                  <a:lnTo>
                    <a:pt x="81" y="522"/>
                  </a:lnTo>
                  <a:lnTo>
                    <a:pt x="74" y="529"/>
                  </a:lnTo>
                  <a:lnTo>
                    <a:pt x="67" y="536"/>
                  </a:lnTo>
                  <a:lnTo>
                    <a:pt x="59" y="542"/>
                  </a:lnTo>
                  <a:lnTo>
                    <a:pt x="51" y="547"/>
                  </a:lnTo>
                  <a:lnTo>
                    <a:pt x="42" y="553"/>
                  </a:lnTo>
                  <a:lnTo>
                    <a:pt x="33" y="557"/>
                  </a:lnTo>
                  <a:lnTo>
                    <a:pt x="24" y="562"/>
                  </a:lnTo>
                  <a:lnTo>
                    <a:pt x="15" y="566"/>
                  </a:lnTo>
                  <a:lnTo>
                    <a:pt x="5" y="569"/>
                  </a:lnTo>
                  <a:lnTo>
                    <a:pt x="3" y="568"/>
                  </a:lnTo>
                  <a:lnTo>
                    <a:pt x="1" y="567"/>
                  </a:lnTo>
                  <a:lnTo>
                    <a:pt x="0" y="565"/>
                  </a:lnTo>
                  <a:lnTo>
                    <a:pt x="0" y="564"/>
                  </a:lnTo>
                  <a:lnTo>
                    <a:pt x="4" y="551"/>
                  </a:lnTo>
                  <a:lnTo>
                    <a:pt x="9" y="538"/>
                  </a:lnTo>
                  <a:lnTo>
                    <a:pt x="15" y="526"/>
                  </a:lnTo>
                  <a:lnTo>
                    <a:pt x="19" y="521"/>
                  </a:lnTo>
                  <a:lnTo>
                    <a:pt x="23" y="515"/>
                  </a:lnTo>
                  <a:lnTo>
                    <a:pt x="31" y="504"/>
                  </a:lnTo>
                  <a:lnTo>
                    <a:pt x="35" y="499"/>
                  </a:lnTo>
                  <a:lnTo>
                    <a:pt x="40" y="494"/>
                  </a:lnTo>
                  <a:lnTo>
                    <a:pt x="49" y="485"/>
                  </a:lnTo>
                  <a:lnTo>
                    <a:pt x="55" y="481"/>
                  </a:lnTo>
                  <a:lnTo>
                    <a:pt x="60" y="477"/>
                  </a:lnTo>
                  <a:lnTo>
                    <a:pt x="66" y="473"/>
                  </a:lnTo>
                  <a:lnTo>
                    <a:pt x="73" y="470"/>
                  </a:lnTo>
                  <a:lnTo>
                    <a:pt x="78" y="467"/>
                  </a:lnTo>
                  <a:lnTo>
                    <a:pt x="84" y="464"/>
                  </a:lnTo>
                  <a:lnTo>
                    <a:pt x="97" y="460"/>
                  </a:lnTo>
                  <a:lnTo>
                    <a:pt x="103" y="459"/>
                  </a:lnTo>
                  <a:lnTo>
                    <a:pt x="111" y="458"/>
                  </a:lnTo>
                  <a:lnTo>
                    <a:pt x="154" y="418"/>
                  </a:lnTo>
                  <a:lnTo>
                    <a:pt x="197" y="380"/>
                  </a:lnTo>
                  <a:lnTo>
                    <a:pt x="211" y="368"/>
                  </a:lnTo>
                  <a:lnTo>
                    <a:pt x="224" y="357"/>
                  </a:lnTo>
                  <a:lnTo>
                    <a:pt x="251" y="336"/>
                  </a:lnTo>
                  <a:lnTo>
                    <a:pt x="265" y="325"/>
                  </a:lnTo>
                  <a:lnTo>
                    <a:pt x="279" y="315"/>
                  </a:lnTo>
                  <a:lnTo>
                    <a:pt x="294" y="306"/>
                  </a:lnTo>
                  <a:lnTo>
                    <a:pt x="308" y="296"/>
                  </a:lnTo>
                  <a:lnTo>
                    <a:pt x="323" y="287"/>
                  </a:lnTo>
                  <a:lnTo>
                    <a:pt x="338" y="279"/>
                  </a:lnTo>
                  <a:lnTo>
                    <a:pt x="353" y="270"/>
                  </a:lnTo>
                  <a:lnTo>
                    <a:pt x="369" y="262"/>
                  </a:lnTo>
                  <a:lnTo>
                    <a:pt x="384" y="254"/>
                  </a:lnTo>
                  <a:lnTo>
                    <a:pt x="400" y="247"/>
                  </a:lnTo>
                  <a:lnTo>
                    <a:pt x="416" y="240"/>
                  </a:lnTo>
                  <a:lnTo>
                    <a:pt x="432" y="234"/>
                  </a:lnTo>
                  <a:lnTo>
                    <a:pt x="432" y="230"/>
                  </a:lnTo>
                  <a:lnTo>
                    <a:pt x="350" y="56"/>
                  </a:lnTo>
                  <a:lnTo>
                    <a:pt x="349" y="54"/>
                  </a:lnTo>
                  <a:lnTo>
                    <a:pt x="350" y="52"/>
                  </a:lnTo>
                  <a:lnTo>
                    <a:pt x="351" y="50"/>
                  </a:lnTo>
                  <a:lnTo>
                    <a:pt x="352" y="49"/>
                  </a:lnTo>
                  <a:lnTo>
                    <a:pt x="354" y="49"/>
                  </a:lnTo>
                  <a:lnTo>
                    <a:pt x="355" y="49"/>
                  </a:lnTo>
                  <a:lnTo>
                    <a:pt x="357" y="50"/>
                  </a:lnTo>
                  <a:lnTo>
                    <a:pt x="358" y="52"/>
                  </a:lnTo>
                  <a:lnTo>
                    <a:pt x="428" y="201"/>
                  </a:lnTo>
                  <a:lnTo>
                    <a:pt x="425" y="181"/>
                  </a:lnTo>
                  <a:lnTo>
                    <a:pt x="420" y="161"/>
                  </a:lnTo>
                  <a:lnTo>
                    <a:pt x="415" y="142"/>
                  </a:lnTo>
                  <a:lnTo>
                    <a:pt x="409" y="122"/>
                  </a:lnTo>
                  <a:lnTo>
                    <a:pt x="402" y="104"/>
                  </a:lnTo>
                  <a:lnTo>
                    <a:pt x="398" y="94"/>
                  </a:lnTo>
                  <a:lnTo>
                    <a:pt x="394" y="85"/>
                  </a:lnTo>
                  <a:lnTo>
                    <a:pt x="384" y="67"/>
                  </a:lnTo>
                  <a:lnTo>
                    <a:pt x="374" y="49"/>
                  </a:lnTo>
                  <a:lnTo>
                    <a:pt x="374" y="47"/>
                  </a:lnTo>
                  <a:lnTo>
                    <a:pt x="374" y="46"/>
                  </a:lnTo>
                  <a:lnTo>
                    <a:pt x="375" y="44"/>
                  </a:lnTo>
                  <a:lnTo>
                    <a:pt x="376" y="43"/>
                  </a:lnTo>
                  <a:lnTo>
                    <a:pt x="378" y="42"/>
                  </a:lnTo>
                  <a:lnTo>
                    <a:pt x="379" y="42"/>
                  </a:lnTo>
                  <a:lnTo>
                    <a:pt x="381" y="43"/>
                  </a:lnTo>
                  <a:lnTo>
                    <a:pt x="383" y="44"/>
                  </a:lnTo>
                  <a:lnTo>
                    <a:pt x="389" y="56"/>
                  </a:lnTo>
                  <a:lnTo>
                    <a:pt x="396" y="69"/>
                  </a:lnTo>
                  <a:lnTo>
                    <a:pt x="402" y="81"/>
                  </a:lnTo>
                  <a:lnTo>
                    <a:pt x="408" y="94"/>
                  </a:lnTo>
                  <a:lnTo>
                    <a:pt x="413" y="106"/>
                  </a:lnTo>
                  <a:lnTo>
                    <a:pt x="418" y="119"/>
                  </a:lnTo>
                  <a:lnTo>
                    <a:pt x="426" y="145"/>
                  </a:lnTo>
                  <a:lnTo>
                    <a:pt x="415" y="30"/>
                  </a:lnTo>
                  <a:lnTo>
                    <a:pt x="416" y="28"/>
                  </a:lnTo>
                  <a:lnTo>
                    <a:pt x="416" y="26"/>
                  </a:lnTo>
                  <a:lnTo>
                    <a:pt x="418" y="25"/>
                  </a:lnTo>
                  <a:lnTo>
                    <a:pt x="420" y="25"/>
                  </a:lnTo>
                  <a:lnTo>
                    <a:pt x="421" y="25"/>
                  </a:lnTo>
                  <a:lnTo>
                    <a:pt x="423" y="25"/>
                  </a:lnTo>
                  <a:lnTo>
                    <a:pt x="424" y="26"/>
                  </a:lnTo>
                  <a:lnTo>
                    <a:pt x="424" y="27"/>
                  </a:lnTo>
                  <a:lnTo>
                    <a:pt x="425" y="29"/>
                  </a:lnTo>
                  <a:lnTo>
                    <a:pt x="441" y="205"/>
                  </a:lnTo>
                  <a:lnTo>
                    <a:pt x="446" y="180"/>
                  </a:lnTo>
                  <a:lnTo>
                    <a:pt x="450" y="155"/>
                  </a:lnTo>
                  <a:lnTo>
                    <a:pt x="452" y="131"/>
                  </a:lnTo>
                  <a:lnTo>
                    <a:pt x="453" y="118"/>
                  </a:lnTo>
                  <a:lnTo>
                    <a:pt x="453" y="106"/>
                  </a:lnTo>
                  <a:lnTo>
                    <a:pt x="453" y="94"/>
                  </a:lnTo>
                  <a:lnTo>
                    <a:pt x="453" y="81"/>
                  </a:lnTo>
                  <a:lnTo>
                    <a:pt x="452" y="69"/>
                  </a:lnTo>
                  <a:lnTo>
                    <a:pt x="451" y="57"/>
                  </a:lnTo>
                  <a:lnTo>
                    <a:pt x="450" y="44"/>
                  </a:lnTo>
                  <a:lnTo>
                    <a:pt x="448" y="32"/>
                  </a:lnTo>
                  <a:lnTo>
                    <a:pt x="446" y="19"/>
                  </a:lnTo>
                  <a:lnTo>
                    <a:pt x="443" y="7"/>
                  </a:lnTo>
                  <a:lnTo>
                    <a:pt x="443" y="4"/>
                  </a:lnTo>
                  <a:lnTo>
                    <a:pt x="443" y="3"/>
                  </a:lnTo>
                  <a:lnTo>
                    <a:pt x="444" y="2"/>
                  </a:lnTo>
                  <a:lnTo>
                    <a:pt x="445" y="1"/>
                  </a:lnTo>
                  <a:lnTo>
                    <a:pt x="446" y="0"/>
                  </a:lnTo>
                  <a:lnTo>
                    <a:pt x="448" y="0"/>
                  </a:lnTo>
                  <a:lnTo>
                    <a:pt x="450" y="0"/>
                  </a:lnTo>
                  <a:lnTo>
                    <a:pt x="451" y="2"/>
                  </a:lnTo>
                  <a:lnTo>
                    <a:pt x="452" y="2"/>
                  </a:lnTo>
                  <a:lnTo>
                    <a:pt x="452" y="4"/>
                  </a:lnTo>
                  <a:lnTo>
                    <a:pt x="454" y="15"/>
                  </a:lnTo>
                  <a:lnTo>
                    <a:pt x="456" y="26"/>
                  </a:lnTo>
                  <a:lnTo>
                    <a:pt x="460" y="47"/>
                  </a:lnTo>
                  <a:lnTo>
                    <a:pt x="461" y="57"/>
                  </a:lnTo>
                  <a:lnTo>
                    <a:pt x="462" y="68"/>
                  </a:lnTo>
                  <a:lnTo>
                    <a:pt x="463" y="89"/>
                  </a:lnTo>
                  <a:lnTo>
                    <a:pt x="463" y="109"/>
                  </a:lnTo>
                  <a:lnTo>
                    <a:pt x="462" y="130"/>
                  </a:lnTo>
                  <a:lnTo>
                    <a:pt x="460" y="151"/>
                  </a:lnTo>
                  <a:lnTo>
                    <a:pt x="457" y="172"/>
                  </a:lnTo>
                  <a:lnTo>
                    <a:pt x="482" y="100"/>
                  </a:lnTo>
                  <a:lnTo>
                    <a:pt x="480" y="88"/>
                  </a:lnTo>
                  <a:lnTo>
                    <a:pt x="476" y="75"/>
                  </a:lnTo>
                  <a:lnTo>
                    <a:pt x="476" y="73"/>
                  </a:lnTo>
                  <a:lnTo>
                    <a:pt x="476" y="71"/>
                  </a:lnTo>
                  <a:lnTo>
                    <a:pt x="478" y="70"/>
                  </a:lnTo>
                  <a:lnTo>
                    <a:pt x="479" y="69"/>
                  </a:lnTo>
                  <a:lnTo>
                    <a:pt x="483" y="69"/>
                  </a:lnTo>
                  <a:lnTo>
                    <a:pt x="484" y="70"/>
                  </a:lnTo>
                  <a:lnTo>
                    <a:pt x="485" y="72"/>
                  </a:lnTo>
                  <a:lnTo>
                    <a:pt x="488" y="83"/>
                  </a:lnTo>
                  <a:lnTo>
                    <a:pt x="506" y="33"/>
                  </a:lnTo>
                  <a:lnTo>
                    <a:pt x="507" y="31"/>
                  </a:lnTo>
                  <a:lnTo>
                    <a:pt x="509" y="30"/>
                  </a:lnTo>
                  <a:lnTo>
                    <a:pt x="510" y="29"/>
                  </a:lnTo>
                  <a:lnTo>
                    <a:pt x="512" y="30"/>
                  </a:lnTo>
                  <a:lnTo>
                    <a:pt x="514" y="31"/>
                  </a:lnTo>
                  <a:lnTo>
                    <a:pt x="515" y="32"/>
                  </a:lnTo>
                  <a:lnTo>
                    <a:pt x="515" y="34"/>
                  </a:lnTo>
                  <a:lnTo>
                    <a:pt x="515" y="36"/>
                  </a:lnTo>
                  <a:lnTo>
                    <a:pt x="492" y="102"/>
                  </a:lnTo>
                  <a:lnTo>
                    <a:pt x="493" y="113"/>
                  </a:lnTo>
                  <a:lnTo>
                    <a:pt x="493" y="118"/>
                  </a:lnTo>
                  <a:lnTo>
                    <a:pt x="493" y="124"/>
                  </a:lnTo>
                  <a:lnTo>
                    <a:pt x="493" y="135"/>
                  </a:lnTo>
                  <a:lnTo>
                    <a:pt x="492" y="146"/>
                  </a:lnTo>
                  <a:lnTo>
                    <a:pt x="490" y="157"/>
                  </a:lnTo>
                  <a:lnTo>
                    <a:pt x="487" y="168"/>
                  </a:lnTo>
                  <a:lnTo>
                    <a:pt x="483" y="179"/>
                  </a:lnTo>
                  <a:lnTo>
                    <a:pt x="479" y="189"/>
                  </a:lnTo>
                  <a:lnTo>
                    <a:pt x="475" y="197"/>
                  </a:lnTo>
                  <a:lnTo>
                    <a:pt x="471" y="205"/>
                  </a:lnTo>
                  <a:lnTo>
                    <a:pt x="467" y="212"/>
                  </a:lnTo>
                  <a:lnTo>
                    <a:pt x="462" y="218"/>
                  </a:lnTo>
                  <a:lnTo>
                    <a:pt x="616" y="139"/>
                  </a:lnTo>
                  <a:lnTo>
                    <a:pt x="618" y="139"/>
                  </a:lnTo>
                  <a:lnTo>
                    <a:pt x="620" y="139"/>
                  </a:lnTo>
                  <a:lnTo>
                    <a:pt x="622" y="140"/>
                  </a:lnTo>
                  <a:lnTo>
                    <a:pt x="623" y="141"/>
                  </a:lnTo>
                  <a:lnTo>
                    <a:pt x="623" y="143"/>
                  </a:lnTo>
                  <a:lnTo>
                    <a:pt x="623" y="145"/>
                  </a:lnTo>
                  <a:lnTo>
                    <a:pt x="622" y="146"/>
                  </a:lnTo>
                  <a:lnTo>
                    <a:pt x="621" y="148"/>
                  </a:lnTo>
                  <a:lnTo>
                    <a:pt x="456" y="232"/>
                  </a:lnTo>
                  <a:lnTo>
                    <a:pt x="469" y="232"/>
                  </a:lnTo>
                  <a:lnTo>
                    <a:pt x="483" y="231"/>
                  </a:lnTo>
                  <a:lnTo>
                    <a:pt x="496" y="230"/>
                  </a:lnTo>
                  <a:lnTo>
                    <a:pt x="509" y="228"/>
                  </a:lnTo>
                  <a:lnTo>
                    <a:pt x="536" y="224"/>
                  </a:lnTo>
                  <a:lnTo>
                    <a:pt x="562" y="217"/>
                  </a:lnTo>
                  <a:lnTo>
                    <a:pt x="574" y="214"/>
                  </a:lnTo>
                  <a:lnTo>
                    <a:pt x="587" y="210"/>
                  </a:lnTo>
                  <a:lnTo>
                    <a:pt x="600" y="205"/>
                  </a:lnTo>
                  <a:lnTo>
                    <a:pt x="612" y="200"/>
                  </a:lnTo>
                  <a:lnTo>
                    <a:pt x="624" y="194"/>
                  </a:lnTo>
                  <a:lnTo>
                    <a:pt x="637" y="188"/>
                  </a:lnTo>
                  <a:lnTo>
                    <a:pt x="649" y="182"/>
                  </a:lnTo>
                  <a:lnTo>
                    <a:pt x="660" y="175"/>
                  </a:lnTo>
                  <a:lnTo>
                    <a:pt x="662" y="174"/>
                  </a:lnTo>
                  <a:lnTo>
                    <a:pt x="664" y="175"/>
                  </a:lnTo>
                  <a:lnTo>
                    <a:pt x="666" y="175"/>
                  </a:lnTo>
                  <a:lnTo>
                    <a:pt x="667" y="177"/>
                  </a:lnTo>
                  <a:lnTo>
                    <a:pt x="668" y="178"/>
                  </a:lnTo>
                  <a:lnTo>
                    <a:pt x="668" y="180"/>
                  </a:lnTo>
                  <a:lnTo>
                    <a:pt x="667" y="182"/>
                  </a:lnTo>
                  <a:lnTo>
                    <a:pt x="665" y="183"/>
                  </a:lnTo>
                  <a:lnTo>
                    <a:pt x="654" y="190"/>
                  </a:lnTo>
                  <a:lnTo>
                    <a:pt x="642" y="196"/>
                  </a:lnTo>
                  <a:lnTo>
                    <a:pt x="630" y="202"/>
                  </a:lnTo>
                  <a:lnTo>
                    <a:pt x="618" y="208"/>
                  </a:lnTo>
                  <a:lnTo>
                    <a:pt x="605" y="213"/>
                  </a:lnTo>
                  <a:lnTo>
                    <a:pt x="593" y="218"/>
                  </a:lnTo>
                  <a:lnTo>
                    <a:pt x="581" y="222"/>
                  </a:lnTo>
                  <a:lnTo>
                    <a:pt x="568" y="226"/>
                  </a:lnTo>
                  <a:lnTo>
                    <a:pt x="555" y="229"/>
                  </a:lnTo>
                  <a:lnTo>
                    <a:pt x="542" y="232"/>
                  </a:lnTo>
                  <a:lnTo>
                    <a:pt x="529" y="234"/>
                  </a:lnTo>
                  <a:lnTo>
                    <a:pt x="516" y="237"/>
                  </a:lnTo>
                  <a:lnTo>
                    <a:pt x="490" y="240"/>
                  </a:lnTo>
                  <a:lnTo>
                    <a:pt x="463" y="241"/>
                  </a:lnTo>
                  <a:lnTo>
                    <a:pt x="489" y="251"/>
                  </a:lnTo>
                  <a:lnTo>
                    <a:pt x="515" y="259"/>
                  </a:lnTo>
                  <a:lnTo>
                    <a:pt x="528" y="263"/>
                  </a:lnTo>
                  <a:lnTo>
                    <a:pt x="541" y="266"/>
                  </a:lnTo>
                  <a:lnTo>
                    <a:pt x="554" y="269"/>
                  </a:lnTo>
                  <a:lnTo>
                    <a:pt x="568" y="272"/>
                  </a:lnTo>
                  <a:lnTo>
                    <a:pt x="581" y="274"/>
                  </a:lnTo>
                  <a:lnTo>
                    <a:pt x="594" y="276"/>
                  </a:lnTo>
                  <a:lnTo>
                    <a:pt x="608" y="277"/>
                  </a:lnTo>
                  <a:lnTo>
                    <a:pt x="621" y="278"/>
                  </a:lnTo>
                  <a:lnTo>
                    <a:pt x="649" y="279"/>
                  </a:lnTo>
                  <a:lnTo>
                    <a:pt x="663" y="279"/>
                  </a:lnTo>
                  <a:lnTo>
                    <a:pt x="677" y="278"/>
                  </a:lnTo>
                  <a:lnTo>
                    <a:pt x="679" y="279"/>
                  </a:lnTo>
                  <a:lnTo>
                    <a:pt x="681" y="280"/>
                  </a:lnTo>
                  <a:lnTo>
                    <a:pt x="682" y="281"/>
                  </a:lnTo>
                  <a:lnTo>
                    <a:pt x="682" y="283"/>
                  </a:lnTo>
                  <a:lnTo>
                    <a:pt x="682" y="284"/>
                  </a:lnTo>
                  <a:lnTo>
                    <a:pt x="681" y="286"/>
                  </a:lnTo>
                  <a:lnTo>
                    <a:pt x="680" y="287"/>
                  </a:lnTo>
                  <a:lnTo>
                    <a:pt x="678" y="288"/>
                  </a:lnTo>
                  <a:lnTo>
                    <a:pt x="653" y="289"/>
                  </a:lnTo>
                  <a:lnTo>
                    <a:pt x="630" y="288"/>
                  </a:lnTo>
                  <a:lnTo>
                    <a:pt x="618" y="288"/>
                  </a:lnTo>
                  <a:lnTo>
                    <a:pt x="606" y="287"/>
                  </a:lnTo>
                  <a:lnTo>
                    <a:pt x="583" y="284"/>
                  </a:lnTo>
                  <a:lnTo>
                    <a:pt x="571" y="282"/>
                  </a:lnTo>
                  <a:lnTo>
                    <a:pt x="560" y="280"/>
                  </a:lnTo>
                  <a:lnTo>
                    <a:pt x="537" y="275"/>
                  </a:lnTo>
                  <a:lnTo>
                    <a:pt x="515" y="269"/>
                  </a:lnTo>
                  <a:lnTo>
                    <a:pt x="492" y="262"/>
                  </a:lnTo>
                  <a:lnTo>
                    <a:pt x="503" y="267"/>
                  </a:lnTo>
                  <a:lnTo>
                    <a:pt x="514" y="271"/>
                  </a:lnTo>
                  <a:lnTo>
                    <a:pt x="536" y="280"/>
                  </a:lnTo>
                  <a:lnTo>
                    <a:pt x="558" y="287"/>
                  </a:lnTo>
                  <a:lnTo>
                    <a:pt x="580" y="293"/>
                  </a:lnTo>
                  <a:lnTo>
                    <a:pt x="592" y="295"/>
                  </a:lnTo>
                  <a:lnTo>
                    <a:pt x="603" y="298"/>
                  </a:lnTo>
                  <a:lnTo>
                    <a:pt x="615" y="300"/>
                  </a:lnTo>
                  <a:lnTo>
                    <a:pt x="626" y="301"/>
                  </a:lnTo>
                  <a:lnTo>
                    <a:pt x="650" y="303"/>
                  </a:lnTo>
                  <a:lnTo>
                    <a:pt x="673" y="304"/>
                  </a:lnTo>
                  <a:lnTo>
                    <a:pt x="675" y="305"/>
                  </a:lnTo>
                  <a:lnTo>
                    <a:pt x="677" y="306"/>
                  </a:lnTo>
                  <a:lnTo>
                    <a:pt x="678" y="307"/>
                  </a:lnTo>
                  <a:lnTo>
                    <a:pt x="678" y="309"/>
                  </a:lnTo>
                  <a:lnTo>
                    <a:pt x="678" y="311"/>
                  </a:lnTo>
                  <a:lnTo>
                    <a:pt x="677" y="312"/>
                  </a:lnTo>
                  <a:lnTo>
                    <a:pt x="675" y="313"/>
                  </a:lnTo>
                  <a:lnTo>
                    <a:pt x="673" y="314"/>
                  </a:lnTo>
                  <a:lnTo>
                    <a:pt x="661" y="314"/>
                  </a:lnTo>
                  <a:lnTo>
                    <a:pt x="650" y="313"/>
                  </a:lnTo>
                  <a:lnTo>
                    <a:pt x="626" y="311"/>
                  </a:lnTo>
                  <a:lnTo>
                    <a:pt x="615" y="309"/>
                  </a:lnTo>
                  <a:lnTo>
                    <a:pt x="603" y="307"/>
                  </a:lnTo>
                  <a:lnTo>
                    <a:pt x="592" y="305"/>
                  </a:lnTo>
                  <a:lnTo>
                    <a:pt x="580" y="303"/>
                  </a:lnTo>
                  <a:lnTo>
                    <a:pt x="558" y="297"/>
                  </a:lnTo>
                  <a:lnTo>
                    <a:pt x="535" y="290"/>
                  </a:lnTo>
                  <a:lnTo>
                    <a:pt x="514" y="282"/>
                  </a:lnTo>
                  <a:lnTo>
                    <a:pt x="492" y="272"/>
                  </a:lnTo>
                  <a:lnTo>
                    <a:pt x="510" y="285"/>
                  </a:lnTo>
                  <a:lnTo>
                    <a:pt x="529" y="297"/>
                  </a:lnTo>
                  <a:lnTo>
                    <a:pt x="547" y="307"/>
                  </a:lnTo>
                  <a:lnTo>
                    <a:pt x="556" y="312"/>
                  </a:lnTo>
                  <a:lnTo>
                    <a:pt x="565" y="316"/>
                  </a:lnTo>
                  <a:lnTo>
                    <a:pt x="578" y="321"/>
                  </a:lnTo>
                  <a:lnTo>
                    <a:pt x="589" y="325"/>
                  </a:lnTo>
                  <a:lnTo>
                    <a:pt x="600" y="331"/>
                  </a:lnTo>
                  <a:lnTo>
                    <a:pt x="606" y="335"/>
                  </a:lnTo>
                  <a:lnTo>
                    <a:pt x="611" y="339"/>
                  </a:lnTo>
                  <a:lnTo>
                    <a:pt x="621" y="349"/>
                  </a:lnTo>
                  <a:lnTo>
                    <a:pt x="625" y="353"/>
                  </a:lnTo>
                  <a:lnTo>
                    <a:pt x="629" y="358"/>
                  </a:lnTo>
                  <a:lnTo>
                    <a:pt x="636" y="368"/>
                  </a:lnTo>
                  <a:lnTo>
                    <a:pt x="643" y="380"/>
                  </a:lnTo>
                  <a:lnTo>
                    <a:pt x="644" y="382"/>
                  </a:lnTo>
                  <a:lnTo>
                    <a:pt x="643" y="384"/>
                  </a:lnTo>
                  <a:lnTo>
                    <a:pt x="642" y="386"/>
                  </a:lnTo>
                  <a:lnTo>
                    <a:pt x="641" y="387"/>
                  </a:lnTo>
                  <a:lnTo>
                    <a:pt x="639" y="387"/>
                  </a:lnTo>
                  <a:lnTo>
                    <a:pt x="637" y="387"/>
                  </a:lnTo>
                  <a:lnTo>
                    <a:pt x="636" y="386"/>
                  </a:lnTo>
                  <a:lnTo>
                    <a:pt x="635" y="385"/>
                  </a:lnTo>
                  <a:lnTo>
                    <a:pt x="629" y="375"/>
                  </a:lnTo>
                  <a:lnTo>
                    <a:pt x="624" y="367"/>
                  </a:lnTo>
                  <a:lnTo>
                    <a:pt x="618" y="359"/>
                  </a:lnTo>
                  <a:lnTo>
                    <a:pt x="614" y="355"/>
                  </a:lnTo>
                  <a:lnTo>
                    <a:pt x="611" y="352"/>
                  </a:lnTo>
                  <a:lnTo>
                    <a:pt x="604" y="345"/>
                  </a:lnTo>
                  <a:lnTo>
                    <a:pt x="596" y="340"/>
                  </a:lnTo>
                  <a:lnTo>
                    <a:pt x="587" y="335"/>
                  </a:lnTo>
                  <a:lnTo>
                    <a:pt x="577" y="330"/>
                  </a:lnTo>
                  <a:lnTo>
                    <a:pt x="561" y="324"/>
                  </a:lnTo>
                  <a:lnTo>
                    <a:pt x="553" y="320"/>
                  </a:lnTo>
                  <a:lnTo>
                    <a:pt x="545" y="316"/>
                  </a:lnTo>
                  <a:lnTo>
                    <a:pt x="520" y="302"/>
                  </a:lnTo>
                  <a:lnTo>
                    <a:pt x="498" y="288"/>
                  </a:lnTo>
                  <a:lnTo>
                    <a:pt x="612" y="404"/>
                  </a:lnTo>
                  <a:lnTo>
                    <a:pt x="613" y="406"/>
                  </a:lnTo>
                  <a:lnTo>
                    <a:pt x="613" y="407"/>
                  </a:lnTo>
                  <a:lnTo>
                    <a:pt x="613" y="409"/>
                  </a:lnTo>
                  <a:lnTo>
                    <a:pt x="612" y="411"/>
                  </a:lnTo>
                  <a:lnTo>
                    <a:pt x="610" y="412"/>
                  </a:lnTo>
                  <a:lnTo>
                    <a:pt x="609" y="412"/>
                  </a:lnTo>
                  <a:lnTo>
                    <a:pt x="607" y="412"/>
                  </a:lnTo>
                  <a:lnTo>
                    <a:pt x="605" y="411"/>
                  </a:lnTo>
                  <a:lnTo>
                    <a:pt x="515" y="319"/>
                  </a:lnTo>
                  <a:lnTo>
                    <a:pt x="585" y="403"/>
                  </a:lnTo>
                  <a:lnTo>
                    <a:pt x="586" y="405"/>
                  </a:lnTo>
                  <a:lnTo>
                    <a:pt x="586" y="407"/>
                  </a:lnTo>
                  <a:lnTo>
                    <a:pt x="586" y="409"/>
                  </a:lnTo>
                  <a:lnTo>
                    <a:pt x="584" y="410"/>
                  </a:lnTo>
                  <a:lnTo>
                    <a:pt x="583" y="411"/>
                  </a:lnTo>
                  <a:lnTo>
                    <a:pt x="581" y="411"/>
                  </a:lnTo>
                  <a:lnTo>
                    <a:pt x="579" y="411"/>
                  </a:lnTo>
                  <a:lnTo>
                    <a:pt x="578" y="409"/>
                  </a:lnTo>
                  <a:lnTo>
                    <a:pt x="456" y="263"/>
                  </a:lnTo>
                  <a:lnTo>
                    <a:pt x="519" y="407"/>
                  </a:lnTo>
                  <a:lnTo>
                    <a:pt x="519" y="410"/>
                  </a:lnTo>
                  <a:lnTo>
                    <a:pt x="519" y="411"/>
                  </a:lnTo>
                  <a:lnTo>
                    <a:pt x="518" y="413"/>
                  </a:lnTo>
                  <a:lnTo>
                    <a:pt x="516" y="414"/>
                  </a:lnTo>
                  <a:lnTo>
                    <a:pt x="515" y="414"/>
                  </a:lnTo>
                  <a:lnTo>
                    <a:pt x="513" y="414"/>
                  </a:lnTo>
                  <a:lnTo>
                    <a:pt x="511" y="413"/>
                  </a:lnTo>
                  <a:lnTo>
                    <a:pt x="510" y="411"/>
                  </a:lnTo>
                  <a:lnTo>
                    <a:pt x="450" y="272"/>
                  </a:lnTo>
                  <a:lnTo>
                    <a:pt x="461" y="366"/>
                  </a:lnTo>
                  <a:lnTo>
                    <a:pt x="461" y="368"/>
                  </a:lnTo>
                  <a:lnTo>
                    <a:pt x="460" y="369"/>
                  </a:lnTo>
                  <a:lnTo>
                    <a:pt x="458" y="370"/>
                  </a:lnTo>
                  <a:lnTo>
                    <a:pt x="457" y="371"/>
                  </a:lnTo>
                  <a:lnTo>
                    <a:pt x="455" y="371"/>
                  </a:lnTo>
                  <a:lnTo>
                    <a:pt x="454" y="371"/>
                  </a:lnTo>
                  <a:lnTo>
                    <a:pt x="453" y="370"/>
                  </a:lnTo>
                  <a:lnTo>
                    <a:pt x="452" y="369"/>
                  </a:lnTo>
                  <a:lnTo>
                    <a:pt x="451" y="367"/>
                  </a:lnTo>
                  <a:lnTo>
                    <a:pt x="444" y="301"/>
                  </a:lnTo>
                  <a:lnTo>
                    <a:pt x="442" y="369"/>
                  </a:lnTo>
                  <a:lnTo>
                    <a:pt x="442" y="371"/>
                  </a:lnTo>
                  <a:lnTo>
                    <a:pt x="441" y="373"/>
                  </a:lnTo>
                  <a:lnTo>
                    <a:pt x="439" y="373"/>
                  </a:lnTo>
                  <a:lnTo>
                    <a:pt x="437" y="374"/>
                  </a:lnTo>
                  <a:lnTo>
                    <a:pt x="436" y="373"/>
                  </a:lnTo>
                  <a:lnTo>
                    <a:pt x="434" y="372"/>
                  </a:lnTo>
                  <a:lnTo>
                    <a:pt x="433" y="371"/>
                  </a:lnTo>
                  <a:lnTo>
                    <a:pt x="433" y="370"/>
                  </a:lnTo>
                  <a:lnTo>
                    <a:pt x="433" y="369"/>
                  </a:lnTo>
                  <a:lnTo>
                    <a:pt x="43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8" name="Freeform 1956"/>
            <p:cNvSpPr>
              <a:spLocks noEditPoints="1"/>
            </p:cNvSpPr>
            <p:nvPr userDrawn="1"/>
          </p:nvSpPr>
          <p:spPr bwMode="auto">
            <a:xfrm>
              <a:off x="6311900" y="3792538"/>
              <a:ext cx="1062038" cy="923925"/>
            </a:xfrm>
            <a:custGeom>
              <a:avLst/>
              <a:gdLst>
                <a:gd name="T0" fmla="*/ 148 w 669"/>
                <a:gd name="T1" fmla="*/ 232 h 582"/>
                <a:gd name="T2" fmla="*/ 594 w 669"/>
                <a:gd name="T3" fmla="*/ 543 h 582"/>
                <a:gd name="T4" fmla="*/ 587 w 669"/>
                <a:gd name="T5" fmla="*/ 553 h 582"/>
                <a:gd name="T6" fmla="*/ 555 w 669"/>
                <a:gd name="T7" fmla="*/ 508 h 582"/>
                <a:gd name="T8" fmla="*/ 622 w 669"/>
                <a:gd name="T9" fmla="*/ 540 h 582"/>
                <a:gd name="T10" fmla="*/ 568 w 669"/>
                <a:gd name="T11" fmla="*/ 512 h 582"/>
                <a:gd name="T12" fmla="*/ 284 w 669"/>
                <a:gd name="T13" fmla="*/ 308 h 582"/>
                <a:gd name="T14" fmla="*/ 409 w 669"/>
                <a:gd name="T15" fmla="*/ 415 h 582"/>
                <a:gd name="T16" fmla="*/ 556 w 669"/>
                <a:gd name="T17" fmla="*/ 499 h 582"/>
                <a:gd name="T18" fmla="*/ 619 w 669"/>
                <a:gd name="T19" fmla="*/ 526 h 582"/>
                <a:gd name="T20" fmla="*/ 669 w 669"/>
                <a:gd name="T21" fmla="*/ 576 h 582"/>
                <a:gd name="T22" fmla="*/ 645 w 669"/>
                <a:gd name="T23" fmla="*/ 581 h 582"/>
                <a:gd name="T24" fmla="*/ 587 w 669"/>
                <a:gd name="T25" fmla="*/ 564 h 582"/>
                <a:gd name="T26" fmla="*/ 539 w 669"/>
                <a:gd name="T27" fmla="*/ 518 h 582"/>
                <a:gd name="T28" fmla="*/ 403 w 669"/>
                <a:gd name="T29" fmla="*/ 422 h 582"/>
                <a:gd name="T30" fmla="*/ 277 w 669"/>
                <a:gd name="T31" fmla="*/ 314 h 582"/>
                <a:gd name="T32" fmla="*/ 78 w 669"/>
                <a:gd name="T33" fmla="*/ 386 h 582"/>
                <a:gd name="T34" fmla="*/ 74 w 669"/>
                <a:gd name="T35" fmla="*/ 378 h 582"/>
                <a:gd name="T36" fmla="*/ 112 w 669"/>
                <a:gd name="T37" fmla="*/ 322 h 582"/>
                <a:gd name="T38" fmla="*/ 60 w 669"/>
                <a:gd name="T39" fmla="*/ 364 h 582"/>
                <a:gd name="T40" fmla="*/ 90 w 669"/>
                <a:gd name="T41" fmla="*/ 328 h 582"/>
                <a:gd name="T42" fmla="*/ 36 w 669"/>
                <a:gd name="T43" fmla="*/ 330 h 582"/>
                <a:gd name="T44" fmla="*/ 32 w 669"/>
                <a:gd name="T45" fmla="*/ 322 h 582"/>
                <a:gd name="T46" fmla="*/ 124 w 669"/>
                <a:gd name="T47" fmla="*/ 266 h 582"/>
                <a:gd name="T48" fmla="*/ 41 w 669"/>
                <a:gd name="T49" fmla="*/ 292 h 582"/>
                <a:gd name="T50" fmla="*/ 1 w 669"/>
                <a:gd name="T51" fmla="*/ 307 h 582"/>
                <a:gd name="T52" fmla="*/ 51 w 669"/>
                <a:gd name="T53" fmla="*/ 278 h 582"/>
                <a:gd name="T54" fmla="*/ 86 w 669"/>
                <a:gd name="T55" fmla="*/ 246 h 582"/>
                <a:gd name="T56" fmla="*/ 57 w 669"/>
                <a:gd name="T57" fmla="*/ 257 h 582"/>
                <a:gd name="T58" fmla="*/ 13 w 669"/>
                <a:gd name="T59" fmla="*/ 241 h 582"/>
                <a:gd name="T60" fmla="*/ 15 w 669"/>
                <a:gd name="T61" fmla="*/ 232 h 582"/>
                <a:gd name="T62" fmla="*/ 150 w 669"/>
                <a:gd name="T63" fmla="*/ 222 h 582"/>
                <a:gd name="T64" fmla="*/ 87 w 669"/>
                <a:gd name="T65" fmla="*/ 106 h 582"/>
                <a:gd name="T66" fmla="*/ 92 w 669"/>
                <a:gd name="T67" fmla="*/ 98 h 582"/>
                <a:gd name="T68" fmla="*/ 196 w 669"/>
                <a:gd name="T69" fmla="*/ 172 h 582"/>
                <a:gd name="T70" fmla="*/ 146 w 669"/>
                <a:gd name="T71" fmla="*/ 93 h 582"/>
                <a:gd name="T72" fmla="*/ 108 w 669"/>
                <a:gd name="T73" fmla="*/ 48 h 582"/>
                <a:gd name="T74" fmla="*/ 135 w 669"/>
                <a:gd name="T75" fmla="*/ 66 h 582"/>
                <a:gd name="T76" fmla="*/ 190 w 669"/>
                <a:gd name="T77" fmla="*/ 140 h 582"/>
                <a:gd name="T78" fmla="*/ 229 w 669"/>
                <a:gd name="T79" fmla="*/ 197 h 582"/>
                <a:gd name="T80" fmla="*/ 224 w 669"/>
                <a:gd name="T81" fmla="*/ 89 h 582"/>
                <a:gd name="T82" fmla="*/ 204 w 669"/>
                <a:gd name="T83" fmla="*/ 5 h 582"/>
                <a:gd name="T84" fmla="*/ 220 w 669"/>
                <a:gd name="T85" fmla="*/ 29 h 582"/>
                <a:gd name="T86" fmla="*/ 239 w 669"/>
                <a:gd name="T87" fmla="*/ 145 h 582"/>
                <a:gd name="T88" fmla="*/ 244 w 669"/>
                <a:gd name="T89" fmla="*/ 98 h 582"/>
                <a:gd name="T90" fmla="*/ 230 w 669"/>
                <a:gd name="T91" fmla="*/ 2 h 582"/>
                <a:gd name="T92" fmla="*/ 242 w 669"/>
                <a:gd name="T93" fmla="*/ 14 h 582"/>
                <a:gd name="T94" fmla="*/ 254 w 669"/>
                <a:gd name="T95" fmla="*/ 107 h 582"/>
                <a:gd name="T96" fmla="*/ 260 w 669"/>
                <a:gd name="T97" fmla="*/ 152 h 582"/>
                <a:gd name="T98" fmla="*/ 273 w 669"/>
                <a:gd name="T99" fmla="*/ 79 h 582"/>
                <a:gd name="T100" fmla="*/ 311 w 669"/>
                <a:gd name="T101" fmla="*/ 14 h 582"/>
                <a:gd name="T102" fmla="*/ 319 w 669"/>
                <a:gd name="T103" fmla="*/ 19 h 582"/>
                <a:gd name="T104" fmla="*/ 285 w 669"/>
                <a:gd name="T105" fmla="*/ 71 h 582"/>
                <a:gd name="T106" fmla="*/ 272 w 669"/>
                <a:gd name="T107" fmla="*/ 147 h 582"/>
                <a:gd name="T108" fmla="*/ 347 w 669"/>
                <a:gd name="T109" fmla="*/ 35 h 582"/>
                <a:gd name="T110" fmla="*/ 349 w 669"/>
                <a:gd name="T111" fmla="*/ 63 h 582"/>
                <a:gd name="T112" fmla="*/ 358 w 669"/>
                <a:gd name="T113" fmla="*/ 67 h 582"/>
                <a:gd name="T114" fmla="*/ 378 w 669"/>
                <a:gd name="T115" fmla="*/ 126 h 582"/>
                <a:gd name="T116" fmla="*/ 349 w 669"/>
                <a:gd name="T117" fmla="*/ 192 h 582"/>
                <a:gd name="T118" fmla="*/ 351 w 669"/>
                <a:gd name="T119" fmla="*/ 202 h 582"/>
                <a:gd name="T120" fmla="*/ 362 w 669"/>
                <a:gd name="T121" fmla="*/ 21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9" h="582">
                  <a:moveTo>
                    <a:pt x="205" y="243"/>
                  </a:moveTo>
                  <a:lnTo>
                    <a:pt x="196" y="239"/>
                  </a:lnTo>
                  <a:lnTo>
                    <a:pt x="186" y="236"/>
                  </a:lnTo>
                  <a:lnTo>
                    <a:pt x="177" y="234"/>
                  </a:lnTo>
                  <a:lnTo>
                    <a:pt x="167" y="233"/>
                  </a:lnTo>
                  <a:lnTo>
                    <a:pt x="157" y="232"/>
                  </a:lnTo>
                  <a:lnTo>
                    <a:pt x="148" y="232"/>
                  </a:lnTo>
                  <a:lnTo>
                    <a:pt x="137" y="233"/>
                  </a:lnTo>
                  <a:lnTo>
                    <a:pt x="127" y="234"/>
                  </a:lnTo>
                  <a:lnTo>
                    <a:pt x="117" y="235"/>
                  </a:lnTo>
                  <a:lnTo>
                    <a:pt x="109" y="237"/>
                  </a:lnTo>
                  <a:lnTo>
                    <a:pt x="205" y="243"/>
                  </a:lnTo>
                  <a:close/>
                  <a:moveTo>
                    <a:pt x="644" y="572"/>
                  </a:moveTo>
                  <a:lnTo>
                    <a:pt x="594" y="543"/>
                  </a:lnTo>
                  <a:lnTo>
                    <a:pt x="548" y="515"/>
                  </a:lnTo>
                  <a:lnTo>
                    <a:pt x="553" y="522"/>
                  </a:lnTo>
                  <a:lnTo>
                    <a:pt x="558" y="528"/>
                  </a:lnTo>
                  <a:lnTo>
                    <a:pt x="564" y="535"/>
                  </a:lnTo>
                  <a:lnTo>
                    <a:pt x="571" y="541"/>
                  </a:lnTo>
                  <a:lnTo>
                    <a:pt x="579" y="547"/>
                  </a:lnTo>
                  <a:lnTo>
                    <a:pt x="587" y="553"/>
                  </a:lnTo>
                  <a:lnTo>
                    <a:pt x="596" y="557"/>
                  </a:lnTo>
                  <a:lnTo>
                    <a:pt x="605" y="562"/>
                  </a:lnTo>
                  <a:lnTo>
                    <a:pt x="615" y="565"/>
                  </a:lnTo>
                  <a:lnTo>
                    <a:pt x="625" y="568"/>
                  </a:lnTo>
                  <a:lnTo>
                    <a:pt x="634" y="571"/>
                  </a:lnTo>
                  <a:lnTo>
                    <a:pt x="644" y="572"/>
                  </a:lnTo>
                  <a:close/>
                  <a:moveTo>
                    <a:pt x="555" y="508"/>
                  </a:moveTo>
                  <a:lnTo>
                    <a:pt x="599" y="535"/>
                  </a:lnTo>
                  <a:lnTo>
                    <a:pt x="647" y="563"/>
                  </a:lnTo>
                  <a:lnTo>
                    <a:pt x="642" y="558"/>
                  </a:lnTo>
                  <a:lnTo>
                    <a:pt x="638" y="553"/>
                  </a:lnTo>
                  <a:lnTo>
                    <a:pt x="633" y="549"/>
                  </a:lnTo>
                  <a:lnTo>
                    <a:pt x="628" y="544"/>
                  </a:lnTo>
                  <a:lnTo>
                    <a:pt x="622" y="540"/>
                  </a:lnTo>
                  <a:lnTo>
                    <a:pt x="617" y="536"/>
                  </a:lnTo>
                  <a:lnTo>
                    <a:pt x="611" y="532"/>
                  </a:lnTo>
                  <a:lnTo>
                    <a:pt x="605" y="528"/>
                  </a:lnTo>
                  <a:lnTo>
                    <a:pt x="593" y="522"/>
                  </a:lnTo>
                  <a:lnTo>
                    <a:pt x="587" y="519"/>
                  </a:lnTo>
                  <a:lnTo>
                    <a:pt x="581" y="516"/>
                  </a:lnTo>
                  <a:lnTo>
                    <a:pt x="568" y="512"/>
                  </a:lnTo>
                  <a:lnTo>
                    <a:pt x="561" y="510"/>
                  </a:lnTo>
                  <a:lnTo>
                    <a:pt x="555" y="508"/>
                  </a:lnTo>
                  <a:close/>
                  <a:moveTo>
                    <a:pt x="236" y="251"/>
                  </a:moveTo>
                  <a:lnTo>
                    <a:pt x="251" y="271"/>
                  </a:lnTo>
                  <a:lnTo>
                    <a:pt x="259" y="281"/>
                  </a:lnTo>
                  <a:lnTo>
                    <a:pt x="268" y="290"/>
                  </a:lnTo>
                  <a:lnTo>
                    <a:pt x="284" y="308"/>
                  </a:lnTo>
                  <a:lnTo>
                    <a:pt x="301" y="325"/>
                  </a:lnTo>
                  <a:lnTo>
                    <a:pt x="319" y="342"/>
                  </a:lnTo>
                  <a:lnTo>
                    <a:pt x="337" y="358"/>
                  </a:lnTo>
                  <a:lnTo>
                    <a:pt x="356" y="374"/>
                  </a:lnTo>
                  <a:lnTo>
                    <a:pt x="376" y="390"/>
                  </a:lnTo>
                  <a:lnTo>
                    <a:pt x="393" y="403"/>
                  </a:lnTo>
                  <a:lnTo>
                    <a:pt x="409" y="415"/>
                  </a:lnTo>
                  <a:lnTo>
                    <a:pt x="424" y="425"/>
                  </a:lnTo>
                  <a:lnTo>
                    <a:pt x="439" y="434"/>
                  </a:lnTo>
                  <a:lnTo>
                    <a:pt x="469" y="453"/>
                  </a:lnTo>
                  <a:lnTo>
                    <a:pt x="503" y="476"/>
                  </a:lnTo>
                  <a:lnTo>
                    <a:pt x="536" y="496"/>
                  </a:lnTo>
                  <a:lnTo>
                    <a:pt x="546" y="497"/>
                  </a:lnTo>
                  <a:lnTo>
                    <a:pt x="556" y="499"/>
                  </a:lnTo>
                  <a:lnTo>
                    <a:pt x="566" y="501"/>
                  </a:lnTo>
                  <a:lnTo>
                    <a:pt x="575" y="504"/>
                  </a:lnTo>
                  <a:lnTo>
                    <a:pt x="584" y="508"/>
                  </a:lnTo>
                  <a:lnTo>
                    <a:pt x="594" y="511"/>
                  </a:lnTo>
                  <a:lnTo>
                    <a:pt x="603" y="516"/>
                  </a:lnTo>
                  <a:lnTo>
                    <a:pt x="611" y="521"/>
                  </a:lnTo>
                  <a:lnTo>
                    <a:pt x="619" y="526"/>
                  </a:lnTo>
                  <a:lnTo>
                    <a:pt x="627" y="532"/>
                  </a:lnTo>
                  <a:lnTo>
                    <a:pt x="635" y="538"/>
                  </a:lnTo>
                  <a:lnTo>
                    <a:pt x="642" y="545"/>
                  </a:lnTo>
                  <a:lnTo>
                    <a:pt x="649" y="552"/>
                  </a:lnTo>
                  <a:lnTo>
                    <a:pt x="657" y="560"/>
                  </a:lnTo>
                  <a:lnTo>
                    <a:pt x="663" y="568"/>
                  </a:lnTo>
                  <a:lnTo>
                    <a:pt x="669" y="576"/>
                  </a:lnTo>
                  <a:lnTo>
                    <a:pt x="669" y="578"/>
                  </a:lnTo>
                  <a:lnTo>
                    <a:pt x="668" y="580"/>
                  </a:lnTo>
                  <a:lnTo>
                    <a:pt x="667" y="582"/>
                  </a:lnTo>
                  <a:lnTo>
                    <a:pt x="666" y="582"/>
                  </a:lnTo>
                  <a:lnTo>
                    <a:pt x="659" y="582"/>
                  </a:lnTo>
                  <a:lnTo>
                    <a:pt x="651" y="582"/>
                  </a:lnTo>
                  <a:lnTo>
                    <a:pt x="645" y="581"/>
                  </a:lnTo>
                  <a:lnTo>
                    <a:pt x="638" y="580"/>
                  </a:lnTo>
                  <a:lnTo>
                    <a:pt x="625" y="578"/>
                  </a:lnTo>
                  <a:lnTo>
                    <a:pt x="618" y="576"/>
                  </a:lnTo>
                  <a:lnTo>
                    <a:pt x="612" y="574"/>
                  </a:lnTo>
                  <a:lnTo>
                    <a:pt x="599" y="569"/>
                  </a:lnTo>
                  <a:lnTo>
                    <a:pt x="593" y="567"/>
                  </a:lnTo>
                  <a:lnTo>
                    <a:pt x="587" y="564"/>
                  </a:lnTo>
                  <a:lnTo>
                    <a:pt x="576" y="557"/>
                  </a:lnTo>
                  <a:lnTo>
                    <a:pt x="570" y="553"/>
                  </a:lnTo>
                  <a:lnTo>
                    <a:pt x="565" y="548"/>
                  </a:lnTo>
                  <a:lnTo>
                    <a:pt x="554" y="539"/>
                  </a:lnTo>
                  <a:lnTo>
                    <a:pt x="550" y="534"/>
                  </a:lnTo>
                  <a:lnTo>
                    <a:pt x="546" y="529"/>
                  </a:lnTo>
                  <a:lnTo>
                    <a:pt x="539" y="518"/>
                  </a:lnTo>
                  <a:lnTo>
                    <a:pt x="535" y="512"/>
                  </a:lnTo>
                  <a:lnTo>
                    <a:pt x="532" y="505"/>
                  </a:lnTo>
                  <a:lnTo>
                    <a:pt x="498" y="484"/>
                  </a:lnTo>
                  <a:lnTo>
                    <a:pt x="464" y="461"/>
                  </a:lnTo>
                  <a:lnTo>
                    <a:pt x="433" y="442"/>
                  </a:lnTo>
                  <a:lnTo>
                    <a:pt x="418" y="433"/>
                  </a:lnTo>
                  <a:lnTo>
                    <a:pt x="403" y="422"/>
                  </a:lnTo>
                  <a:lnTo>
                    <a:pt x="388" y="411"/>
                  </a:lnTo>
                  <a:lnTo>
                    <a:pt x="371" y="398"/>
                  </a:lnTo>
                  <a:lnTo>
                    <a:pt x="350" y="382"/>
                  </a:lnTo>
                  <a:lnTo>
                    <a:pt x="331" y="365"/>
                  </a:lnTo>
                  <a:lnTo>
                    <a:pt x="312" y="349"/>
                  </a:lnTo>
                  <a:lnTo>
                    <a:pt x="294" y="332"/>
                  </a:lnTo>
                  <a:lnTo>
                    <a:pt x="277" y="314"/>
                  </a:lnTo>
                  <a:lnTo>
                    <a:pt x="261" y="296"/>
                  </a:lnTo>
                  <a:lnTo>
                    <a:pt x="244" y="277"/>
                  </a:lnTo>
                  <a:lnTo>
                    <a:pt x="236" y="267"/>
                  </a:lnTo>
                  <a:lnTo>
                    <a:pt x="228" y="257"/>
                  </a:lnTo>
                  <a:lnTo>
                    <a:pt x="225" y="258"/>
                  </a:lnTo>
                  <a:lnTo>
                    <a:pt x="80" y="385"/>
                  </a:lnTo>
                  <a:lnTo>
                    <a:pt x="78" y="386"/>
                  </a:lnTo>
                  <a:lnTo>
                    <a:pt x="76" y="386"/>
                  </a:lnTo>
                  <a:lnTo>
                    <a:pt x="75" y="386"/>
                  </a:lnTo>
                  <a:lnTo>
                    <a:pt x="73" y="385"/>
                  </a:lnTo>
                  <a:lnTo>
                    <a:pt x="72" y="383"/>
                  </a:lnTo>
                  <a:lnTo>
                    <a:pt x="72" y="382"/>
                  </a:lnTo>
                  <a:lnTo>
                    <a:pt x="72" y="380"/>
                  </a:lnTo>
                  <a:lnTo>
                    <a:pt x="74" y="378"/>
                  </a:lnTo>
                  <a:lnTo>
                    <a:pt x="198" y="270"/>
                  </a:lnTo>
                  <a:lnTo>
                    <a:pt x="180" y="279"/>
                  </a:lnTo>
                  <a:lnTo>
                    <a:pt x="171" y="283"/>
                  </a:lnTo>
                  <a:lnTo>
                    <a:pt x="162" y="288"/>
                  </a:lnTo>
                  <a:lnTo>
                    <a:pt x="145" y="299"/>
                  </a:lnTo>
                  <a:lnTo>
                    <a:pt x="128" y="310"/>
                  </a:lnTo>
                  <a:lnTo>
                    <a:pt x="112" y="322"/>
                  </a:lnTo>
                  <a:lnTo>
                    <a:pt x="96" y="335"/>
                  </a:lnTo>
                  <a:lnTo>
                    <a:pt x="81" y="349"/>
                  </a:lnTo>
                  <a:lnTo>
                    <a:pt x="67" y="363"/>
                  </a:lnTo>
                  <a:lnTo>
                    <a:pt x="65" y="364"/>
                  </a:lnTo>
                  <a:lnTo>
                    <a:pt x="64" y="365"/>
                  </a:lnTo>
                  <a:lnTo>
                    <a:pt x="62" y="364"/>
                  </a:lnTo>
                  <a:lnTo>
                    <a:pt x="60" y="364"/>
                  </a:lnTo>
                  <a:lnTo>
                    <a:pt x="59" y="362"/>
                  </a:lnTo>
                  <a:lnTo>
                    <a:pt x="59" y="360"/>
                  </a:lnTo>
                  <a:lnTo>
                    <a:pt x="59" y="359"/>
                  </a:lnTo>
                  <a:lnTo>
                    <a:pt x="60" y="357"/>
                  </a:lnTo>
                  <a:lnTo>
                    <a:pt x="70" y="347"/>
                  </a:lnTo>
                  <a:lnTo>
                    <a:pt x="80" y="337"/>
                  </a:lnTo>
                  <a:lnTo>
                    <a:pt x="90" y="328"/>
                  </a:lnTo>
                  <a:lnTo>
                    <a:pt x="100" y="319"/>
                  </a:lnTo>
                  <a:lnTo>
                    <a:pt x="111" y="310"/>
                  </a:lnTo>
                  <a:lnTo>
                    <a:pt x="122" y="302"/>
                  </a:lnTo>
                  <a:lnTo>
                    <a:pt x="134" y="295"/>
                  </a:lnTo>
                  <a:lnTo>
                    <a:pt x="145" y="287"/>
                  </a:lnTo>
                  <a:lnTo>
                    <a:pt x="37" y="329"/>
                  </a:lnTo>
                  <a:lnTo>
                    <a:pt x="36" y="330"/>
                  </a:lnTo>
                  <a:lnTo>
                    <a:pt x="35" y="330"/>
                  </a:lnTo>
                  <a:lnTo>
                    <a:pt x="33" y="329"/>
                  </a:lnTo>
                  <a:lnTo>
                    <a:pt x="32" y="328"/>
                  </a:lnTo>
                  <a:lnTo>
                    <a:pt x="31" y="327"/>
                  </a:lnTo>
                  <a:lnTo>
                    <a:pt x="30" y="325"/>
                  </a:lnTo>
                  <a:lnTo>
                    <a:pt x="31" y="323"/>
                  </a:lnTo>
                  <a:lnTo>
                    <a:pt x="32" y="322"/>
                  </a:lnTo>
                  <a:lnTo>
                    <a:pt x="33" y="320"/>
                  </a:lnTo>
                  <a:lnTo>
                    <a:pt x="198" y="256"/>
                  </a:lnTo>
                  <a:lnTo>
                    <a:pt x="173" y="258"/>
                  </a:lnTo>
                  <a:lnTo>
                    <a:pt x="161" y="260"/>
                  </a:lnTo>
                  <a:lnTo>
                    <a:pt x="148" y="261"/>
                  </a:lnTo>
                  <a:lnTo>
                    <a:pt x="136" y="264"/>
                  </a:lnTo>
                  <a:lnTo>
                    <a:pt x="124" y="266"/>
                  </a:lnTo>
                  <a:lnTo>
                    <a:pt x="112" y="269"/>
                  </a:lnTo>
                  <a:lnTo>
                    <a:pt x="100" y="272"/>
                  </a:lnTo>
                  <a:lnTo>
                    <a:pt x="88" y="275"/>
                  </a:lnTo>
                  <a:lnTo>
                    <a:pt x="76" y="279"/>
                  </a:lnTo>
                  <a:lnTo>
                    <a:pt x="64" y="283"/>
                  </a:lnTo>
                  <a:lnTo>
                    <a:pt x="53" y="287"/>
                  </a:lnTo>
                  <a:lnTo>
                    <a:pt x="41" y="292"/>
                  </a:lnTo>
                  <a:lnTo>
                    <a:pt x="30" y="297"/>
                  </a:lnTo>
                  <a:lnTo>
                    <a:pt x="18" y="303"/>
                  </a:lnTo>
                  <a:lnTo>
                    <a:pt x="7" y="309"/>
                  </a:lnTo>
                  <a:lnTo>
                    <a:pt x="5" y="310"/>
                  </a:lnTo>
                  <a:lnTo>
                    <a:pt x="3" y="310"/>
                  </a:lnTo>
                  <a:lnTo>
                    <a:pt x="2" y="309"/>
                  </a:lnTo>
                  <a:lnTo>
                    <a:pt x="1" y="307"/>
                  </a:lnTo>
                  <a:lnTo>
                    <a:pt x="0" y="306"/>
                  </a:lnTo>
                  <a:lnTo>
                    <a:pt x="0" y="304"/>
                  </a:lnTo>
                  <a:lnTo>
                    <a:pt x="1" y="302"/>
                  </a:lnTo>
                  <a:lnTo>
                    <a:pt x="3" y="301"/>
                  </a:lnTo>
                  <a:lnTo>
                    <a:pt x="22" y="291"/>
                  </a:lnTo>
                  <a:lnTo>
                    <a:pt x="41" y="282"/>
                  </a:lnTo>
                  <a:lnTo>
                    <a:pt x="51" y="278"/>
                  </a:lnTo>
                  <a:lnTo>
                    <a:pt x="61" y="274"/>
                  </a:lnTo>
                  <a:lnTo>
                    <a:pt x="80" y="267"/>
                  </a:lnTo>
                  <a:lnTo>
                    <a:pt x="100" y="262"/>
                  </a:lnTo>
                  <a:lnTo>
                    <a:pt x="121" y="257"/>
                  </a:lnTo>
                  <a:lnTo>
                    <a:pt x="141" y="253"/>
                  </a:lnTo>
                  <a:lnTo>
                    <a:pt x="162" y="250"/>
                  </a:lnTo>
                  <a:lnTo>
                    <a:pt x="86" y="246"/>
                  </a:lnTo>
                  <a:lnTo>
                    <a:pt x="81" y="248"/>
                  </a:lnTo>
                  <a:lnTo>
                    <a:pt x="75" y="251"/>
                  </a:lnTo>
                  <a:lnTo>
                    <a:pt x="64" y="258"/>
                  </a:lnTo>
                  <a:lnTo>
                    <a:pt x="62" y="259"/>
                  </a:lnTo>
                  <a:lnTo>
                    <a:pt x="60" y="259"/>
                  </a:lnTo>
                  <a:lnTo>
                    <a:pt x="59" y="258"/>
                  </a:lnTo>
                  <a:lnTo>
                    <a:pt x="57" y="257"/>
                  </a:lnTo>
                  <a:lnTo>
                    <a:pt x="57" y="256"/>
                  </a:lnTo>
                  <a:lnTo>
                    <a:pt x="56" y="254"/>
                  </a:lnTo>
                  <a:lnTo>
                    <a:pt x="57" y="252"/>
                  </a:lnTo>
                  <a:lnTo>
                    <a:pt x="59" y="251"/>
                  </a:lnTo>
                  <a:lnTo>
                    <a:pt x="68" y="245"/>
                  </a:lnTo>
                  <a:lnTo>
                    <a:pt x="15" y="241"/>
                  </a:lnTo>
                  <a:lnTo>
                    <a:pt x="13" y="241"/>
                  </a:lnTo>
                  <a:lnTo>
                    <a:pt x="11" y="240"/>
                  </a:lnTo>
                  <a:lnTo>
                    <a:pt x="10" y="238"/>
                  </a:lnTo>
                  <a:lnTo>
                    <a:pt x="10" y="236"/>
                  </a:lnTo>
                  <a:lnTo>
                    <a:pt x="11" y="235"/>
                  </a:lnTo>
                  <a:lnTo>
                    <a:pt x="12" y="233"/>
                  </a:lnTo>
                  <a:lnTo>
                    <a:pt x="13" y="232"/>
                  </a:lnTo>
                  <a:lnTo>
                    <a:pt x="15" y="232"/>
                  </a:lnTo>
                  <a:lnTo>
                    <a:pt x="85" y="236"/>
                  </a:lnTo>
                  <a:lnTo>
                    <a:pt x="95" y="232"/>
                  </a:lnTo>
                  <a:lnTo>
                    <a:pt x="106" y="228"/>
                  </a:lnTo>
                  <a:lnTo>
                    <a:pt x="117" y="226"/>
                  </a:lnTo>
                  <a:lnTo>
                    <a:pt x="128" y="224"/>
                  </a:lnTo>
                  <a:lnTo>
                    <a:pt x="139" y="223"/>
                  </a:lnTo>
                  <a:lnTo>
                    <a:pt x="150" y="222"/>
                  </a:lnTo>
                  <a:lnTo>
                    <a:pt x="161" y="223"/>
                  </a:lnTo>
                  <a:lnTo>
                    <a:pt x="172" y="224"/>
                  </a:lnTo>
                  <a:lnTo>
                    <a:pt x="182" y="226"/>
                  </a:lnTo>
                  <a:lnTo>
                    <a:pt x="190" y="228"/>
                  </a:lnTo>
                  <a:lnTo>
                    <a:pt x="198" y="230"/>
                  </a:lnTo>
                  <a:lnTo>
                    <a:pt x="205" y="232"/>
                  </a:lnTo>
                  <a:lnTo>
                    <a:pt x="87" y="106"/>
                  </a:lnTo>
                  <a:lnTo>
                    <a:pt x="86" y="104"/>
                  </a:lnTo>
                  <a:lnTo>
                    <a:pt x="85" y="102"/>
                  </a:lnTo>
                  <a:lnTo>
                    <a:pt x="86" y="101"/>
                  </a:lnTo>
                  <a:lnTo>
                    <a:pt x="87" y="99"/>
                  </a:lnTo>
                  <a:lnTo>
                    <a:pt x="88" y="98"/>
                  </a:lnTo>
                  <a:lnTo>
                    <a:pt x="90" y="98"/>
                  </a:lnTo>
                  <a:lnTo>
                    <a:pt x="92" y="98"/>
                  </a:lnTo>
                  <a:lnTo>
                    <a:pt x="94" y="100"/>
                  </a:lnTo>
                  <a:lnTo>
                    <a:pt x="220" y="235"/>
                  </a:lnTo>
                  <a:lnTo>
                    <a:pt x="216" y="222"/>
                  </a:lnTo>
                  <a:lnTo>
                    <a:pt x="212" y="209"/>
                  </a:lnTo>
                  <a:lnTo>
                    <a:pt x="207" y="197"/>
                  </a:lnTo>
                  <a:lnTo>
                    <a:pt x="202" y="184"/>
                  </a:lnTo>
                  <a:lnTo>
                    <a:pt x="196" y="172"/>
                  </a:lnTo>
                  <a:lnTo>
                    <a:pt x="190" y="160"/>
                  </a:lnTo>
                  <a:lnTo>
                    <a:pt x="184" y="148"/>
                  </a:lnTo>
                  <a:lnTo>
                    <a:pt x="177" y="137"/>
                  </a:lnTo>
                  <a:lnTo>
                    <a:pt x="170" y="126"/>
                  </a:lnTo>
                  <a:lnTo>
                    <a:pt x="162" y="115"/>
                  </a:lnTo>
                  <a:lnTo>
                    <a:pt x="155" y="104"/>
                  </a:lnTo>
                  <a:lnTo>
                    <a:pt x="146" y="93"/>
                  </a:lnTo>
                  <a:lnTo>
                    <a:pt x="138" y="83"/>
                  </a:lnTo>
                  <a:lnTo>
                    <a:pt x="129" y="73"/>
                  </a:lnTo>
                  <a:lnTo>
                    <a:pt x="119" y="63"/>
                  </a:lnTo>
                  <a:lnTo>
                    <a:pt x="109" y="54"/>
                  </a:lnTo>
                  <a:lnTo>
                    <a:pt x="108" y="52"/>
                  </a:lnTo>
                  <a:lnTo>
                    <a:pt x="107" y="50"/>
                  </a:lnTo>
                  <a:lnTo>
                    <a:pt x="108" y="48"/>
                  </a:lnTo>
                  <a:lnTo>
                    <a:pt x="109" y="47"/>
                  </a:lnTo>
                  <a:lnTo>
                    <a:pt x="110" y="46"/>
                  </a:lnTo>
                  <a:lnTo>
                    <a:pt x="112" y="45"/>
                  </a:lnTo>
                  <a:lnTo>
                    <a:pt x="114" y="46"/>
                  </a:lnTo>
                  <a:lnTo>
                    <a:pt x="116" y="47"/>
                  </a:lnTo>
                  <a:lnTo>
                    <a:pt x="125" y="56"/>
                  </a:lnTo>
                  <a:lnTo>
                    <a:pt x="135" y="66"/>
                  </a:lnTo>
                  <a:lnTo>
                    <a:pt x="144" y="76"/>
                  </a:lnTo>
                  <a:lnTo>
                    <a:pt x="152" y="86"/>
                  </a:lnTo>
                  <a:lnTo>
                    <a:pt x="161" y="96"/>
                  </a:lnTo>
                  <a:lnTo>
                    <a:pt x="169" y="107"/>
                  </a:lnTo>
                  <a:lnTo>
                    <a:pt x="176" y="118"/>
                  </a:lnTo>
                  <a:lnTo>
                    <a:pt x="183" y="129"/>
                  </a:lnTo>
                  <a:lnTo>
                    <a:pt x="190" y="140"/>
                  </a:lnTo>
                  <a:lnTo>
                    <a:pt x="196" y="151"/>
                  </a:lnTo>
                  <a:lnTo>
                    <a:pt x="208" y="175"/>
                  </a:lnTo>
                  <a:lnTo>
                    <a:pt x="213" y="187"/>
                  </a:lnTo>
                  <a:lnTo>
                    <a:pt x="218" y="200"/>
                  </a:lnTo>
                  <a:lnTo>
                    <a:pt x="223" y="212"/>
                  </a:lnTo>
                  <a:lnTo>
                    <a:pt x="227" y="225"/>
                  </a:lnTo>
                  <a:lnTo>
                    <a:pt x="229" y="197"/>
                  </a:lnTo>
                  <a:lnTo>
                    <a:pt x="230" y="170"/>
                  </a:lnTo>
                  <a:lnTo>
                    <a:pt x="230" y="157"/>
                  </a:lnTo>
                  <a:lnTo>
                    <a:pt x="230" y="143"/>
                  </a:lnTo>
                  <a:lnTo>
                    <a:pt x="229" y="130"/>
                  </a:lnTo>
                  <a:lnTo>
                    <a:pt x="228" y="116"/>
                  </a:lnTo>
                  <a:lnTo>
                    <a:pt x="226" y="103"/>
                  </a:lnTo>
                  <a:lnTo>
                    <a:pt x="224" y="89"/>
                  </a:lnTo>
                  <a:lnTo>
                    <a:pt x="222" y="76"/>
                  </a:lnTo>
                  <a:lnTo>
                    <a:pt x="219" y="63"/>
                  </a:lnTo>
                  <a:lnTo>
                    <a:pt x="212" y="36"/>
                  </a:lnTo>
                  <a:lnTo>
                    <a:pt x="208" y="23"/>
                  </a:lnTo>
                  <a:lnTo>
                    <a:pt x="204" y="9"/>
                  </a:lnTo>
                  <a:lnTo>
                    <a:pt x="203" y="7"/>
                  </a:lnTo>
                  <a:lnTo>
                    <a:pt x="204" y="5"/>
                  </a:lnTo>
                  <a:lnTo>
                    <a:pt x="205" y="4"/>
                  </a:lnTo>
                  <a:lnTo>
                    <a:pt x="207" y="3"/>
                  </a:lnTo>
                  <a:lnTo>
                    <a:pt x="208" y="3"/>
                  </a:lnTo>
                  <a:lnTo>
                    <a:pt x="210" y="3"/>
                  </a:lnTo>
                  <a:lnTo>
                    <a:pt x="212" y="4"/>
                  </a:lnTo>
                  <a:lnTo>
                    <a:pt x="213" y="6"/>
                  </a:lnTo>
                  <a:lnTo>
                    <a:pt x="220" y="29"/>
                  </a:lnTo>
                  <a:lnTo>
                    <a:pt x="224" y="41"/>
                  </a:lnTo>
                  <a:lnTo>
                    <a:pt x="226" y="52"/>
                  </a:lnTo>
                  <a:lnTo>
                    <a:pt x="231" y="75"/>
                  </a:lnTo>
                  <a:lnTo>
                    <a:pt x="235" y="98"/>
                  </a:lnTo>
                  <a:lnTo>
                    <a:pt x="237" y="110"/>
                  </a:lnTo>
                  <a:lnTo>
                    <a:pt x="238" y="121"/>
                  </a:lnTo>
                  <a:lnTo>
                    <a:pt x="239" y="145"/>
                  </a:lnTo>
                  <a:lnTo>
                    <a:pt x="240" y="168"/>
                  </a:lnTo>
                  <a:lnTo>
                    <a:pt x="239" y="191"/>
                  </a:lnTo>
                  <a:lnTo>
                    <a:pt x="242" y="168"/>
                  </a:lnTo>
                  <a:lnTo>
                    <a:pt x="244" y="145"/>
                  </a:lnTo>
                  <a:lnTo>
                    <a:pt x="245" y="121"/>
                  </a:lnTo>
                  <a:lnTo>
                    <a:pt x="245" y="110"/>
                  </a:lnTo>
                  <a:lnTo>
                    <a:pt x="244" y="98"/>
                  </a:lnTo>
                  <a:lnTo>
                    <a:pt x="244" y="86"/>
                  </a:lnTo>
                  <a:lnTo>
                    <a:pt x="243" y="75"/>
                  </a:lnTo>
                  <a:lnTo>
                    <a:pt x="240" y="52"/>
                  </a:lnTo>
                  <a:lnTo>
                    <a:pt x="235" y="28"/>
                  </a:lnTo>
                  <a:lnTo>
                    <a:pt x="230" y="6"/>
                  </a:lnTo>
                  <a:lnTo>
                    <a:pt x="230" y="3"/>
                  </a:lnTo>
                  <a:lnTo>
                    <a:pt x="230" y="2"/>
                  </a:lnTo>
                  <a:lnTo>
                    <a:pt x="231" y="0"/>
                  </a:lnTo>
                  <a:lnTo>
                    <a:pt x="233" y="0"/>
                  </a:lnTo>
                  <a:lnTo>
                    <a:pt x="235" y="0"/>
                  </a:lnTo>
                  <a:lnTo>
                    <a:pt x="237" y="0"/>
                  </a:lnTo>
                  <a:lnTo>
                    <a:pt x="238" y="1"/>
                  </a:lnTo>
                  <a:lnTo>
                    <a:pt x="239" y="3"/>
                  </a:lnTo>
                  <a:lnTo>
                    <a:pt x="242" y="14"/>
                  </a:lnTo>
                  <a:lnTo>
                    <a:pt x="244" y="26"/>
                  </a:lnTo>
                  <a:lnTo>
                    <a:pt x="247" y="37"/>
                  </a:lnTo>
                  <a:lnTo>
                    <a:pt x="249" y="49"/>
                  </a:lnTo>
                  <a:lnTo>
                    <a:pt x="252" y="72"/>
                  </a:lnTo>
                  <a:lnTo>
                    <a:pt x="253" y="84"/>
                  </a:lnTo>
                  <a:lnTo>
                    <a:pt x="254" y="95"/>
                  </a:lnTo>
                  <a:lnTo>
                    <a:pt x="254" y="107"/>
                  </a:lnTo>
                  <a:lnTo>
                    <a:pt x="254" y="118"/>
                  </a:lnTo>
                  <a:lnTo>
                    <a:pt x="254" y="142"/>
                  </a:lnTo>
                  <a:lnTo>
                    <a:pt x="252" y="165"/>
                  </a:lnTo>
                  <a:lnTo>
                    <a:pt x="249" y="188"/>
                  </a:lnTo>
                  <a:lnTo>
                    <a:pt x="253" y="176"/>
                  </a:lnTo>
                  <a:lnTo>
                    <a:pt x="257" y="164"/>
                  </a:lnTo>
                  <a:lnTo>
                    <a:pt x="260" y="152"/>
                  </a:lnTo>
                  <a:lnTo>
                    <a:pt x="264" y="140"/>
                  </a:lnTo>
                  <a:lnTo>
                    <a:pt x="266" y="128"/>
                  </a:lnTo>
                  <a:lnTo>
                    <a:pt x="269" y="116"/>
                  </a:lnTo>
                  <a:lnTo>
                    <a:pt x="270" y="103"/>
                  </a:lnTo>
                  <a:lnTo>
                    <a:pt x="272" y="90"/>
                  </a:lnTo>
                  <a:lnTo>
                    <a:pt x="273" y="84"/>
                  </a:lnTo>
                  <a:lnTo>
                    <a:pt x="273" y="79"/>
                  </a:lnTo>
                  <a:lnTo>
                    <a:pt x="276" y="68"/>
                  </a:lnTo>
                  <a:lnTo>
                    <a:pt x="280" y="58"/>
                  </a:lnTo>
                  <a:lnTo>
                    <a:pt x="284" y="48"/>
                  </a:lnTo>
                  <a:lnTo>
                    <a:pt x="289" y="39"/>
                  </a:lnTo>
                  <a:lnTo>
                    <a:pt x="296" y="30"/>
                  </a:lnTo>
                  <a:lnTo>
                    <a:pt x="303" y="22"/>
                  </a:lnTo>
                  <a:lnTo>
                    <a:pt x="311" y="14"/>
                  </a:lnTo>
                  <a:lnTo>
                    <a:pt x="313" y="13"/>
                  </a:lnTo>
                  <a:lnTo>
                    <a:pt x="315" y="12"/>
                  </a:lnTo>
                  <a:lnTo>
                    <a:pt x="316" y="13"/>
                  </a:lnTo>
                  <a:lnTo>
                    <a:pt x="318" y="14"/>
                  </a:lnTo>
                  <a:lnTo>
                    <a:pt x="319" y="16"/>
                  </a:lnTo>
                  <a:lnTo>
                    <a:pt x="319" y="17"/>
                  </a:lnTo>
                  <a:lnTo>
                    <a:pt x="319" y="19"/>
                  </a:lnTo>
                  <a:lnTo>
                    <a:pt x="318" y="21"/>
                  </a:lnTo>
                  <a:lnTo>
                    <a:pt x="310" y="28"/>
                  </a:lnTo>
                  <a:lnTo>
                    <a:pt x="303" y="36"/>
                  </a:lnTo>
                  <a:lnTo>
                    <a:pt x="298" y="44"/>
                  </a:lnTo>
                  <a:lnTo>
                    <a:pt x="293" y="52"/>
                  </a:lnTo>
                  <a:lnTo>
                    <a:pt x="288" y="61"/>
                  </a:lnTo>
                  <a:lnTo>
                    <a:pt x="285" y="71"/>
                  </a:lnTo>
                  <a:lnTo>
                    <a:pt x="283" y="81"/>
                  </a:lnTo>
                  <a:lnTo>
                    <a:pt x="282" y="86"/>
                  </a:lnTo>
                  <a:lnTo>
                    <a:pt x="281" y="91"/>
                  </a:lnTo>
                  <a:lnTo>
                    <a:pt x="278" y="114"/>
                  </a:lnTo>
                  <a:lnTo>
                    <a:pt x="277" y="125"/>
                  </a:lnTo>
                  <a:lnTo>
                    <a:pt x="274" y="136"/>
                  </a:lnTo>
                  <a:lnTo>
                    <a:pt x="272" y="147"/>
                  </a:lnTo>
                  <a:lnTo>
                    <a:pt x="269" y="157"/>
                  </a:lnTo>
                  <a:lnTo>
                    <a:pt x="262" y="179"/>
                  </a:lnTo>
                  <a:lnTo>
                    <a:pt x="342" y="37"/>
                  </a:lnTo>
                  <a:lnTo>
                    <a:pt x="343" y="36"/>
                  </a:lnTo>
                  <a:lnTo>
                    <a:pt x="344" y="36"/>
                  </a:lnTo>
                  <a:lnTo>
                    <a:pt x="345" y="35"/>
                  </a:lnTo>
                  <a:lnTo>
                    <a:pt x="347" y="35"/>
                  </a:lnTo>
                  <a:lnTo>
                    <a:pt x="349" y="36"/>
                  </a:lnTo>
                  <a:lnTo>
                    <a:pt x="350" y="37"/>
                  </a:lnTo>
                  <a:lnTo>
                    <a:pt x="351" y="38"/>
                  </a:lnTo>
                  <a:lnTo>
                    <a:pt x="351" y="40"/>
                  </a:lnTo>
                  <a:lnTo>
                    <a:pt x="351" y="42"/>
                  </a:lnTo>
                  <a:lnTo>
                    <a:pt x="287" y="154"/>
                  </a:lnTo>
                  <a:lnTo>
                    <a:pt x="349" y="63"/>
                  </a:lnTo>
                  <a:lnTo>
                    <a:pt x="351" y="62"/>
                  </a:lnTo>
                  <a:lnTo>
                    <a:pt x="353" y="61"/>
                  </a:lnTo>
                  <a:lnTo>
                    <a:pt x="354" y="61"/>
                  </a:lnTo>
                  <a:lnTo>
                    <a:pt x="356" y="62"/>
                  </a:lnTo>
                  <a:lnTo>
                    <a:pt x="357" y="63"/>
                  </a:lnTo>
                  <a:lnTo>
                    <a:pt x="358" y="65"/>
                  </a:lnTo>
                  <a:lnTo>
                    <a:pt x="358" y="67"/>
                  </a:lnTo>
                  <a:lnTo>
                    <a:pt x="357" y="69"/>
                  </a:lnTo>
                  <a:lnTo>
                    <a:pt x="250" y="226"/>
                  </a:lnTo>
                  <a:lnTo>
                    <a:pt x="371" y="126"/>
                  </a:lnTo>
                  <a:lnTo>
                    <a:pt x="373" y="125"/>
                  </a:lnTo>
                  <a:lnTo>
                    <a:pt x="375" y="125"/>
                  </a:lnTo>
                  <a:lnTo>
                    <a:pt x="377" y="125"/>
                  </a:lnTo>
                  <a:lnTo>
                    <a:pt x="378" y="126"/>
                  </a:lnTo>
                  <a:lnTo>
                    <a:pt x="379" y="128"/>
                  </a:lnTo>
                  <a:lnTo>
                    <a:pt x="379" y="130"/>
                  </a:lnTo>
                  <a:lnTo>
                    <a:pt x="379" y="131"/>
                  </a:lnTo>
                  <a:lnTo>
                    <a:pt x="378" y="133"/>
                  </a:lnTo>
                  <a:lnTo>
                    <a:pt x="261" y="229"/>
                  </a:lnTo>
                  <a:lnTo>
                    <a:pt x="347" y="193"/>
                  </a:lnTo>
                  <a:lnTo>
                    <a:pt x="349" y="192"/>
                  </a:lnTo>
                  <a:lnTo>
                    <a:pt x="351" y="193"/>
                  </a:lnTo>
                  <a:lnTo>
                    <a:pt x="353" y="194"/>
                  </a:lnTo>
                  <a:lnTo>
                    <a:pt x="354" y="195"/>
                  </a:lnTo>
                  <a:lnTo>
                    <a:pt x="354" y="197"/>
                  </a:lnTo>
                  <a:lnTo>
                    <a:pt x="354" y="199"/>
                  </a:lnTo>
                  <a:lnTo>
                    <a:pt x="353" y="201"/>
                  </a:lnTo>
                  <a:lnTo>
                    <a:pt x="351" y="202"/>
                  </a:lnTo>
                  <a:lnTo>
                    <a:pt x="290" y="227"/>
                  </a:lnTo>
                  <a:lnTo>
                    <a:pt x="356" y="210"/>
                  </a:lnTo>
                  <a:lnTo>
                    <a:pt x="358" y="210"/>
                  </a:lnTo>
                  <a:lnTo>
                    <a:pt x="360" y="211"/>
                  </a:lnTo>
                  <a:lnTo>
                    <a:pt x="361" y="212"/>
                  </a:lnTo>
                  <a:lnTo>
                    <a:pt x="361" y="213"/>
                  </a:lnTo>
                  <a:lnTo>
                    <a:pt x="362" y="215"/>
                  </a:lnTo>
                  <a:lnTo>
                    <a:pt x="361" y="217"/>
                  </a:lnTo>
                  <a:lnTo>
                    <a:pt x="360" y="218"/>
                  </a:lnTo>
                  <a:lnTo>
                    <a:pt x="358" y="219"/>
                  </a:lnTo>
                  <a:lnTo>
                    <a:pt x="23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9" name="Freeform 1957"/>
            <p:cNvSpPr>
              <a:spLocks noEditPoints="1"/>
            </p:cNvSpPr>
            <p:nvPr userDrawn="1"/>
          </p:nvSpPr>
          <p:spPr bwMode="auto">
            <a:xfrm>
              <a:off x="10429678" y="3202657"/>
              <a:ext cx="836613" cy="1104900"/>
            </a:xfrm>
            <a:custGeom>
              <a:avLst/>
              <a:gdLst>
                <a:gd name="T0" fmla="*/ 285 w 527"/>
                <a:gd name="T1" fmla="*/ 138 h 696"/>
                <a:gd name="T2" fmla="*/ 32 w 527"/>
                <a:gd name="T3" fmla="*/ 619 h 696"/>
                <a:gd name="T4" fmla="*/ 22 w 527"/>
                <a:gd name="T5" fmla="*/ 613 h 696"/>
                <a:gd name="T6" fmla="*/ 62 w 527"/>
                <a:gd name="T7" fmla="*/ 576 h 696"/>
                <a:gd name="T8" fmla="*/ 53 w 527"/>
                <a:gd name="T9" fmla="*/ 615 h 696"/>
                <a:gd name="T10" fmla="*/ 242 w 527"/>
                <a:gd name="T11" fmla="*/ 264 h 696"/>
                <a:gd name="T12" fmla="*/ 156 w 527"/>
                <a:gd name="T13" fmla="*/ 384 h 696"/>
                <a:gd name="T14" fmla="*/ 71 w 527"/>
                <a:gd name="T15" fmla="*/ 575 h 696"/>
                <a:gd name="T16" fmla="*/ 52 w 527"/>
                <a:gd name="T17" fmla="*/ 642 h 696"/>
                <a:gd name="T18" fmla="*/ 8 w 527"/>
                <a:gd name="T19" fmla="*/ 696 h 696"/>
                <a:gd name="T20" fmla="*/ 1 w 527"/>
                <a:gd name="T21" fmla="*/ 653 h 696"/>
                <a:gd name="T22" fmla="*/ 32 w 527"/>
                <a:gd name="T23" fmla="*/ 579 h 696"/>
                <a:gd name="T24" fmla="*/ 79 w 527"/>
                <a:gd name="T25" fmla="*/ 516 h 696"/>
                <a:gd name="T26" fmla="*/ 161 w 527"/>
                <a:gd name="T27" fmla="*/ 357 h 696"/>
                <a:gd name="T28" fmla="*/ 261 w 527"/>
                <a:gd name="T29" fmla="*/ 230 h 696"/>
                <a:gd name="T30" fmla="*/ 125 w 527"/>
                <a:gd name="T31" fmla="*/ 83 h 696"/>
                <a:gd name="T32" fmla="*/ 231 w 527"/>
                <a:gd name="T33" fmla="*/ 159 h 696"/>
                <a:gd name="T34" fmla="*/ 145 w 527"/>
                <a:gd name="T35" fmla="*/ 74 h 696"/>
                <a:gd name="T36" fmla="*/ 149 w 527"/>
                <a:gd name="T37" fmla="*/ 65 h 696"/>
                <a:gd name="T38" fmla="*/ 212 w 527"/>
                <a:gd name="T39" fmla="*/ 121 h 696"/>
                <a:gd name="T40" fmla="*/ 177 w 527"/>
                <a:gd name="T41" fmla="*/ 33 h 696"/>
                <a:gd name="T42" fmla="*/ 259 w 527"/>
                <a:gd name="T43" fmla="*/ 154 h 696"/>
                <a:gd name="T44" fmla="*/ 225 w 527"/>
                <a:gd name="T45" fmla="*/ 61 h 696"/>
                <a:gd name="T46" fmla="*/ 191 w 527"/>
                <a:gd name="T47" fmla="*/ 4 h 696"/>
                <a:gd name="T48" fmla="*/ 199 w 527"/>
                <a:gd name="T49" fmla="*/ 2 h 696"/>
                <a:gd name="T50" fmla="*/ 257 w 527"/>
                <a:gd name="T51" fmla="*/ 114 h 696"/>
                <a:gd name="T52" fmla="*/ 248 w 527"/>
                <a:gd name="T53" fmla="*/ 56 h 696"/>
                <a:gd name="T54" fmla="*/ 256 w 527"/>
                <a:gd name="T55" fmla="*/ 52 h 696"/>
                <a:gd name="T56" fmla="*/ 266 w 527"/>
                <a:gd name="T57" fmla="*/ 2 h 696"/>
                <a:gd name="T58" fmla="*/ 288 w 527"/>
                <a:gd name="T59" fmla="*/ 106 h 696"/>
                <a:gd name="T60" fmla="*/ 295 w 527"/>
                <a:gd name="T61" fmla="*/ 179 h 696"/>
                <a:gd name="T62" fmla="*/ 410 w 527"/>
                <a:gd name="T63" fmla="*/ 61 h 696"/>
                <a:gd name="T64" fmla="*/ 316 w 527"/>
                <a:gd name="T65" fmla="*/ 198 h 696"/>
                <a:gd name="T66" fmla="*/ 404 w 527"/>
                <a:gd name="T67" fmla="*/ 138 h 696"/>
                <a:gd name="T68" fmla="*/ 461 w 527"/>
                <a:gd name="T69" fmla="*/ 76 h 696"/>
                <a:gd name="T70" fmla="*/ 457 w 527"/>
                <a:gd name="T71" fmla="*/ 94 h 696"/>
                <a:gd name="T72" fmla="*/ 392 w 527"/>
                <a:gd name="T73" fmla="*/ 160 h 696"/>
                <a:gd name="T74" fmla="*/ 316 w 527"/>
                <a:gd name="T75" fmla="*/ 215 h 696"/>
                <a:gd name="T76" fmla="*/ 436 w 527"/>
                <a:gd name="T77" fmla="*/ 196 h 696"/>
                <a:gd name="T78" fmla="*/ 517 w 527"/>
                <a:gd name="T79" fmla="*/ 166 h 696"/>
                <a:gd name="T80" fmla="*/ 507 w 527"/>
                <a:gd name="T81" fmla="*/ 180 h 696"/>
                <a:gd name="T82" fmla="*/ 383 w 527"/>
                <a:gd name="T83" fmla="*/ 218 h 696"/>
                <a:gd name="T84" fmla="*/ 430 w 527"/>
                <a:gd name="T85" fmla="*/ 217 h 696"/>
                <a:gd name="T86" fmla="*/ 524 w 527"/>
                <a:gd name="T87" fmla="*/ 192 h 696"/>
                <a:gd name="T88" fmla="*/ 513 w 527"/>
                <a:gd name="T89" fmla="*/ 205 h 696"/>
                <a:gd name="T90" fmla="*/ 411 w 527"/>
                <a:gd name="T91" fmla="*/ 230 h 696"/>
                <a:gd name="T92" fmla="*/ 391 w 527"/>
                <a:gd name="T93" fmla="*/ 242 h 696"/>
                <a:gd name="T94" fmla="*/ 474 w 527"/>
                <a:gd name="T95" fmla="*/ 247 h 696"/>
                <a:gd name="T96" fmla="*/ 524 w 527"/>
                <a:gd name="T97" fmla="*/ 277 h 696"/>
                <a:gd name="T98" fmla="*/ 507 w 527"/>
                <a:gd name="T99" fmla="*/ 274 h 696"/>
                <a:gd name="T100" fmla="*/ 442 w 527"/>
                <a:gd name="T101" fmla="*/ 253 h 696"/>
                <a:gd name="T102" fmla="*/ 505 w 527"/>
                <a:gd name="T103" fmla="*/ 310 h 696"/>
                <a:gd name="T104" fmla="*/ 499 w 527"/>
                <a:gd name="T105" fmla="*/ 316 h 696"/>
                <a:gd name="T106" fmla="*/ 478 w 527"/>
                <a:gd name="T107" fmla="*/ 325 h 696"/>
                <a:gd name="T108" fmla="*/ 420 w 527"/>
                <a:gd name="T109" fmla="*/ 350 h 696"/>
                <a:gd name="T110" fmla="*/ 412 w 527"/>
                <a:gd name="T111" fmla="*/ 354 h 696"/>
                <a:gd name="T112" fmla="*/ 345 w 527"/>
                <a:gd name="T113" fmla="*/ 338 h 696"/>
                <a:gd name="T114" fmla="*/ 332 w 527"/>
                <a:gd name="T115" fmla="*/ 345 h 696"/>
                <a:gd name="T116" fmla="*/ 277 w 527"/>
                <a:gd name="T117" fmla="*/ 22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7" h="696">
                  <a:moveTo>
                    <a:pt x="281" y="196"/>
                  </a:moveTo>
                  <a:lnTo>
                    <a:pt x="284" y="186"/>
                  </a:lnTo>
                  <a:lnTo>
                    <a:pt x="286" y="177"/>
                  </a:lnTo>
                  <a:lnTo>
                    <a:pt x="287" y="167"/>
                  </a:lnTo>
                  <a:lnTo>
                    <a:pt x="287" y="157"/>
                  </a:lnTo>
                  <a:lnTo>
                    <a:pt x="286" y="148"/>
                  </a:lnTo>
                  <a:lnTo>
                    <a:pt x="285" y="138"/>
                  </a:lnTo>
                  <a:lnTo>
                    <a:pt x="284" y="128"/>
                  </a:lnTo>
                  <a:lnTo>
                    <a:pt x="281" y="118"/>
                  </a:lnTo>
                  <a:lnTo>
                    <a:pt x="278" y="108"/>
                  </a:lnTo>
                  <a:lnTo>
                    <a:pt x="275" y="100"/>
                  </a:lnTo>
                  <a:lnTo>
                    <a:pt x="281" y="196"/>
                  </a:lnTo>
                  <a:close/>
                  <a:moveTo>
                    <a:pt x="9" y="672"/>
                  </a:moveTo>
                  <a:lnTo>
                    <a:pt x="32" y="619"/>
                  </a:lnTo>
                  <a:lnTo>
                    <a:pt x="54" y="570"/>
                  </a:lnTo>
                  <a:lnTo>
                    <a:pt x="48" y="575"/>
                  </a:lnTo>
                  <a:lnTo>
                    <a:pt x="42" y="581"/>
                  </a:lnTo>
                  <a:lnTo>
                    <a:pt x="37" y="588"/>
                  </a:lnTo>
                  <a:lnTo>
                    <a:pt x="31" y="596"/>
                  </a:lnTo>
                  <a:lnTo>
                    <a:pt x="26" y="604"/>
                  </a:lnTo>
                  <a:lnTo>
                    <a:pt x="22" y="613"/>
                  </a:lnTo>
                  <a:lnTo>
                    <a:pt x="18" y="622"/>
                  </a:lnTo>
                  <a:lnTo>
                    <a:pt x="15" y="632"/>
                  </a:lnTo>
                  <a:lnTo>
                    <a:pt x="12" y="642"/>
                  </a:lnTo>
                  <a:lnTo>
                    <a:pt x="11" y="652"/>
                  </a:lnTo>
                  <a:lnTo>
                    <a:pt x="9" y="662"/>
                  </a:lnTo>
                  <a:lnTo>
                    <a:pt x="9" y="672"/>
                  </a:lnTo>
                  <a:close/>
                  <a:moveTo>
                    <a:pt x="62" y="576"/>
                  </a:moveTo>
                  <a:lnTo>
                    <a:pt x="40" y="623"/>
                  </a:lnTo>
                  <a:lnTo>
                    <a:pt x="19" y="673"/>
                  </a:lnTo>
                  <a:lnTo>
                    <a:pt x="27" y="663"/>
                  </a:lnTo>
                  <a:lnTo>
                    <a:pt x="35" y="652"/>
                  </a:lnTo>
                  <a:lnTo>
                    <a:pt x="42" y="640"/>
                  </a:lnTo>
                  <a:lnTo>
                    <a:pt x="48" y="628"/>
                  </a:lnTo>
                  <a:lnTo>
                    <a:pt x="53" y="615"/>
                  </a:lnTo>
                  <a:lnTo>
                    <a:pt x="57" y="602"/>
                  </a:lnTo>
                  <a:lnTo>
                    <a:pt x="60" y="589"/>
                  </a:lnTo>
                  <a:lnTo>
                    <a:pt x="62" y="576"/>
                  </a:lnTo>
                  <a:close/>
                  <a:moveTo>
                    <a:pt x="277" y="227"/>
                  </a:moveTo>
                  <a:lnTo>
                    <a:pt x="268" y="237"/>
                  </a:lnTo>
                  <a:lnTo>
                    <a:pt x="259" y="246"/>
                  </a:lnTo>
                  <a:lnTo>
                    <a:pt x="242" y="264"/>
                  </a:lnTo>
                  <a:lnTo>
                    <a:pt x="227" y="282"/>
                  </a:lnTo>
                  <a:lnTo>
                    <a:pt x="219" y="292"/>
                  </a:lnTo>
                  <a:lnTo>
                    <a:pt x="212" y="301"/>
                  </a:lnTo>
                  <a:lnTo>
                    <a:pt x="197" y="321"/>
                  </a:lnTo>
                  <a:lnTo>
                    <a:pt x="183" y="341"/>
                  </a:lnTo>
                  <a:lnTo>
                    <a:pt x="169" y="362"/>
                  </a:lnTo>
                  <a:lnTo>
                    <a:pt x="156" y="384"/>
                  </a:lnTo>
                  <a:lnTo>
                    <a:pt x="145" y="402"/>
                  </a:lnTo>
                  <a:lnTo>
                    <a:pt x="136" y="419"/>
                  </a:lnTo>
                  <a:lnTo>
                    <a:pt x="120" y="451"/>
                  </a:lnTo>
                  <a:lnTo>
                    <a:pt x="88" y="521"/>
                  </a:lnTo>
                  <a:lnTo>
                    <a:pt x="71" y="555"/>
                  </a:lnTo>
                  <a:lnTo>
                    <a:pt x="71" y="565"/>
                  </a:lnTo>
                  <a:lnTo>
                    <a:pt x="71" y="575"/>
                  </a:lnTo>
                  <a:lnTo>
                    <a:pt x="70" y="585"/>
                  </a:lnTo>
                  <a:lnTo>
                    <a:pt x="68" y="595"/>
                  </a:lnTo>
                  <a:lnTo>
                    <a:pt x="66" y="605"/>
                  </a:lnTo>
                  <a:lnTo>
                    <a:pt x="63" y="614"/>
                  </a:lnTo>
                  <a:lnTo>
                    <a:pt x="60" y="624"/>
                  </a:lnTo>
                  <a:lnTo>
                    <a:pt x="56" y="633"/>
                  </a:lnTo>
                  <a:lnTo>
                    <a:pt x="52" y="642"/>
                  </a:lnTo>
                  <a:lnTo>
                    <a:pt x="47" y="650"/>
                  </a:lnTo>
                  <a:lnTo>
                    <a:pt x="42" y="659"/>
                  </a:lnTo>
                  <a:lnTo>
                    <a:pt x="36" y="667"/>
                  </a:lnTo>
                  <a:lnTo>
                    <a:pt x="30" y="675"/>
                  </a:lnTo>
                  <a:lnTo>
                    <a:pt x="23" y="682"/>
                  </a:lnTo>
                  <a:lnTo>
                    <a:pt x="16" y="689"/>
                  </a:lnTo>
                  <a:lnTo>
                    <a:pt x="8" y="696"/>
                  </a:lnTo>
                  <a:lnTo>
                    <a:pt x="6" y="696"/>
                  </a:lnTo>
                  <a:lnTo>
                    <a:pt x="4" y="696"/>
                  </a:lnTo>
                  <a:lnTo>
                    <a:pt x="3" y="695"/>
                  </a:lnTo>
                  <a:lnTo>
                    <a:pt x="1" y="693"/>
                  </a:lnTo>
                  <a:lnTo>
                    <a:pt x="0" y="680"/>
                  </a:lnTo>
                  <a:lnTo>
                    <a:pt x="0" y="667"/>
                  </a:lnTo>
                  <a:lnTo>
                    <a:pt x="1" y="653"/>
                  </a:lnTo>
                  <a:lnTo>
                    <a:pt x="3" y="640"/>
                  </a:lnTo>
                  <a:lnTo>
                    <a:pt x="6" y="627"/>
                  </a:lnTo>
                  <a:lnTo>
                    <a:pt x="11" y="614"/>
                  </a:lnTo>
                  <a:lnTo>
                    <a:pt x="16" y="602"/>
                  </a:lnTo>
                  <a:lnTo>
                    <a:pt x="20" y="596"/>
                  </a:lnTo>
                  <a:lnTo>
                    <a:pt x="23" y="591"/>
                  </a:lnTo>
                  <a:lnTo>
                    <a:pt x="32" y="579"/>
                  </a:lnTo>
                  <a:lnTo>
                    <a:pt x="36" y="574"/>
                  </a:lnTo>
                  <a:lnTo>
                    <a:pt x="40" y="569"/>
                  </a:lnTo>
                  <a:lnTo>
                    <a:pt x="45" y="565"/>
                  </a:lnTo>
                  <a:lnTo>
                    <a:pt x="50" y="561"/>
                  </a:lnTo>
                  <a:lnTo>
                    <a:pt x="56" y="557"/>
                  </a:lnTo>
                  <a:lnTo>
                    <a:pt x="62" y="553"/>
                  </a:lnTo>
                  <a:lnTo>
                    <a:pt x="79" y="516"/>
                  </a:lnTo>
                  <a:lnTo>
                    <a:pt x="96" y="479"/>
                  </a:lnTo>
                  <a:lnTo>
                    <a:pt x="111" y="447"/>
                  </a:lnTo>
                  <a:lnTo>
                    <a:pt x="119" y="431"/>
                  </a:lnTo>
                  <a:lnTo>
                    <a:pt x="128" y="415"/>
                  </a:lnTo>
                  <a:lnTo>
                    <a:pt x="137" y="398"/>
                  </a:lnTo>
                  <a:lnTo>
                    <a:pt x="148" y="379"/>
                  </a:lnTo>
                  <a:lnTo>
                    <a:pt x="161" y="357"/>
                  </a:lnTo>
                  <a:lnTo>
                    <a:pt x="175" y="336"/>
                  </a:lnTo>
                  <a:lnTo>
                    <a:pt x="189" y="315"/>
                  </a:lnTo>
                  <a:lnTo>
                    <a:pt x="204" y="296"/>
                  </a:lnTo>
                  <a:lnTo>
                    <a:pt x="219" y="276"/>
                  </a:lnTo>
                  <a:lnTo>
                    <a:pt x="235" y="258"/>
                  </a:lnTo>
                  <a:lnTo>
                    <a:pt x="252" y="239"/>
                  </a:lnTo>
                  <a:lnTo>
                    <a:pt x="261" y="230"/>
                  </a:lnTo>
                  <a:lnTo>
                    <a:pt x="270" y="221"/>
                  </a:lnTo>
                  <a:lnTo>
                    <a:pt x="269" y="218"/>
                  </a:lnTo>
                  <a:lnTo>
                    <a:pt x="125" y="89"/>
                  </a:lnTo>
                  <a:lnTo>
                    <a:pt x="124" y="88"/>
                  </a:lnTo>
                  <a:lnTo>
                    <a:pt x="123" y="86"/>
                  </a:lnTo>
                  <a:lnTo>
                    <a:pt x="124" y="84"/>
                  </a:lnTo>
                  <a:lnTo>
                    <a:pt x="125" y="83"/>
                  </a:lnTo>
                  <a:lnTo>
                    <a:pt x="126" y="81"/>
                  </a:lnTo>
                  <a:lnTo>
                    <a:pt x="128" y="81"/>
                  </a:lnTo>
                  <a:lnTo>
                    <a:pt x="129" y="81"/>
                  </a:lnTo>
                  <a:lnTo>
                    <a:pt x="131" y="82"/>
                  </a:lnTo>
                  <a:lnTo>
                    <a:pt x="254" y="192"/>
                  </a:lnTo>
                  <a:lnTo>
                    <a:pt x="243" y="175"/>
                  </a:lnTo>
                  <a:lnTo>
                    <a:pt x="231" y="159"/>
                  </a:lnTo>
                  <a:lnTo>
                    <a:pt x="225" y="151"/>
                  </a:lnTo>
                  <a:lnTo>
                    <a:pt x="219" y="143"/>
                  </a:lnTo>
                  <a:lnTo>
                    <a:pt x="205" y="128"/>
                  </a:lnTo>
                  <a:lnTo>
                    <a:pt x="192" y="113"/>
                  </a:lnTo>
                  <a:lnTo>
                    <a:pt x="177" y="99"/>
                  </a:lnTo>
                  <a:lnTo>
                    <a:pt x="161" y="86"/>
                  </a:lnTo>
                  <a:lnTo>
                    <a:pt x="145" y="74"/>
                  </a:lnTo>
                  <a:lnTo>
                    <a:pt x="144" y="72"/>
                  </a:lnTo>
                  <a:lnTo>
                    <a:pt x="143" y="71"/>
                  </a:lnTo>
                  <a:lnTo>
                    <a:pt x="143" y="69"/>
                  </a:lnTo>
                  <a:lnTo>
                    <a:pt x="144" y="67"/>
                  </a:lnTo>
                  <a:lnTo>
                    <a:pt x="145" y="66"/>
                  </a:lnTo>
                  <a:lnTo>
                    <a:pt x="147" y="65"/>
                  </a:lnTo>
                  <a:lnTo>
                    <a:pt x="149" y="65"/>
                  </a:lnTo>
                  <a:lnTo>
                    <a:pt x="151" y="66"/>
                  </a:lnTo>
                  <a:lnTo>
                    <a:pt x="162" y="74"/>
                  </a:lnTo>
                  <a:lnTo>
                    <a:pt x="173" y="83"/>
                  </a:lnTo>
                  <a:lnTo>
                    <a:pt x="183" y="92"/>
                  </a:lnTo>
                  <a:lnTo>
                    <a:pt x="193" y="101"/>
                  </a:lnTo>
                  <a:lnTo>
                    <a:pt x="203" y="111"/>
                  </a:lnTo>
                  <a:lnTo>
                    <a:pt x="212" y="121"/>
                  </a:lnTo>
                  <a:lnTo>
                    <a:pt x="222" y="131"/>
                  </a:lnTo>
                  <a:lnTo>
                    <a:pt x="230" y="142"/>
                  </a:lnTo>
                  <a:lnTo>
                    <a:pt x="175" y="40"/>
                  </a:lnTo>
                  <a:lnTo>
                    <a:pt x="175" y="38"/>
                  </a:lnTo>
                  <a:lnTo>
                    <a:pt x="175" y="36"/>
                  </a:lnTo>
                  <a:lnTo>
                    <a:pt x="176" y="34"/>
                  </a:lnTo>
                  <a:lnTo>
                    <a:pt x="177" y="33"/>
                  </a:lnTo>
                  <a:lnTo>
                    <a:pt x="179" y="33"/>
                  </a:lnTo>
                  <a:lnTo>
                    <a:pt x="181" y="33"/>
                  </a:lnTo>
                  <a:lnTo>
                    <a:pt x="182" y="34"/>
                  </a:lnTo>
                  <a:lnTo>
                    <a:pt x="184" y="35"/>
                  </a:lnTo>
                  <a:lnTo>
                    <a:pt x="267" y="191"/>
                  </a:lnTo>
                  <a:lnTo>
                    <a:pt x="262" y="166"/>
                  </a:lnTo>
                  <a:lnTo>
                    <a:pt x="259" y="154"/>
                  </a:lnTo>
                  <a:lnTo>
                    <a:pt x="256" y="142"/>
                  </a:lnTo>
                  <a:lnTo>
                    <a:pt x="249" y="118"/>
                  </a:lnTo>
                  <a:lnTo>
                    <a:pt x="245" y="107"/>
                  </a:lnTo>
                  <a:lnTo>
                    <a:pt x="240" y="95"/>
                  </a:lnTo>
                  <a:lnTo>
                    <a:pt x="235" y="84"/>
                  </a:lnTo>
                  <a:lnTo>
                    <a:pt x="230" y="72"/>
                  </a:lnTo>
                  <a:lnTo>
                    <a:pt x="225" y="61"/>
                  </a:lnTo>
                  <a:lnTo>
                    <a:pt x="219" y="50"/>
                  </a:lnTo>
                  <a:lnTo>
                    <a:pt x="213" y="40"/>
                  </a:lnTo>
                  <a:lnTo>
                    <a:pt x="206" y="29"/>
                  </a:lnTo>
                  <a:lnTo>
                    <a:pt x="199" y="18"/>
                  </a:lnTo>
                  <a:lnTo>
                    <a:pt x="192" y="8"/>
                  </a:lnTo>
                  <a:lnTo>
                    <a:pt x="191" y="6"/>
                  </a:lnTo>
                  <a:lnTo>
                    <a:pt x="191" y="4"/>
                  </a:lnTo>
                  <a:lnTo>
                    <a:pt x="191" y="3"/>
                  </a:lnTo>
                  <a:lnTo>
                    <a:pt x="191" y="2"/>
                  </a:lnTo>
                  <a:lnTo>
                    <a:pt x="193" y="1"/>
                  </a:lnTo>
                  <a:lnTo>
                    <a:pt x="194" y="0"/>
                  </a:lnTo>
                  <a:lnTo>
                    <a:pt x="196" y="0"/>
                  </a:lnTo>
                  <a:lnTo>
                    <a:pt x="198" y="1"/>
                  </a:lnTo>
                  <a:lnTo>
                    <a:pt x="199" y="2"/>
                  </a:lnTo>
                  <a:lnTo>
                    <a:pt x="211" y="20"/>
                  </a:lnTo>
                  <a:lnTo>
                    <a:pt x="223" y="38"/>
                  </a:lnTo>
                  <a:lnTo>
                    <a:pt x="233" y="56"/>
                  </a:lnTo>
                  <a:lnTo>
                    <a:pt x="242" y="75"/>
                  </a:lnTo>
                  <a:lnTo>
                    <a:pt x="246" y="85"/>
                  </a:lnTo>
                  <a:lnTo>
                    <a:pt x="250" y="94"/>
                  </a:lnTo>
                  <a:lnTo>
                    <a:pt x="257" y="114"/>
                  </a:lnTo>
                  <a:lnTo>
                    <a:pt x="261" y="124"/>
                  </a:lnTo>
                  <a:lnTo>
                    <a:pt x="264" y="134"/>
                  </a:lnTo>
                  <a:lnTo>
                    <a:pt x="269" y="154"/>
                  </a:lnTo>
                  <a:lnTo>
                    <a:pt x="264" y="78"/>
                  </a:lnTo>
                  <a:lnTo>
                    <a:pt x="257" y="68"/>
                  </a:lnTo>
                  <a:lnTo>
                    <a:pt x="249" y="58"/>
                  </a:lnTo>
                  <a:lnTo>
                    <a:pt x="248" y="56"/>
                  </a:lnTo>
                  <a:lnTo>
                    <a:pt x="248" y="54"/>
                  </a:lnTo>
                  <a:lnTo>
                    <a:pt x="248" y="53"/>
                  </a:lnTo>
                  <a:lnTo>
                    <a:pt x="249" y="51"/>
                  </a:lnTo>
                  <a:lnTo>
                    <a:pt x="251" y="50"/>
                  </a:lnTo>
                  <a:lnTo>
                    <a:pt x="253" y="50"/>
                  </a:lnTo>
                  <a:lnTo>
                    <a:pt x="254" y="50"/>
                  </a:lnTo>
                  <a:lnTo>
                    <a:pt x="256" y="52"/>
                  </a:lnTo>
                  <a:lnTo>
                    <a:pt x="263" y="60"/>
                  </a:lnTo>
                  <a:lnTo>
                    <a:pt x="260" y="7"/>
                  </a:lnTo>
                  <a:lnTo>
                    <a:pt x="260" y="5"/>
                  </a:lnTo>
                  <a:lnTo>
                    <a:pt x="261" y="3"/>
                  </a:lnTo>
                  <a:lnTo>
                    <a:pt x="262" y="2"/>
                  </a:lnTo>
                  <a:lnTo>
                    <a:pt x="264" y="2"/>
                  </a:lnTo>
                  <a:lnTo>
                    <a:pt x="266" y="2"/>
                  </a:lnTo>
                  <a:lnTo>
                    <a:pt x="268" y="3"/>
                  </a:lnTo>
                  <a:lnTo>
                    <a:pt x="269" y="4"/>
                  </a:lnTo>
                  <a:lnTo>
                    <a:pt x="269" y="6"/>
                  </a:lnTo>
                  <a:lnTo>
                    <a:pt x="274" y="76"/>
                  </a:lnTo>
                  <a:lnTo>
                    <a:pt x="279" y="86"/>
                  </a:lnTo>
                  <a:lnTo>
                    <a:pt x="284" y="96"/>
                  </a:lnTo>
                  <a:lnTo>
                    <a:pt x="288" y="106"/>
                  </a:lnTo>
                  <a:lnTo>
                    <a:pt x="291" y="117"/>
                  </a:lnTo>
                  <a:lnTo>
                    <a:pt x="293" y="128"/>
                  </a:lnTo>
                  <a:lnTo>
                    <a:pt x="295" y="139"/>
                  </a:lnTo>
                  <a:lnTo>
                    <a:pt x="296" y="150"/>
                  </a:lnTo>
                  <a:lnTo>
                    <a:pt x="296" y="161"/>
                  </a:lnTo>
                  <a:lnTo>
                    <a:pt x="296" y="171"/>
                  </a:lnTo>
                  <a:lnTo>
                    <a:pt x="295" y="179"/>
                  </a:lnTo>
                  <a:lnTo>
                    <a:pt x="294" y="187"/>
                  </a:lnTo>
                  <a:lnTo>
                    <a:pt x="292" y="195"/>
                  </a:lnTo>
                  <a:lnTo>
                    <a:pt x="403" y="62"/>
                  </a:lnTo>
                  <a:lnTo>
                    <a:pt x="405" y="61"/>
                  </a:lnTo>
                  <a:lnTo>
                    <a:pt x="406" y="60"/>
                  </a:lnTo>
                  <a:lnTo>
                    <a:pt x="408" y="61"/>
                  </a:lnTo>
                  <a:lnTo>
                    <a:pt x="410" y="61"/>
                  </a:lnTo>
                  <a:lnTo>
                    <a:pt x="411" y="63"/>
                  </a:lnTo>
                  <a:lnTo>
                    <a:pt x="411" y="64"/>
                  </a:lnTo>
                  <a:lnTo>
                    <a:pt x="411" y="66"/>
                  </a:lnTo>
                  <a:lnTo>
                    <a:pt x="410" y="68"/>
                  </a:lnTo>
                  <a:lnTo>
                    <a:pt x="291" y="210"/>
                  </a:lnTo>
                  <a:lnTo>
                    <a:pt x="304" y="204"/>
                  </a:lnTo>
                  <a:lnTo>
                    <a:pt x="316" y="198"/>
                  </a:lnTo>
                  <a:lnTo>
                    <a:pt x="339" y="185"/>
                  </a:lnTo>
                  <a:lnTo>
                    <a:pt x="351" y="178"/>
                  </a:lnTo>
                  <a:lnTo>
                    <a:pt x="362" y="171"/>
                  </a:lnTo>
                  <a:lnTo>
                    <a:pt x="373" y="163"/>
                  </a:lnTo>
                  <a:lnTo>
                    <a:pt x="383" y="155"/>
                  </a:lnTo>
                  <a:lnTo>
                    <a:pt x="394" y="147"/>
                  </a:lnTo>
                  <a:lnTo>
                    <a:pt x="404" y="138"/>
                  </a:lnTo>
                  <a:lnTo>
                    <a:pt x="423" y="120"/>
                  </a:lnTo>
                  <a:lnTo>
                    <a:pt x="432" y="110"/>
                  </a:lnTo>
                  <a:lnTo>
                    <a:pt x="441" y="99"/>
                  </a:lnTo>
                  <a:lnTo>
                    <a:pt x="449" y="89"/>
                  </a:lnTo>
                  <a:lnTo>
                    <a:pt x="458" y="78"/>
                  </a:lnTo>
                  <a:lnTo>
                    <a:pt x="459" y="76"/>
                  </a:lnTo>
                  <a:lnTo>
                    <a:pt x="461" y="76"/>
                  </a:lnTo>
                  <a:lnTo>
                    <a:pt x="463" y="76"/>
                  </a:lnTo>
                  <a:lnTo>
                    <a:pt x="464" y="77"/>
                  </a:lnTo>
                  <a:lnTo>
                    <a:pt x="466" y="78"/>
                  </a:lnTo>
                  <a:lnTo>
                    <a:pt x="466" y="80"/>
                  </a:lnTo>
                  <a:lnTo>
                    <a:pt x="466" y="81"/>
                  </a:lnTo>
                  <a:lnTo>
                    <a:pt x="465" y="83"/>
                  </a:lnTo>
                  <a:lnTo>
                    <a:pt x="457" y="94"/>
                  </a:lnTo>
                  <a:lnTo>
                    <a:pt x="449" y="105"/>
                  </a:lnTo>
                  <a:lnTo>
                    <a:pt x="440" y="115"/>
                  </a:lnTo>
                  <a:lnTo>
                    <a:pt x="431" y="125"/>
                  </a:lnTo>
                  <a:lnTo>
                    <a:pt x="422" y="134"/>
                  </a:lnTo>
                  <a:lnTo>
                    <a:pt x="412" y="143"/>
                  </a:lnTo>
                  <a:lnTo>
                    <a:pt x="402" y="152"/>
                  </a:lnTo>
                  <a:lnTo>
                    <a:pt x="392" y="160"/>
                  </a:lnTo>
                  <a:lnTo>
                    <a:pt x="382" y="168"/>
                  </a:lnTo>
                  <a:lnTo>
                    <a:pt x="371" y="176"/>
                  </a:lnTo>
                  <a:lnTo>
                    <a:pt x="349" y="191"/>
                  </a:lnTo>
                  <a:lnTo>
                    <a:pt x="326" y="204"/>
                  </a:lnTo>
                  <a:lnTo>
                    <a:pt x="314" y="210"/>
                  </a:lnTo>
                  <a:lnTo>
                    <a:pt x="302" y="216"/>
                  </a:lnTo>
                  <a:lnTo>
                    <a:pt x="316" y="215"/>
                  </a:lnTo>
                  <a:lnTo>
                    <a:pt x="330" y="215"/>
                  </a:lnTo>
                  <a:lnTo>
                    <a:pt x="343" y="213"/>
                  </a:lnTo>
                  <a:lnTo>
                    <a:pt x="357" y="212"/>
                  </a:lnTo>
                  <a:lnTo>
                    <a:pt x="370" y="210"/>
                  </a:lnTo>
                  <a:lnTo>
                    <a:pt x="384" y="208"/>
                  </a:lnTo>
                  <a:lnTo>
                    <a:pt x="410" y="203"/>
                  </a:lnTo>
                  <a:lnTo>
                    <a:pt x="436" y="196"/>
                  </a:lnTo>
                  <a:lnTo>
                    <a:pt x="462" y="188"/>
                  </a:lnTo>
                  <a:lnTo>
                    <a:pt x="475" y="183"/>
                  </a:lnTo>
                  <a:lnTo>
                    <a:pt x="488" y="178"/>
                  </a:lnTo>
                  <a:lnTo>
                    <a:pt x="500" y="172"/>
                  </a:lnTo>
                  <a:lnTo>
                    <a:pt x="513" y="166"/>
                  </a:lnTo>
                  <a:lnTo>
                    <a:pt x="515" y="166"/>
                  </a:lnTo>
                  <a:lnTo>
                    <a:pt x="517" y="166"/>
                  </a:lnTo>
                  <a:lnTo>
                    <a:pt x="519" y="167"/>
                  </a:lnTo>
                  <a:lnTo>
                    <a:pt x="520" y="168"/>
                  </a:lnTo>
                  <a:lnTo>
                    <a:pt x="520" y="170"/>
                  </a:lnTo>
                  <a:lnTo>
                    <a:pt x="520" y="172"/>
                  </a:lnTo>
                  <a:lnTo>
                    <a:pt x="519" y="173"/>
                  </a:lnTo>
                  <a:lnTo>
                    <a:pt x="517" y="175"/>
                  </a:lnTo>
                  <a:lnTo>
                    <a:pt x="507" y="180"/>
                  </a:lnTo>
                  <a:lnTo>
                    <a:pt x="496" y="185"/>
                  </a:lnTo>
                  <a:lnTo>
                    <a:pt x="473" y="194"/>
                  </a:lnTo>
                  <a:lnTo>
                    <a:pt x="451" y="202"/>
                  </a:lnTo>
                  <a:lnTo>
                    <a:pt x="440" y="205"/>
                  </a:lnTo>
                  <a:lnTo>
                    <a:pt x="429" y="208"/>
                  </a:lnTo>
                  <a:lnTo>
                    <a:pt x="406" y="214"/>
                  </a:lnTo>
                  <a:lnTo>
                    <a:pt x="383" y="218"/>
                  </a:lnTo>
                  <a:lnTo>
                    <a:pt x="360" y="221"/>
                  </a:lnTo>
                  <a:lnTo>
                    <a:pt x="337" y="224"/>
                  </a:lnTo>
                  <a:lnTo>
                    <a:pt x="360" y="224"/>
                  </a:lnTo>
                  <a:lnTo>
                    <a:pt x="372" y="223"/>
                  </a:lnTo>
                  <a:lnTo>
                    <a:pt x="384" y="223"/>
                  </a:lnTo>
                  <a:lnTo>
                    <a:pt x="407" y="221"/>
                  </a:lnTo>
                  <a:lnTo>
                    <a:pt x="430" y="217"/>
                  </a:lnTo>
                  <a:lnTo>
                    <a:pt x="453" y="213"/>
                  </a:lnTo>
                  <a:lnTo>
                    <a:pt x="476" y="207"/>
                  </a:lnTo>
                  <a:lnTo>
                    <a:pt x="498" y="200"/>
                  </a:lnTo>
                  <a:lnTo>
                    <a:pt x="509" y="196"/>
                  </a:lnTo>
                  <a:lnTo>
                    <a:pt x="520" y="192"/>
                  </a:lnTo>
                  <a:lnTo>
                    <a:pt x="522" y="191"/>
                  </a:lnTo>
                  <a:lnTo>
                    <a:pt x="524" y="192"/>
                  </a:lnTo>
                  <a:lnTo>
                    <a:pt x="525" y="193"/>
                  </a:lnTo>
                  <a:lnTo>
                    <a:pt x="526" y="194"/>
                  </a:lnTo>
                  <a:lnTo>
                    <a:pt x="527" y="196"/>
                  </a:lnTo>
                  <a:lnTo>
                    <a:pt x="526" y="198"/>
                  </a:lnTo>
                  <a:lnTo>
                    <a:pt x="525" y="199"/>
                  </a:lnTo>
                  <a:lnTo>
                    <a:pt x="524" y="200"/>
                  </a:lnTo>
                  <a:lnTo>
                    <a:pt x="513" y="205"/>
                  </a:lnTo>
                  <a:lnTo>
                    <a:pt x="502" y="209"/>
                  </a:lnTo>
                  <a:lnTo>
                    <a:pt x="491" y="212"/>
                  </a:lnTo>
                  <a:lnTo>
                    <a:pt x="479" y="216"/>
                  </a:lnTo>
                  <a:lnTo>
                    <a:pt x="468" y="219"/>
                  </a:lnTo>
                  <a:lnTo>
                    <a:pt x="457" y="222"/>
                  </a:lnTo>
                  <a:lnTo>
                    <a:pt x="434" y="226"/>
                  </a:lnTo>
                  <a:lnTo>
                    <a:pt x="411" y="230"/>
                  </a:lnTo>
                  <a:lnTo>
                    <a:pt x="388" y="232"/>
                  </a:lnTo>
                  <a:lnTo>
                    <a:pt x="376" y="233"/>
                  </a:lnTo>
                  <a:lnTo>
                    <a:pt x="365" y="233"/>
                  </a:lnTo>
                  <a:lnTo>
                    <a:pt x="341" y="233"/>
                  </a:lnTo>
                  <a:lnTo>
                    <a:pt x="366" y="238"/>
                  </a:lnTo>
                  <a:lnTo>
                    <a:pt x="378" y="240"/>
                  </a:lnTo>
                  <a:lnTo>
                    <a:pt x="391" y="242"/>
                  </a:lnTo>
                  <a:lnTo>
                    <a:pt x="403" y="243"/>
                  </a:lnTo>
                  <a:lnTo>
                    <a:pt x="416" y="244"/>
                  </a:lnTo>
                  <a:lnTo>
                    <a:pt x="428" y="244"/>
                  </a:lnTo>
                  <a:lnTo>
                    <a:pt x="441" y="244"/>
                  </a:lnTo>
                  <a:lnTo>
                    <a:pt x="453" y="244"/>
                  </a:lnTo>
                  <a:lnTo>
                    <a:pt x="464" y="245"/>
                  </a:lnTo>
                  <a:lnTo>
                    <a:pt x="474" y="247"/>
                  </a:lnTo>
                  <a:lnTo>
                    <a:pt x="484" y="251"/>
                  </a:lnTo>
                  <a:lnTo>
                    <a:pt x="494" y="255"/>
                  </a:lnTo>
                  <a:lnTo>
                    <a:pt x="504" y="260"/>
                  </a:lnTo>
                  <a:lnTo>
                    <a:pt x="513" y="266"/>
                  </a:lnTo>
                  <a:lnTo>
                    <a:pt x="522" y="273"/>
                  </a:lnTo>
                  <a:lnTo>
                    <a:pt x="523" y="275"/>
                  </a:lnTo>
                  <a:lnTo>
                    <a:pt x="524" y="277"/>
                  </a:lnTo>
                  <a:lnTo>
                    <a:pt x="523" y="279"/>
                  </a:lnTo>
                  <a:lnTo>
                    <a:pt x="522" y="280"/>
                  </a:lnTo>
                  <a:lnTo>
                    <a:pt x="521" y="281"/>
                  </a:lnTo>
                  <a:lnTo>
                    <a:pt x="519" y="282"/>
                  </a:lnTo>
                  <a:lnTo>
                    <a:pt x="518" y="282"/>
                  </a:lnTo>
                  <a:lnTo>
                    <a:pt x="516" y="281"/>
                  </a:lnTo>
                  <a:lnTo>
                    <a:pt x="507" y="274"/>
                  </a:lnTo>
                  <a:lnTo>
                    <a:pt x="499" y="269"/>
                  </a:lnTo>
                  <a:lnTo>
                    <a:pt x="490" y="264"/>
                  </a:lnTo>
                  <a:lnTo>
                    <a:pt x="481" y="260"/>
                  </a:lnTo>
                  <a:lnTo>
                    <a:pt x="472" y="257"/>
                  </a:lnTo>
                  <a:lnTo>
                    <a:pt x="462" y="255"/>
                  </a:lnTo>
                  <a:lnTo>
                    <a:pt x="452" y="253"/>
                  </a:lnTo>
                  <a:lnTo>
                    <a:pt x="442" y="253"/>
                  </a:lnTo>
                  <a:lnTo>
                    <a:pt x="419" y="253"/>
                  </a:lnTo>
                  <a:lnTo>
                    <a:pt x="396" y="252"/>
                  </a:lnTo>
                  <a:lnTo>
                    <a:pt x="374" y="249"/>
                  </a:lnTo>
                  <a:lnTo>
                    <a:pt x="352" y="245"/>
                  </a:lnTo>
                  <a:lnTo>
                    <a:pt x="502" y="307"/>
                  </a:lnTo>
                  <a:lnTo>
                    <a:pt x="504" y="309"/>
                  </a:lnTo>
                  <a:lnTo>
                    <a:pt x="505" y="310"/>
                  </a:lnTo>
                  <a:lnTo>
                    <a:pt x="505" y="312"/>
                  </a:lnTo>
                  <a:lnTo>
                    <a:pt x="505" y="314"/>
                  </a:lnTo>
                  <a:lnTo>
                    <a:pt x="504" y="315"/>
                  </a:lnTo>
                  <a:lnTo>
                    <a:pt x="502" y="316"/>
                  </a:lnTo>
                  <a:lnTo>
                    <a:pt x="501" y="317"/>
                  </a:lnTo>
                  <a:lnTo>
                    <a:pt x="500" y="316"/>
                  </a:lnTo>
                  <a:lnTo>
                    <a:pt x="499" y="316"/>
                  </a:lnTo>
                  <a:lnTo>
                    <a:pt x="380" y="267"/>
                  </a:lnTo>
                  <a:lnTo>
                    <a:pt x="477" y="317"/>
                  </a:lnTo>
                  <a:lnTo>
                    <a:pt x="479" y="319"/>
                  </a:lnTo>
                  <a:lnTo>
                    <a:pt x="480" y="320"/>
                  </a:lnTo>
                  <a:lnTo>
                    <a:pt x="480" y="322"/>
                  </a:lnTo>
                  <a:lnTo>
                    <a:pt x="479" y="324"/>
                  </a:lnTo>
                  <a:lnTo>
                    <a:pt x="478" y="325"/>
                  </a:lnTo>
                  <a:lnTo>
                    <a:pt x="477" y="326"/>
                  </a:lnTo>
                  <a:lnTo>
                    <a:pt x="475" y="326"/>
                  </a:lnTo>
                  <a:lnTo>
                    <a:pt x="473" y="326"/>
                  </a:lnTo>
                  <a:lnTo>
                    <a:pt x="304" y="238"/>
                  </a:lnTo>
                  <a:lnTo>
                    <a:pt x="418" y="347"/>
                  </a:lnTo>
                  <a:lnTo>
                    <a:pt x="419" y="349"/>
                  </a:lnTo>
                  <a:lnTo>
                    <a:pt x="420" y="350"/>
                  </a:lnTo>
                  <a:lnTo>
                    <a:pt x="419" y="352"/>
                  </a:lnTo>
                  <a:lnTo>
                    <a:pt x="418" y="354"/>
                  </a:lnTo>
                  <a:lnTo>
                    <a:pt x="417" y="355"/>
                  </a:lnTo>
                  <a:lnTo>
                    <a:pt x="415" y="355"/>
                  </a:lnTo>
                  <a:lnTo>
                    <a:pt x="413" y="355"/>
                  </a:lnTo>
                  <a:lnTo>
                    <a:pt x="412" y="355"/>
                  </a:lnTo>
                  <a:lnTo>
                    <a:pt x="412" y="354"/>
                  </a:lnTo>
                  <a:lnTo>
                    <a:pt x="302" y="249"/>
                  </a:lnTo>
                  <a:lnTo>
                    <a:pt x="348" y="331"/>
                  </a:lnTo>
                  <a:lnTo>
                    <a:pt x="349" y="333"/>
                  </a:lnTo>
                  <a:lnTo>
                    <a:pt x="349" y="335"/>
                  </a:lnTo>
                  <a:lnTo>
                    <a:pt x="348" y="337"/>
                  </a:lnTo>
                  <a:lnTo>
                    <a:pt x="347" y="338"/>
                  </a:lnTo>
                  <a:lnTo>
                    <a:pt x="345" y="338"/>
                  </a:lnTo>
                  <a:lnTo>
                    <a:pt x="343" y="338"/>
                  </a:lnTo>
                  <a:lnTo>
                    <a:pt x="342" y="337"/>
                  </a:lnTo>
                  <a:lnTo>
                    <a:pt x="340" y="336"/>
                  </a:lnTo>
                  <a:lnTo>
                    <a:pt x="307" y="278"/>
                  </a:lnTo>
                  <a:lnTo>
                    <a:pt x="333" y="342"/>
                  </a:lnTo>
                  <a:lnTo>
                    <a:pt x="333" y="344"/>
                  </a:lnTo>
                  <a:lnTo>
                    <a:pt x="332" y="345"/>
                  </a:lnTo>
                  <a:lnTo>
                    <a:pt x="331" y="347"/>
                  </a:lnTo>
                  <a:lnTo>
                    <a:pt x="330" y="348"/>
                  </a:lnTo>
                  <a:lnTo>
                    <a:pt x="328" y="348"/>
                  </a:lnTo>
                  <a:lnTo>
                    <a:pt x="326" y="348"/>
                  </a:lnTo>
                  <a:lnTo>
                    <a:pt x="325" y="347"/>
                  </a:lnTo>
                  <a:lnTo>
                    <a:pt x="324" y="345"/>
                  </a:lnTo>
                  <a:lnTo>
                    <a:pt x="277"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0" name="Freeform 1958"/>
            <p:cNvSpPr>
              <a:spLocks/>
            </p:cNvSpPr>
            <p:nvPr userDrawn="1"/>
          </p:nvSpPr>
          <p:spPr bwMode="auto">
            <a:xfrm>
              <a:off x="1065835" y="1882775"/>
              <a:ext cx="2381250" cy="3765550"/>
            </a:xfrm>
            <a:custGeom>
              <a:avLst/>
              <a:gdLst>
                <a:gd name="T0" fmla="*/ 460 w 1500"/>
                <a:gd name="T1" fmla="*/ 1507 h 2372"/>
                <a:gd name="T2" fmla="*/ 542 w 1500"/>
                <a:gd name="T3" fmla="*/ 1919 h 2372"/>
                <a:gd name="T4" fmla="*/ 668 w 1500"/>
                <a:gd name="T5" fmla="*/ 2372 h 2372"/>
                <a:gd name="T6" fmla="*/ 518 w 1500"/>
                <a:gd name="T7" fmla="*/ 1889 h 2372"/>
                <a:gd name="T8" fmla="*/ 444 w 1500"/>
                <a:gd name="T9" fmla="*/ 1510 h 2372"/>
                <a:gd name="T10" fmla="*/ 385 w 1500"/>
                <a:gd name="T11" fmla="*/ 1153 h 2372"/>
                <a:gd name="T12" fmla="*/ 186 w 1500"/>
                <a:gd name="T13" fmla="*/ 1111 h 2372"/>
                <a:gd name="T14" fmla="*/ 72 w 1500"/>
                <a:gd name="T15" fmla="*/ 1082 h 2372"/>
                <a:gd name="T16" fmla="*/ 262 w 1500"/>
                <a:gd name="T17" fmla="*/ 1056 h 2372"/>
                <a:gd name="T18" fmla="*/ 37 w 1500"/>
                <a:gd name="T19" fmla="*/ 916 h 2372"/>
                <a:gd name="T20" fmla="*/ 333 w 1500"/>
                <a:gd name="T21" fmla="*/ 1080 h 2372"/>
                <a:gd name="T22" fmla="*/ 332 w 1500"/>
                <a:gd name="T23" fmla="*/ 1001 h 2372"/>
                <a:gd name="T24" fmla="*/ 222 w 1500"/>
                <a:gd name="T25" fmla="*/ 883 h 2372"/>
                <a:gd name="T26" fmla="*/ 63 w 1500"/>
                <a:gd name="T27" fmla="*/ 779 h 2372"/>
                <a:gd name="T28" fmla="*/ 98 w 1500"/>
                <a:gd name="T29" fmla="*/ 779 h 2372"/>
                <a:gd name="T30" fmla="*/ 280 w 1500"/>
                <a:gd name="T31" fmla="*/ 917 h 2372"/>
                <a:gd name="T32" fmla="*/ 387 w 1500"/>
                <a:gd name="T33" fmla="*/ 1059 h 2372"/>
                <a:gd name="T34" fmla="*/ 276 w 1500"/>
                <a:gd name="T35" fmla="*/ 150 h 2372"/>
                <a:gd name="T36" fmla="*/ 439 w 1500"/>
                <a:gd name="T37" fmla="*/ 1081 h 2372"/>
                <a:gd name="T38" fmla="*/ 524 w 1500"/>
                <a:gd name="T39" fmla="*/ 734 h 2372"/>
                <a:gd name="T40" fmla="*/ 551 w 1500"/>
                <a:gd name="T41" fmla="*/ 405 h 2372"/>
                <a:gd name="T42" fmla="*/ 535 w 1500"/>
                <a:gd name="T43" fmla="*/ 157 h 2372"/>
                <a:gd name="T44" fmla="*/ 512 w 1500"/>
                <a:gd name="T45" fmla="*/ 0 h 2372"/>
                <a:gd name="T46" fmla="*/ 542 w 1500"/>
                <a:gd name="T47" fmla="*/ 99 h 2372"/>
                <a:gd name="T48" fmla="*/ 567 w 1500"/>
                <a:gd name="T49" fmla="*/ 405 h 2372"/>
                <a:gd name="T50" fmla="*/ 540 w 1500"/>
                <a:gd name="T51" fmla="*/ 736 h 2372"/>
                <a:gd name="T52" fmla="*/ 448 w 1500"/>
                <a:gd name="T53" fmla="*/ 1104 h 2372"/>
                <a:gd name="T54" fmla="*/ 688 w 1500"/>
                <a:gd name="T55" fmla="*/ 800 h 2372"/>
                <a:gd name="T56" fmla="*/ 865 w 1500"/>
                <a:gd name="T57" fmla="*/ 506 h 2372"/>
                <a:gd name="T58" fmla="*/ 969 w 1500"/>
                <a:gd name="T59" fmla="*/ 260 h 2372"/>
                <a:gd name="T60" fmla="*/ 1023 w 1500"/>
                <a:gd name="T61" fmla="*/ 99 h 2372"/>
                <a:gd name="T62" fmla="*/ 1012 w 1500"/>
                <a:gd name="T63" fmla="*/ 176 h 2372"/>
                <a:gd name="T64" fmla="*/ 920 w 1500"/>
                <a:gd name="T65" fmla="*/ 429 h 2372"/>
                <a:gd name="T66" fmla="*/ 774 w 1500"/>
                <a:gd name="T67" fmla="*/ 700 h 2372"/>
                <a:gd name="T68" fmla="*/ 533 w 1500"/>
                <a:gd name="T69" fmla="*/ 1031 h 2372"/>
                <a:gd name="T70" fmla="*/ 623 w 1500"/>
                <a:gd name="T71" fmla="*/ 967 h 2372"/>
                <a:gd name="T72" fmla="*/ 853 w 1500"/>
                <a:gd name="T73" fmla="*/ 694 h 2372"/>
                <a:gd name="T74" fmla="*/ 1044 w 1500"/>
                <a:gd name="T75" fmla="*/ 378 h 2372"/>
                <a:gd name="T76" fmla="*/ 1135 w 1500"/>
                <a:gd name="T77" fmla="*/ 160 h 2372"/>
                <a:gd name="T78" fmla="*/ 1147 w 1500"/>
                <a:gd name="T79" fmla="*/ 169 h 2372"/>
                <a:gd name="T80" fmla="*/ 989 w 1500"/>
                <a:gd name="T81" fmla="*/ 512 h 2372"/>
                <a:gd name="T82" fmla="*/ 747 w 1500"/>
                <a:gd name="T83" fmla="*/ 851 h 2372"/>
                <a:gd name="T84" fmla="*/ 635 w 1500"/>
                <a:gd name="T85" fmla="*/ 1001 h 2372"/>
                <a:gd name="T86" fmla="*/ 946 w 1500"/>
                <a:gd name="T87" fmla="*/ 756 h 2372"/>
                <a:gd name="T88" fmla="*/ 1109 w 1500"/>
                <a:gd name="T89" fmla="*/ 580 h 2372"/>
                <a:gd name="T90" fmla="*/ 1260 w 1500"/>
                <a:gd name="T91" fmla="*/ 483 h 2372"/>
                <a:gd name="T92" fmla="*/ 1390 w 1500"/>
                <a:gd name="T93" fmla="*/ 445 h 2372"/>
                <a:gd name="T94" fmla="*/ 1432 w 1500"/>
                <a:gd name="T95" fmla="*/ 452 h 2372"/>
                <a:gd name="T96" fmla="*/ 1280 w 1500"/>
                <a:gd name="T97" fmla="*/ 492 h 2372"/>
                <a:gd name="T98" fmla="*/ 1126 w 1500"/>
                <a:gd name="T99" fmla="*/ 585 h 2372"/>
                <a:gd name="T100" fmla="*/ 987 w 1500"/>
                <a:gd name="T101" fmla="*/ 738 h 2372"/>
                <a:gd name="T102" fmla="*/ 731 w 1500"/>
                <a:gd name="T103" fmla="*/ 953 h 2372"/>
                <a:gd name="T104" fmla="*/ 1497 w 1500"/>
                <a:gd name="T105" fmla="*/ 623 h 2372"/>
                <a:gd name="T106" fmla="*/ 1019 w 1500"/>
                <a:gd name="T107" fmla="*/ 905 h 2372"/>
                <a:gd name="T108" fmla="*/ 1452 w 1500"/>
                <a:gd name="T109" fmla="*/ 758 h 2372"/>
                <a:gd name="T110" fmla="*/ 1357 w 1500"/>
                <a:gd name="T111" fmla="*/ 1064 h 2372"/>
                <a:gd name="T112" fmla="*/ 1058 w 1500"/>
                <a:gd name="T113" fmla="*/ 1265 h 2372"/>
                <a:gd name="T114" fmla="*/ 1059 w 1500"/>
                <a:gd name="T115" fmla="*/ 1281 h 2372"/>
                <a:gd name="T116" fmla="*/ 1045 w 1500"/>
                <a:gd name="T117" fmla="*/ 1370 h 2372"/>
                <a:gd name="T118" fmla="*/ 431 w 1500"/>
                <a:gd name="T119" fmla="*/ 1156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0" h="2372">
                  <a:moveTo>
                    <a:pt x="429" y="1155"/>
                  </a:moveTo>
                  <a:lnTo>
                    <a:pt x="431" y="1210"/>
                  </a:lnTo>
                  <a:lnTo>
                    <a:pt x="434" y="1261"/>
                  </a:lnTo>
                  <a:lnTo>
                    <a:pt x="437" y="1310"/>
                  </a:lnTo>
                  <a:lnTo>
                    <a:pt x="442" y="1357"/>
                  </a:lnTo>
                  <a:lnTo>
                    <a:pt x="447" y="1405"/>
                  </a:lnTo>
                  <a:lnTo>
                    <a:pt x="450" y="1429"/>
                  </a:lnTo>
                  <a:lnTo>
                    <a:pt x="453" y="1454"/>
                  </a:lnTo>
                  <a:lnTo>
                    <a:pt x="460" y="1507"/>
                  </a:lnTo>
                  <a:lnTo>
                    <a:pt x="469" y="1564"/>
                  </a:lnTo>
                  <a:lnTo>
                    <a:pt x="475" y="1605"/>
                  </a:lnTo>
                  <a:lnTo>
                    <a:pt x="482" y="1645"/>
                  </a:lnTo>
                  <a:lnTo>
                    <a:pt x="495" y="1719"/>
                  </a:lnTo>
                  <a:lnTo>
                    <a:pt x="502" y="1754"/>
                  </a:lnTo>
                  <a:lnTo>
                    <a:pt x="510" y="1787"/>
                  </a:lnTo>
                  <a:lnTo>
                    <a:pt x="525" y="1853"/>
                  </a:lnTo>
                  <a:lnTo>
                    <a:pt x="533" y="1886"/>
                  </a:lnTo>
                  <a:lnTo>
                    <a:pt x="542" y="1919"/>
                  </a:lnTo>
                  <a:lnTo>
                    <a:pt x="551" y="1952"/>
                  </a:lnTo>
                  <a:lnTo>
                    <a:pt x="560" y="1986"/>
                  </a:lnTo>
                  <a:lnTo>
                    <a:pt x="581" y="2058"/>
                  </a:lnTo>
                  <a:lnTo>
                    <a:pt x="605" y="2136"/>
                  </a:lnTo>
                  <a:lnTo>
                    <a:pt x="625" y="2200"/>
                  </a:lnTo>
                  <a:lnTo>
                    <a:pt x="645" y="2261"/>
                  </a:lnTo>
                  <a:lnTo>
                    <a:pt x="665" y="2318"/>
                  </a:lnTo>
                  <a:lnTo>
                    <a:pt x="685" y="2372"/>
                  </a:lnTo>
                  <a:lnTo>
                    <a:pt x="668" y="2372"/>
                  </a:lnTo>
                  <a:lnTo>
                    <a:pt x="649" y="2319"/>
                  </a:lnTo>
                  <a:lnTo>
                    <a:pt x="629" y="2263"/>
                  </a:lnTo>
                  <a:lnTo>
                    <a:pt x="609" y="2204"/>
                  </a:lnTo>
                  <a:lnTo>
                    <a:pt x="600" y="2172"/>
                  </a:lnTo>
                  <a:lnTo>
                    <a:pt x="590" y="2140"/>
                  </a:lnTo>
                  <a:lnTo>
                    <a:pt x="566" y="2062"/>
                  </a:lnTo>
                  <a:lnTo>
                    <a:pt x="545" y="1990"/>
                  </a:lnTo>
                  <a:lnTo>
                    <a:pt x="526" y="1922"/>
                  </a:lnTo>
                  <a:lnTo>
                    <a:pt x="518" y="1889"/>
                  </a:lnTo>
                  <a:lnTo>
                    <a:pt x="509" y="1857"/>
                  </a:lnTo>
                  <a:lnTo>
                    <a:pt x="494" y="1791"/>
                  </a:lnTo>
                  <a:lnTo>
                    <a:pt x="487" y="1757"/>
                  </a:lnTo>
                  <a:lnTo>
                    <a:pt x="480" y="1722"/>
                  </a:lnTo>
                  <a:lnTo>
                    <a:pt x="473" y="1686"/>
                  </a:lnTo>
                  <a:lnTo>
                    <a:pt x="466" y="1647"/>
                  </a:lnTo>
                  <a:lnTo>
                    <a:pt x="459" y="1608"/>
                  </a:lnTo>
                  <a:lnTo>
                    <a:pt x="453" y="1567"/>
                  </a:lnTo>
                  <a:lnTo>
                    <a:pt x="444" y="1510"/>
                  </a:lnTo>
                  <a:lnTo>
                    <a:pt x="437" y="1457"/>
                  </a:lnTo>
                  <a:lnTo>
                    <a:pt x="431" y="1408"/>
                  </a:lnTo>
                  <a:lnTo>
                    <a:pt x="426" y="1361"/>
                  </a:lnTo>
                  <a:lnTo>
                    <a:pt x="422" y="1313"/>
                  </a:lnTo>
                  <a:lnTo>
                    <a:pt x="418" y="1265"/>
                  </a:lnTo>
                  <a:lnTo>
                    <a:pt x="415" y="1214"/>
                  </a:lnTo>
                  <a:lnTo>
                    <a:pt x="413" y="1160"/>
                  </a:lnTo>
                  <a:lnTo>
                    <a:pt x="410" y="1160"/>
                  </a:lnTo>
                  <a:lnTo>
                    <a:pt x="385" y="1153"/>
                  </a:lnTo>
                  <a:lnTo>
                    <a:pt x="0" y="1195"/>
                  </a:lnTo>
                  <a:lnTo>
                    <a:pt x="0" y="1178"/>
                  </a:lnTo>
                  <a:lnTo>
                    <a:pt x="340" y="1142"/>
                  </a:lnTo>
                  <a:lnTo>
                    <a:pt x="320" y="1137"/>
                  </a:lnTo>
                  <a:lnTo>
                    <a:pt x="300" y="1133"/>
                  </a:lnTo>
                  <a:lnTo>
                    <a:pt x="280" y="1128"/>
                  </a:lnTo>
                  <a:lnTo>
                    <a:pt x="261" y="1125"/>
                  </a:lnTo>
                  <a:lnTo>
                    <a:pt x="224" y="1118"/>
                  </a:lnTo>
                  <a:lnTo>
                    <a:pt x="186" y="1111"/>
                  </a:lnTo>
                  <a:lnTo>
                    <a:pt x="167" y="1109"/>
                  </a:lnTo>
                  <a:lnTo>
                    <a:pt x="148" y="1106"/>
                  </a:lnTo>
                  <a:lnTo>
                    <a:pt x="108" y="1102"/>
                  </a:lnTo>
                  <a:lnTo>
                    <a:pt x="65" y="1097"/>
                  </a:lnTo>
                  <a:lnTo>
                    <a:pt x="19" y="1094"/>
                  </a:lnTo>
                  <a:lnTo>
                    <a:pt x="0" y="1092"/>
                  </a:lnTo>
                  <a:lnTo>
                    <a:pt x="0" y="1076"/>
                  </a:lnTo>
                  <a:lnTo>
                    <a:pt x="21" y="1078"/>
                  </a:lnTo>
                  <a:lnTo>
                    <a:pt x="72" y="1082"/>
                  </a:lnTo>
                  <a:lnTo>
                    <a:pt x="120" y="1087"/>
                  </a:lnTo>
                  <a:lnTo>
                    <a:pt x="164" y="1092"/>
                  </a:lnTo>
                  <a:lnTo>
                    <a:pt x="207" y="1098"/>
                  </a:lnTo>
                  <a:lnTo>
                    <a:pt x="0" y="1048"/>
                  </a:lnTo>
                  <a:lnTo>
                    <a:pt x="0" y="1032"/>
                  </a:lnTo>
                  <a:lnTo>
                    <a:pt x="364" y="1120"/>
                  </a:lnTo>
                  <a:lnTo>
                    <a:pt x="338" y="1103"/>
                  </a:lnTo>
                  <a:lnTo>
                    <a:pt x="312" y="1086"/>
                  </a:lnTo>
                  <a:lnTo>
                    <a:pt x="262" y="1056"/>
                  </a:lnTo>
                  <a:lnTo>
                    <a:pt x="237" y="1041"/>
                  </a:lnTo>
                  <a:lnTo>
                    <a:pt x="210" y="1026"/>
                  </a:lnTo>
                  <a:lnTo>
                    <a:pt x="182" y="1010"/>
                  </a:lnTo>
                  <a:lnTo>
                    <a:pt x="151" y="993"/>
                  </a:lnTo>
                  <a:lnTo>
                    <a:pt x="71" y="951"/>
                  </a:lnTo>
                  <a:lnTo>
                    <a:pt x="35" y="933"/>
                  </a:lnTo>
                  <a:lnTo>
                    <a:pt x="0" y="916"/>
                  </a:lnTo>
                  <a:lnTo>
                    <a:pt x="0" y="899"/>
                  </a:lnTo>
                  <a:lnTo>
                    <a:pt x="37" y="916"/>
                  </a:lnTo>
                  <a:lnTo>
                    <a:pt x="75" y="935"/>
                  </a:lnTo>
                  <a:lnTo>
                    <a:pt x="115" y="956"/>
                  </a:lnTo>
                  <a:lnTo>
                    <a:pt x="158" y="979"/>
                  </a:lnTo>
                  <a:lnTo>
                    <a:pt x="208" y="1006"/>
                  </a:lnTo>
                  <a:lnTo>
                    <a:pt x="230" y="1018"/>
                  </a:lnTo>
                  <a:lnTo>
                    <a:pt x="251" y="1030"/>
                  </a:lnTo>
                  <a:lnTo>
                    <a:pt x="272" y="1043"/>
                  </a:lnTo>
                  <a:lnTo>
                    <a:pt x="292" y="1055"/>
                  </a:lnTo>
                  <a:lnTo>
                    <a:pt x="333" y="1080"/>
                  </a:lnTo>
                  <a:lnTo>
                    <a:pt x="0" y="817"/>
                  </a:lnTo>
                  <a:lnTo>
                    <a:pt x="0" y="797"/>
                  </a:lnTo>
                  <a:lnTo>
                    <a:pt x="393" y="1108"/>
                  </a:lnTo>
                  <a:lnTo>
                    <a:pt x="379" y="1078"/>
                  </a:lnTo>
                  <a:lnTo>
                    <a:pt x="371" y="1064"/>
                  </a:lnTo>
                  <a:lnTo>
                    <a:pt x="364" y="1051"/>
                  </a:lnTo>
                  <a:lnTo>
                    <a:pt x="348" y="1025"/>
                  </a:lnTo>
                  <a:lnTo>
                    <a:pt x="340" y="1013"/>
                  </a:lnTo>
                  <a:lnTo>
                    <a:pt x="332" y="1001"/>
                  </a:lnTo>
                  <a:lnTo>
                    <a:pt x="323" y="989"/>
                  </a:lnTo>
                  <a:lnTo>
                    <a:pt x="313" y="977"/>
                  </a:lnTo>
                  <a:lnTo>
                    <a:pt x="303" y="965"/>
                  </a:lnTo>
                  <a:lnTo>
                    <a:pt x="293" y="953"/>
                  </a:lnTo>
                  <a:lnTo>
                    <a:pt x="282" y="941"/>
                  </a:lnTo>
                  <a:lnTo>
                    <a:pt x="270" y="929"/>
                  </a:lnTo>
                  <a:lnTo>
                    <a:pt x="258" y="917"/>
                  </a:lnTo>
                  <a:lnTo>
                    <a:pt x="245" y="904"/>
                  </a:lnTo>
                  <a:lnTo>
                    <a:pt x="222" y="883"/>
                  </a:lnTo>
                  <a:lnTo>
                    <a:pt x="201" y="865"/>
                  </a:lnTo>
                  <a:lnTo>
                    <a:pt x="180" y="848"/>
                  </a:lnTo>
                  <a:lnTo>
                    <a:pt x="170" y="841"/>
                  </a:lnTo>
                  <a:lnTo>
                    <a:pt x="160" y="834"/>
                  </a:lnTo>
                  <a:lnTo>
                    <a:pt x="149" y="826"/>
                  </a:lnTo>
                  <a:lnTo>
                    <a:pt x="138" y="820"/>
                  </a:lnTo>
                  <a:lnTo>
                    <a:pt x="115" y="806"/>
                  </a:lnTo>
                  <a:lnTo>
                    <a:pt x="91" y="793"/>
                  </a:lnTo>
                  <a:lnTo>
                    <a:pt x="63" y="779"/>
                  </a:lnTo>
                  <a:lnTo>
                    <a:pt x="31" y="763"/>
                  </a:lnTo>
                  <a:lnTo>
                    <a:pt x="15" y="756"/>
                  </a:lnTo>
                  <a:lnTo>
                    <a:pt x="0" y="750"/>
                  </a:lnTo>
                  <a:lnTo>
                    <a:pt x="0" y="732"/>
                  </a:lnTo>
                  <a:lnTo>
                    <a:pt x="17" y="739"/>
                  </a:lnTo>
                  <a:lnTo>
                    <a:pt x="34" y="747"/>
                  </a:lnTo>
                  <a:lnTo>
                    <a:pt x="52" y="755"/>
                  </a:lnTo>
                  <a:lnTo>
                    <a:pt x="70" y="764"/>
                  </a:lnTo>
                  <a:lnTo>
                    <a:pt x="98" y="779"/>
                  </a:lnTo>
                  <a:lnTo>
                    <a:pt x="123" y="792"/>
                  </a:lnTo>
                  <a:lnTo>
                    <a:pt x="147" y="806"/>
                  </a:lnTo>
                  <a:lnTo>
                    <a:pt x="169" y="820"/>
                  </a:lnTo>
                  <a:lnTo>
                    <a:pt x="190" y="836"/>
                  </a:lnTo>
                  <a:lnTo>
                    <a:pt x="211" y="852"/>
                  </a:lnTo>
                  <a:lnTo>
                    <a:pt x="233" y="871"/>
                  </a:lnTo>
                  <a:lnTo>
                    <a:pt x="256" y="893"/>
                  </a:lnTo>
                  <a:lnTo>
                    <a:pt x="268" y="905"/>
                  </a:lnTo>
                  <a:lnTo>
                    <a:pt x="280" y="917"/>
                  </a:lnTo>
                  <a:lnTo>
                    <a:pt x="303" y="940"/>
                  </a:lnTo>
                  <a:lnTo>
                    <a:pt x="313" y="952"/>
                  </a:lnTo>
                  <a:lnTo>
                    <a:pt x="323" y="963"/>
                  </a:lnTo>
                  <a:lnTo>
                    <a:pt x="341" y="986"/>
                  </a:lnTo>
                  <a:lnTo>
                    <a:pt x="349" y="998"/>
                  </a:lnTo>
                  <a:lnTo>
                    <a:pt x="357" y="1009"/>
                  </a:lnTo>
                  <a:lnTo>
                    <a:pt x="373" y="1034"/>
                  </a:lnTo>
                  <a:lnTo>
                    <a:pt x="380" y="1046"/>
                  </a:lnTo>
                  <a:lnTo>
                    <a:pt x="387" y="1059"/>
                  </a:lnTo>
                  <a:lnTo>
                    <a:pt x="401" y="1087"/>
                  </a:lnTo>
                  <a:lnTo>
                    <a:pt x="335" y="623"/>
                  </a:lnTo>
                  <a:lnTo>
                    <a:pt x="269" y="159"/>
                  </a:lnTo>
                  <a:lnTo>
                    <a:pt x="269" y="157"/>
                  </a:lnTo>
                  <a:lnTo>
                    <a:pt x="270" y="156"/>
                  </a:lnTo>
                  <a:lnTo>
                    <a:pt x="270" y="154"/>
                  </a:lnTo>
                  <a:lnTo>
                    <a:pt x="271" y="153"/>
                  </a:lnTo>
                  <a:lnTo>
                    <a:pt x="273" y="151"/>
                  </a:lnTo>
                  <a:lnTo>
                    <a:pt x="276" y="150"/>
                  </a:lnTo>
                  <a:lnTo>
                    <a:pt x="279" y="150"/>
                  </a:lnTo>
                  <a:lnTo>
                    <a:pt x="282" y="151"/>
                  </a:lnTo>
                  <a:lnTo>
                    <a:pt x="284" y="154"/>
                  </a:lnTo>
                  <a:lnTo>
                    <a:pt x="285" y="157"/>
                  </a:lnTo>
                  <a:lnTo>
                    <a:pt x="353" y="637"/>
                  </a:lnTo>
                  <a:lnTo>
                    <a:pt x="421" y="1117"/>
                  </a:lnTo>
                  <a:lnTo>
                    <a:pt x="424" y="1117"/>
                  </a:lnTo>
                  <a:lnTo>
                    <a:pt x="425" y="1119"/>
                  </a:lnTo>
                  <a:lnTo>
                    <a:pt x="439" y="1081"/>
                  </a:lnTo>
                  <a:lnTo>
                    <a:pt x="450" y="1045"/>
                  </a:lnTo>
                  <a:lnTo>
                    <a:pt x="461" y="1011"/>
                  </a:lnTo>
                  <a:lnTo>
                    <a:pt x="471" y="977"/>
                  </a:lnTo>
                  <a:lnTo>
                    <a:pt x="480" y="943"/>
                  </a:lnTo>
                  <a:lnTo>
                    <a:pt x="488" y="908"/>
                  </a:lnTo>
                  <a:lnTo>
                    <a:pt x="497" y="870"/>
                  </a:lnTo>
                  <a:lnTo>
                    <a:pt x="506" y="828"/>
                  </a:lnTo>
                  <a:lnTo>
                    <a:pt x="516" y="779"/>
                  </a:lnTo>
                  <a:lnTo>
                    <a:pt x="524" y="734"/>
                  </a:lnTo>
                  <a:lnTo>
                    <a:pt x="531" y="691"/>
                  </a:lnTo>
                  <a:lnTo>
                    <a:pt x="537" y="650"/>
                  </a:lnTo>
                  <a:lnTo>
                    <a:pt x="542" y="608"/>
                  </a:lnTo>
                  <a:lnTo>
                    <a:pt x="544" y="587"/>
                  </a:lnTo>
                  <a:lnTo>
                    <a:pt x="546" y="565"/>
                  </a:lnTo>
                  <a:lnTo>
                    <a:pt x="548" y="519"/>
                  </a:lnTo>
                  <a:lnTo>
                    <a:pt x="550" y="469"/>
                  </a:lnTo>
                  <a:lnTo>
                    <a:pt x="551" y="436"/>
                  </a:lnTo>
                  <a:lnTo>
                    <a:pt x="551" y="405"/>
                  </a:lnTo>
                  <a:lnTo>
                    <a:pt x="551" y="375"/>
                  </a:lnTo>
                  <a:lnTo>
                    <a:pt x="551" y="346"/>
                  </a:lnTo>
                  <a:lnTo>
                    <a:pt x="550" y="318"/>
                  </a:lnTo>
                  <a:lnTo>
                    <a:pt x="549" y="291"/>
                  </a:lnTo>
                  <a:lnTo>
                    <a:pt x="547" y="264"/>
                  </a:lnTo>
                  <a:lnTo>
                    <a:pt x="545" y="237"/>
                  </a:lnTo>
                  <a:lnTo>
                    <a:pt x="542" y="211"/>
                  </a:lnTo>
                  <a:lnTo>
                    <a:pt x="539" y="184"/>
                  </a:lnTo>
                  <a:lnTo>
                    <a:pt x="535" y="157"/>
                  </a:lnTo>
                  <a:lnTo>
                    <a:pt x="531" y="130"/>
                  </a:lnTo>
                  <a:lnTo>
                    <a:pt x="526" y="102"/>
                  </a:lnTo>
                  <a:lnTo>
                    <a:pt x="521" y="72"/>
                  </a:lnTo>
                  <a:lnTo>
                    <a:pt x="508" y="10"/>
                  </a:lnTo>
                  <a:lnTo>
                    <a:pt x="507" y="6"/>
                  </a:lnTo>
                  <a:lnTo>
                    <a:pt x="509" y="3"/>
                  </a:lnTo>
                  <a:lnTo>
                    <a:pt x="510" y="2"/>
                  </a:lnTo>
                  <a:lnTo>
                    <a:pt x="511" y="1"/>
                  </a:lnTo>
                  <a:lnTo>
                    <a:pt x="512" y="0"/>
                  </a:lnTo>
                  <a:lnTo>
                    <a:pt x="514" y="0"/>
                  </a:lnTo>
                  <a:lnTo>
                    <a:pt x="517" y="0"/>
                  </a:lnTo>
                  <a:lnTo>
                    <a:pt x="519" y="1"/>
                  </a:lnTo>
                  <a:lnTo>
                    <a:pt x="522" y="3"/>
                  </a:lnTo>
                  <a:lnTo>
                    <a:pt x="523" y="4"/>
                  </a:lnTo>
                  <a:lnTo>
                    <a:pt x="523" y="6"/>
                  </a:lnTo>
                  <a:lnTo>
                    <a:pt x="530" y="39"/>
                  </a:lnTo>
                  <a:lnTo>
                    <a:pt x="536" y="69"/>
                  </a:lnTo>
                  <a:lnTo>
                    <a:pt x="542" y="99"/>
                  </a:lnTo>
                  <a:lnTo>
                    <a:pt x="547" y="128"/>
                  </a:lnTo>
                  <a:lnTo>
                    <a:pt x="555" y="182"/>
                  </a:lnTo>
                  <a:lnTo>
                    <a:pt x="561" y="236"/>
                  </a:lnTo>
                  <a:lnTo>
                    <a:pt x="563" y="262"/>
                  </a:lnTo>
                  <a:lnTo>
                    <a:pt x="565" y="290"/>
                  </a:lnTo>
                  <a:lnTo>
                    <a:pt x="566" y="318"/>
                  </a:lnTo>
                  <a:lnTo>
                    <a:pt x="567" y="346"/>
                  </a:lnTo>
                  <a:lnTo>
                    <a:pt x="567" y="375"/>
                  </a:lnTo>
                  <a:lnTo>
                    <a:pt x="567" y="405"/>
                  </a:lnTo>
                  <a:lnTo>
                    <a:pt x="567" y="436"/>
                  </a:lnTo>
                  <a:lnTo>
                    <a:pt x="566" y="469"/>
                  </a:lnTo>
                  <a:lnTo>
                    <a:pt x="564" y="520"/>
                  </a:lnTo>
                  <a:lnTo>
                    <a:pt x="562" y="566"/>
                  </a:lnTo>
                  <a:lnTo>
                    <a:pt x="560" y="588"/>
                  </a:lnTo>
                  <a:lnTo>
                    <a:pt x="558" y="610"/>
                  </a:lnTo>
                  <a:lnTo>
                    <a:pt x="553" y="652"/>
                  </a:lnTo>
                  <a:lnTo>
                    <a:pt x="547" y="693"/>
                  </a:lnTo>
                  <a:lnTo>
                    <a:pt x="540" y="736"/>
                  </a:lnTo>
                  <a:lnTo>
                    <a:pt x="531" y="782"/>
                  </a:lnTo>
                  <a:lnTo>
                    <a:pt x="521" y="832"/>
                  </a:lnTo>
                  <a:lnTo>
                    <a:pt x="505" y="907"/>
                  </a:lnTo>
                  <a:lnTo>
                    <a:pt x="497" y="941"/>
                  </a:lnTo>
                  <a:lnTo>
                    <a:pt x="488" y="973"/>
                  </a:lnTo>
                  <a:lnTo>
                    <a:pt x="480" y="1005"/>
                  </a:lnTo>
                  <a:lnTo>
                    <a:pt x="470" y="1037"/>
                  </a:lnTo>
                  <a:lnTo>
                    <a:pt x="459" y="1069"/>
                  </a:lnTo>
                  <a:lnTo>
                    <a:pt x="448" y="1104"/>
                  </a:lnTo>
                  <a:lnTo>
                    <a:pt x="473" y="1076"/>
                  </a:lnTo>
                  <a:lnTo>
                    <a:pt x="496" y="1050"/>
                  </a:lnTo>
                  <a:lnTo>
                    <a:pt x="518" y="1024"/>
                  </a:lnTo>
                  <a:lnTo>
                    <a:pt x="539" y="998"/>
                  </a:lnTo>
                  <a:lnTo>
                    <a:pt x="561" y="971"/>
                  </a:lnTo>
                  <a:lnTo>
                    <a:pt x="583" y="943"/>
                  </a:lnTo>
                  <a:lnTo>
                    <a:pt x="630" y="880"/>
                  </a:lnTo>
                  <a:lnTo>
                    <a:pt x="660" y="838"/>
                  </a:lnTo>
                  <a:lnTo>
                    <a:pt x="688" y="800"/>
                  </a:lnTo>
                  <a:lnTo>
                    <a:pt x="714" y="763"/>
                  </a:lnTo>
                  <a:lnTo>
                    <a:pt x="738" y="728"/>
                  </a:lnTo>
                  <a:lnTo>
                    <a:pt x="761" y="691"/>
                  </a:lnTo>
                  <a:lnTo>
                    <a:pt x="772" y="673"/>
                  </a:lnTo>
                  <a:lnTo>
                    <a:pt x="784" y="653"/>
                  </a:lnTo>
                  <a:lnTo>
                    <a:pt x="808" y="612"/>
                  </a:lnTo>
                  <a:lnTo>
                    <a:pt x="833" y="567"/>
                  </a:lnTo>
                  <a:lnTo>
                    <a:pt x="850" y="536"/>
                  </a:lnTo>
                  <a:lnTo>
                    <a:pt x="865" y="506"/>
                  </a:lnTo>
                  <a:lnTo>
                    <a:pt x="879" y="477"/>
                  </a:lnTo>
                  <a:lnTo>
                    <a:pt x="893" y="449"/>
                  </a:lnTo>
                  <a:lnTo>
                    <a:pt x="906" y="422"/>
                  </a:lnTo>
                  <a:lnTo>
                    <a:pt x="917" y="395"/>
                  </a:lnTo>
                  <a:lnTo>
                    <a:pt x="929" y="369"/>
                  </a:lnTo>
                  <a:lnTo>
                    <a:pt x="939" y="343"/>
                  </a:lnTo>
                  <a:lnTo>
                    <a:pt x="950" y="316"/>
                  </a:lnTo>
                  <a:lnTo>
                    <a:pt x="960" y="289"/>
                  </a:lnTo>
                  <a:lnTo>
                    <a:pt x="969" y="260"/>
                  </a:lnTo>
                  <a:lnTo>
                    <a:pt x="979" y="232"/>
                  </a:lnTo>
                  <a:lnTo>
                    <a:pt x="988" y="202"/>
                  </a:lnTo>
                  <a:lnTo>
                    <a:pt x="997" y="172"/>
                  </a:lnTo>
                  <a:lnTo>
                    <a:pt x="1006" y="139"/>
                  </a:lnTo>
                  <a:lnTo>
                    <a:pt x="1016" y="105"/>
                  </a:lnTo>
                  <a:lnTo>
                    <a:pt x="1016" y="103"/>
                  </a:lnTo>
                  <a:lnTo>
                    <a:pt x="1017" y="102"/>
                  </a:lnTo>
                  <a:lnTo>
                    <a:pt x="1020" y="100"/>
                  </a:lnTo>
                  <a:lnTo>
                    <a:pt x="1023" y="99"/>
                  </a:lnTo>
                  <a:lnTo>
                    <a:pt x="1026" y="100"/>
                  </a:lnTo>
                  <a:lnTo>
                    <a:pt x="1028" y="101"/>
                  </a:lnTo>
                  <a:lnTo>
                    <a:pt x="1030" y="103"/>
                  </a:lnTo>
                  <a:lnTo>
                    <a:pt x="1031" y="104"/>
                  </a:lnTo>
                  <a:lnTo>
                    <a:pt x="1031" y="106"/>
                  </a:lnTo>
                  <a:lnTo>
                    <a:pt x="1032" y="108"/>
                  </a:lnTo>
                  <a:lnTo>
                    <a:pt x="1031" y="109"/>
                  </a:lnTo>
                  <a:lnTo>
                    <a:pt x="1022" y="144"/>
                  </a:lnTo>
                  <a:lnTo>
                    <a:pt x="1012" y="176"/>
                  </a:lnTo>
                  <a:lnTo>
                    <a:pt x="1003" y="207"/>
                  </a:lnTo>
                  <a:lnTo>
                    <a:pt x="994" y="237"/>
                  </a:lnTo>
                  <a:lnTo>
                    <a:pt x="984" y="266"/>
                  </a:lnTo>
                  <a:lnTo>
                    <a:pt x="975" y="294"/>
                  </a:lnTo>
                  <a:lnTo>
                    <a:pt x="965" y="322"/>
                  </a:lnTo>
                  <a:lnTo>
                    <a:pt x="954" y="348"/>
                  </a:lnTo>
                  <a:lnTo>
                    <a:pt x="944" y="375"/>
                  </a:lnTo>
                  <a:lnTo>
                    <a:pt x="932" y="402"/>
                  </a:lnTo>
                  <a:lnTo>
                    <a:pt x="920" y="429"/>
                  </a:lnTo>
                  <a:lnTo>
                    <a:pt x="907" y="456"/>
                  </a:lnTo>
                  <a:lnTo>
                    <a:pt x="894" y="484"/>
                  </a:lnTo>
                  <a:lnTo>
                    <a:pt x="879" y="513"/>
                  </a:lnTo>
                  <a:lnTo>
                    <a:pt x="847" y="574"/>
                  </a:lnTo>
                  <a:lnTo>
                    <a:pt x="835" y="598"/>
                  </a:lnTo>
                  <a:lnTo>
                    <a:pt x="822" y="620"/>
                  </a:lnTo>
                  <a:lnTo>
                    <a:pt x="810" y="641"/>
                  </a:lnTo>
                  <a:lnTo>
                    <a:pt x="799" y="662"/>
                  </a:lnTo>
                  <a:lnTo>
                    <a:pt x="774" y="700"/>
                  </a:lnTo>
                  <a:lnTo>
                    <a:pt x="751" y="736"/>
                  </a:lnTo>
                  <a:lnTo>
                    <a:pt x="727" y="772"/>
                  </a:lnTo>
                  <a:lnTo>
                    <a:pt x="701" y="809"/>
                  </a:lnTo>
                  <a:lnTo>
                    <a:pt x="674" y="847"/>
                  </a:lnTo>
                  <a:lnTo>
                    <a:pt x="643" y="889"/>
                  </a:lnTo>
                  <a:lnTo>
                    <a:pt x="596" y="951"/>
                  </a:lnTo>
                  <a:lnTo>
                    <a:pt x="575" y="979"/>
                  </a:lnTo>
                  <a:lnTo>
                    <a:pt x="554" y="1005"/>
                  </a:lnTo>
                  <a:lnTo>
                    <a:pt x="533" y="1031"/>
                  </a:lnTo>
                  <a:lnTo>
                    <a:pt x="512" y="1056"/>
                  </a:lnTo>
                  <a:lnTo>
                    <a:pt x="489" y="1082"/>
                  </a:lnTo>
                  <a:lnTo>
                    <a:pt x="465" y="1109"/>
                  </a:lnTo>
                  <a:lnTo>
                    <a:pt x="472" y="1106"/>
                  </a:lnTo>
                  <a:lnTo>
                    <a:pt x="514" y="1070"/>
                  </a:lnTo>
                  <a:lnTo>
                    <a:pt x="552" y="1035"/>
                  </a:lnTo>
                  <a:lnTo>
                    <a:pt x="588" y="1001"/>
                  </a:lnTo>
                  <a:lnTo>
                    <a:pt x="606" y="984"/>
                  </a:lnTo>
                  <a:lnTo>
                    <a:pt x="623" y="967"/>
                  </a:lnTo>
                  <a:lnTo>
                    <a:pt x="640" y="949"/>
                  </a:lnTo>
                  <a:lnTo>
                    <a:pt x="657" y="931"/>
                  </a:lnTo>
                  <a:lnTo>
                    <a:pt x="691" y="893"/>
                  </a:lnTo>
                  <a:lnTo>
                    <a:pt x="727" y="851"/>
                  </a:lnTo>
                  <a:lnTo>
                    <a:pt x="765" y="805"/>
                  </a:lnTo>
                  <a:lnTo>
                    <a:pt x="798" y="766"/>
                  </a:lnTo>
                  <a:lnTo>
                    <a:pt x="827" y="729"/>
                  </a:lnTo>
                  <a:lnTo>
                    <a:pt x="840" y="712"/>
                  </a:lnTo>
                  <a:lnTo>
                    <a:pt x="853" y="694"/>
                  </a:lnTo>
                  <a:lnTo>
                    <a:pt x="878" y="660"/>
                  </a:lnTo>
                  <a:lnTo>
                    <a:pt x="890" y="643"/>
                  </a:lnTo>
                  <a:lnTo>
                    <a:pt x="902" y="625"/>
                  </a:lnTo>
                  <a:lnTo>
                    <a:pt x="926" y="588"/>
                  </a:lnTo>
                  <a:lnTo>
                    <a:pt x="950" y="548"/>
                  </a:lnTo>
                  <a:lnTo>
                    <a:pt x="976" y="504"/>
                  </a:lnTo>
                  <a:lnTo>
                    <a:pt x="1001" y="459"/>
                  </a:lnTo>
                  <a:lnTo>
                    <a:pt x="1023" y="418"/>
                  </a:lnTo>
                  <a:lnTo>
                    <a:pt x="1044" y="378"/>
                  </a:lnTo>
                  <a:lnTo>
                    <a:pt x="1062" y="339"/>
                  </a:lnTo>
                  <a:lnTo>
                    <a:pt x="1071" y="320"/>
                  </a:lnTo>
                  <a:lnTo>
                    <a:pt x="1080" y="300"/>
                  </a:lnTo>
                  <a:lnTo>
                    <a:pt x="1088" y="280"/>
                  </a:lnTo>
                  <a:lnTo>
                    <a:pt x="1096" y="258"/>
                  </a:lnTo>
                  <a:lnTo>
                    <a:pt x="1113" y="214"/>
                  </a:lnTo>
                  <a:lnTo>
                    <a:pt x="1131" y="165"/>
                  </a:lnTo>
                  <a:lnTo>
                    <a:pt x="1133" y="162"/>
                  </a:lnTo>
                  <a:lnTo>
                    <a:pt x="1135" y="160"/>
                  </a:lnTo>
                  <a:lnTo>
                    <a:pt x="1137" y="160"/>
                  </a:lnTo>
                  <a:lnTo>
                    <a:pt x="1138" y="160"/>
                  </a:lnTo>
                  <a:lnTo>
                    <a:pt x="1141" y="160"/>
                  </a:lnTo>
                  <a:lnTo>
                    <a:pt x="1143" y="161"/>
                  </a:lnTo>
                  <a:lnTo>
                    <a:pt x="1144" y="162"/>
                  </a:lnTo>
                  <a:lnTo>
                    <a:pt x="1146" y="164"/>
                  </a:lnTo>
                  <a:lnTo>
                    <a:pt x="1146" y="165"/>
                  </a:lnTo>
                  <a:lnTo>
                    <a:pt x="1147" y="167"/>
                  </a:lnTo>
                  <a:lnTo>
                    <a:pt x="1147" y="169"/>
                  </a:lnTo>
                  <a:lnTo>
                    <a:pt x="1146" y="170"/>
                  </a:lnTo>
                  <a:lnTo>
                    <a:pt x="1128" y="219"/>
                  </a:lnTo>
                  <a:lnTo>
                    <a:pt x="1111" y="264"/>
                  </a:lnTo>
                  <a:lnTo>
                    <a:pt x="1094" y="306"/>
                  </a:lnTo>
                  <a:lnTo>
                    <a:pt x="1077" y="346"/>
                  </a:lnTo>
                  <a:lnTo>
                    <a:pt x="1058" y="385"/>
                  </a:lnTo>
                  <a:lnTo>
                    <a:pt x="1038" y="425"/>
                  </a:lnTo>
                  <a:lnTo>
                    <a:pt x="1015" y="467"/>
                  </a:lnTo>
                  <a:lnTo>
                    <a:pt x="989" y="512"/>
                  </a:lnTo>
                  <a:lnTo>
                    <a:pt x="964" y="557"/>
                  </a:lnTo>
                  <a:lnTo>
                    <a:pt x="939" y="597"/>
                  </a:lnTo>
                  <a:lnTo>
                    <a:pt x="915" y="634"/>
                  </a:lnTo>
                  <a:lnTo>
                    <a:pt x="891" y="669"/>
                  </a:lnTo>
                  <a:lnTo>
                    <a:pt x="866" y="704"/>
                  </a:lnTo>
                  <a:lnTo>
                    <a:pt x="840" y="739"/>
                  </a:lnTo>
                  <a:lnTo>
                    <a:pt x="810" y="776"/>
                  </a:lnTo>
                  <a:lnTo>
                    <a:pt x="777" y="816"/>
                  </a:lnTo>
                  <a:lnTo>
                    <a:pt x="747" y="851"/>
                  </a:lnTo>
                  <a:lnTo>
                    <a:pt x="719" y="885"/>
                  </a:lnTo>
                  <a:lnTo>
                    <a:pt x="692" y="916"/>
                  </a:lnTo>
                  <a:lnTo>
                    <a:pt x="666" y="945"/>
                  </a:lnTo>
                  <a:lnTo>
                    <a:pt x="639" y="973"/>
                  </a:lnTo>
                  <a:lnTo>
                    <a:pt x="613" y="1000"/>
                  </a:lnTo>
                  <a:lnTo>
                    <a:pt x="585" y="1026"/>
                  </a:lnTo>
                  <a:lnTo>
                    <a:pt x="557" y="1053"/>
                  </a:lnTo>
                  <a:lnTo>
                    <a:pt x="610" y="1018"/>
                  </a:lnTo>
                  <a:lnTo>
                    <a:pt x="635" y="1001"/>
                  </a:lnTo>
                  <a:lnTo>
                    <a:pt x="659" y="985"/>
                  </a:lnTo>
                  <a:lnTo>
                    <a:pt x="682" y="968"/>
                  </a:lnTo>
                  <a:lnTo>
                    <a:pt x="706" y="951"/>
                  </a:lnTo>
                  <a:lnTo>
                    <a:pt x="751" y="917"/>
                  </a:lnTo>
                  <a:lnTo>
                    <a:pt x="774" y="900"/>
                  </a:lnTo>
                  <a:lnTo>
                    <a:pt x="798" y="881"/>
                  </a:lnTo>
                  <a:lnTo>
                    <a:pt x="845" y="843"/>
                  </a:lnTo>
                  <a:lnTo>
                    <a:pt x="894" y="802"/>
                  </a:lnTo>
                  <a:lnTo>
                    <a:pt x="946" y="756"/>
                  </a:lnTo>
                  <a:lnTo>
                    <a:pt x="962" y="741"/>
                  </a:lnTo>
                  <a:lnTo>
                    <a:pt x="977" y="726"/>
                  </a:lnTo>
                  <a:lnTo>
                    <a:pt x="992" y="710"/>
                  </a:lnTo>
                  <a:lnTo>
                    <a:pt x="1006" y="695"/>
                  </a:lnTo>
                  <a:lnTo>
                    <a:pt x="1059" y="632"/>
                  </a:lnTo>
                  <a:lnTo>
                    <a:pt x="1073" y="617"/>
                  </a:lnTo>
                  <a:lnTo>
                    <a:pt x="1087" y="602"/>
                  </a:lnTo>
                  <a:lnTo>
                    <a:pt x="1101" y="587"/>
                  </a:lnTo>
                  <a:lnTo>
                    <a:pt x="1109" y="580"/>
                  </a:lnTo>
                  <a:lnTo>
                    <a:pt x="1116" y="572"/>
                  </a:lnTo>
                  <a:lnTo>
                    <a:pt x="1132" y="559"/>
                  </a:lnTo>
                  <a:lnTo>
                    <a:pt x="1150" y="545"/>
                  </a:lnTo>
                  <a:lnTo>
                    <a:pt x="1168" y="533"/>
                  </a:lnTo>
                  <a:lnTo>
                    <a:pt x="1187" y="521"/>
                  </a:lnTo>
                  <a:lnTo>
                    <a:pt x="1218" y="504"/>
                  </a:lnTo>
                  <a:lnTo>
                    <a:pt x="1232" y="497"/>
                  </a:lnTo>
                  <a:lnTo>
                    <a:pt x="1246" y="490"/>
                  </a:lnTo>
                  <a:lnTo>
                    <a:pt x="1260" y="483"/>
                  </a:lnTo>
                  <a:lnTo>
                    <a:pt x="1274" y="478"/>
                  </a:lnTo>
                  <a:lnTo>
                    <a:pt x="1281" y="475"/>
                  </a:lnTo>
                  <a:lnTo>
                    <a:pt x="1288" y="472"/>
                  </a:lnTo>
                  <a:lnTo>
                    <a:pt x="1301" y="467"/>
                  </a:lnTo>
                  <a:lnTo>
                    <a:pt x="1315" y="463"/>
                  </a:lnTo>
                  <a:lnTo>
                    <a:pt x="1329" y="459"/>
                  </a:lnTo>
                  <a:lnTo>
                    <a:pt x="1344" y="455"/>
                  </a:lnTo>
                  <a:lnTo>
                    <a:pt x="1358" y="451"/>
                  </a:lnTo>
                  <a:lnTo>
                    <a:pt x="1390" y="445"/>
                  </a:lnTo>
                  <a:lnTo>
                    <a:pt x="1424" y="440"/>
                  </a:lnTo>
                  <a:lnTo>
                    <a:pt x="1426" y="440"/>
                  </a:lnTo>
                  <a:lnTo>
                    <a:pt x="1428" y="440"/>
                  </a:lnTo>
                  <a:lnTo>
                    <a:pt x="1429" y="441"/>
                  </a:lnTo>
                  <a:lnTo>
                    <a:pt x="1430" y="441"/>
                  </a:lnTo>
                  <a:lnTo>
                    <a:pt x="1432" y="444"/>
                  </a:lnTo>
                  <a:lnTo>
                    <a:pt x="1433" y="447"/>
                  </a:lnTo>
                  <a:lnTo>
                    <a:pt x="1433" y="450"/>
                  </a:lnTo>
                  <a:lnTo>
                    <a:pt x="1432" y="452"/>
                  </a:lnTo>
                  <a:lnTo>
                    <a:pt x="1430" y="454"/>
                  </a:lnTo>
                  <a:lnTo>
                    <a:pt x="1426" y="456"/>
                  </a:lnTo>
                  <a:lnTo>
                    <a:pt x="1393" y="461"/>
                  </a:lnTo>
                  <a:lnTo>
                    <a:pt x="1362" y="467"/>
                  </a:lnTo>
                  <a:lnTo>
                    <a:pt x="1334" y="474"/>
                  </a:lnTo>
                  <a:lnTo>
                    <a:pt x="1320" y="478"/>
                  </a:lnTo>
                  <a:lnTo>
                    <a:pt x="1306" y="483"/>
                  </a:lnTo>
                  <a:lnTo>
                    <a:pt x="1293" y="487"/>
                  </a:lnTo>
                  <a:lnTo>
                    <a:pt x="1280" y="492"/>
                  </a:lnTo>
                  <a:lnTo>
                    <a:pt x="1267" y="498"/>
                  </a:lnTo>
                  <a:lnTo>
                    <a:pt x="1253" y="504"/>
                  </a:lnTo>
                  <a:lnTo>
                    <a:pt x="1225" y="518"/>
                  </a:lnTo>
                  <a:lnTo>
                    <a:pt x="1195" y="535"/>
                  </a:lnTo>
                  <a:lnTo>
                    <a:pt x="1176" y="546"/>
                  </a:lnTo>
                  <a:lnTo>
                    <a:pt x="1158" y="559"/>
                  </a:lnTo>
                  <a:lnTo>
                    <a:pt x="1142" y="572"/>
                  </a:lnTo>
                  <a:lnTo>
                    <a:pt x="1134" y="579"/>
                  </a:lnTo>
                  <a:lnTo>
                    <a:pt x="1126" y="585"/>
                  </a:lnTo>
                  <a:lnTo>
                    <a:pt x="1111" y="600"/>
                  </a:lnTo>
                  <a:lnTo>
                    <a:pt x="1104" y="607"/>
                  </a:lnTo>
                  <a:lnTo>
                    <a:pt x="1097" y="614"/>
                  </a:lnTo>
                  <a:lnTo>
                    <a:pt x="1083" y="629"/>
                  </a:lnTo>
                  <a:lnTo>
                    <a:pt x="1069" y="645"/>
                  </a:lnTo>
                  <a:lnTo>
                    <a:pt x="1043" y="676"/>
                  </a:lnTo>
                  <a:lnTo>
                    <a:pt x="1016" y="707"/>
                  </a:lnTo>
                  <a:lnTo>
                    <a:pt x="1002" y="723"/>
                  </a:lnTo>
                  <a:lnTo>
                    <a:pt x="987" y="738"/>
                  </a:lnTo>
                  <a:lnTo>
                    <a:pt x="972" y="753"/>
                  </a:lnTo>
                  <a:lnTo>
                    <a:pt x="957" y="768"/>
                  </a:lnTo>
                  <a:lnTo>
                    <a:pt x="907" y="811"/>
                  </a:lnTo>
                  <a:lnTo>
                    <a:pt x="884" y="831"/>
                  </a:lnTo>
                  <a:lnTo>
                    <a:pt x="861" y="850"/>
                  </a:lnTo>
                  <a:lnTo>
                    <a:pt x="839" y="869"/>
                  </a:lnTo>
                  <a:lnTo>
                    <a:pt x="817" y="886"/>
                  </a:lnTo>
                  <a:lnTo>
                    <a:pt x="773" y="920"/>
                  </a:lnTo>
                  <a:lnTo>
                    <a:pt x="731" y="953"/>
                  </a:lnTo>
                  <a:lnTo>
                    <a:pt x="687" y="984"/>
                  </a:lnTo>
                  <a:lnTo>
                    <a:pt x="643" y="1015"/>
                  </a:lnTo>
                  <a:lnTo>
                    <a:pt x="619" y="1031"/>
                  </a:lnTo>
                  <a:lnTo>
                    <a:pt x="595" y="1047"/>
                  </a:lnTo>
                  <a:lnTo>
                    <a:pt x="1042" y="834"/>
                  </a:lnTo>
                  <a:lnTo>
                    <a:pt x="1488" y="622"/>
                  </a:lnTo>
                  <a:lnTo>
                    <a:pt x="1492" y="621"/>
                  </a:lnTo>
                  <a:lnTo>
                    <a:pt x="1495" y="622"/>
                  </a:lnTo>
                  <a:lnTo>
                    <a:pt x="1497" y="623"/>
                  </a:lnTo>
                  <a:lnTo>
                    <a:pt x="1499" y="626"/>
                  </a:lnTo>
                  <a:lnTo>
                    <a:pt x="1500" y="629"/>
                  </a:lnTo>
                  <a:lnTo>
                    <a:pt x="1499" y="632"/>
                  </a:lnTo>
                  <a:lnTo>
                    <a:pt x="1499" y="633"/>
                  </a:lnTo>
                  <a:lnTo>
                    <a:pt x="1498" y="634"/>
                  </a:lnTo>
                  <a:lnTo>
                    <a:pt x="1495" y="636"/>
                  </a:lnTo>
                  <a:lnTo>
                    <a:pt x="1045" y="850"/>
                  </a:lnTo>
                  <a:lnTo>
                    <a:pt x="595" y="1065"/>
                  </a:lnTo>
                  <a:lnTo>
                    <a:pt x="1019" y="905"/>
                  </a:lnTo>
                  <a:lnTo>
                    <a:pt x="1442" y="746"/>
                  </a:lnTo>
                  <a:lnTo>
                    <a:pt x="1444" y="746"/>
                  </a:lnTo>
                  <a:lnTo>
                    <a:pt x="1445" y="746"/>
                  </a:lnTo>
                  <a:lnTo>
                    <a:pt x="1448" y="747"/>
                  </a:lnTo>
                  <a:lnTo>
                    <a:pt x="1451" y="749"/>
                  </a:lnTo>
                  <a:lnTo>
                    <a:pt x="1452" y="751"/>
                  </a:lnTo>
                  <a:lnTo>
                    <a:pt x="1453" y="754"/>
                  </a:lnTo>
                  <a:lnTo>
                    <a:pt x="1452" y="757"/>
                  </a:lnTo>
                  <a:lnTo>
                    <a:pt x="1452" y="758"/>
                  </a:lnTo>
                  <a:lnTo>
                    <a:pt x="1451" y="760"/>
                  </a:lnTo>
                  <a:lnTo>
                    <a:pt x="1448" y="761"/>
                  </a:lnTo>
                  <a:lnTo>
                    <a:pt x="959" y="945"/>
                  </a:lnTo>
                  <a:lnTo>
                    <a:pt x="469" y="1129"/>
                  </a:lnTo>
                  <a:lnTo>
                    <a:pt x="910" y="1095"/>
                  </a:lnTo>
                  <a:lnTo>
                    <a:pt x="1351" y="1062"/>
                  </a:lnTo>
                  <a:lnTo>
                    <a:pt x="1352" y="1062"/>
                  </a:lnTo>
                  <a:lnTo>
                    <a:pt x="1354" y="1062"/>
                  </a:lnTo>
                  <a:lnTo>
                    <a:pt x="1357" y="1064"/>
                  </a:lnTo>
                  <a:lnTo>
                    <a:pt x="1358" y="1066"/>
                  </a:lnTo>
                  <a:lnTo>
                    <a:pt x="1359" y="1069"/>
                  </a:lnTo>
                  <a:lnTo>
                    <a:pt x="1359" y="1072"/>
                  </a:lnTo>
                  <a:lnTo>
                    <a:pt x="1358" y="1075"/>
                  </a:lnTo>
                  <a:lnTo>
                    <a:pt x="1355" y="1077"/>
                  </a:lnTo>
                  <a:lnTo>
                    <a:pt x="1352" y="1078"/>
                  </a:lnTo>
                  <a:lnTo>
                    <a:pt x="927" y="1111"/>
                  </a:lnTo>
                  <a:lnTo>
                    <a:pt x="502" y="1144"/>
                  </a:lnTo>
                  <a:lnTo>
                    <a:pt x="1058" y="1265"/>
                  </a:lnTo>
                  <a:lnTo>
                    <a:pt x="1060" y="1266"/>
                  </a:lnTo>
                  <a:lnTo>
                    <a:pt x="1062" y="1266"/>
                  </a:lnTo>
                  <a:lnTo>
                    <a:pt x="1064" y="1269"/>
                  </a:lnTo>
                  <a:lnTo>
                    <a:pt x="1065" y="1272"/>
                  </a:lnTo>
                  <a:lnTo>
                    <a:pt x="1065" y="1273"/>
                  </a:lnTo>
                  <a:lnTo>
                    <a:pt x="1064" y="1275"/>
                  </a:lnTo>
                  <a:lnTo>
                    <a:pt x="1063" y="1277"/>
                  </a:lnTo>
                  <a:lnTo>
                    <a:pt x="1061" y="1279"/>
                  </a:lnTo>
                  <a:lnTo>
                    <a:pt x="1059" y="1281"/>
                  </a:lnTo>
                  <a:lnTo>
                    <a:pt x="1055" y="1281"/>
                  </a:lnTo>
                  <a:lnTo>
                    <a:pt x="519" y="1164"/>
                  </a:lnTo>
                  <a:lnTo>
                    <a:pt x="1042" y="1357"/>
                  </a:lnTo>
                  <a:lnTo>
                    <a:pt x="1045" y="1359"/>
                  </a:lnTo>
                  <a:lnTo>
                    <a:pt x="1047" y="1361"/>
                  </a:lnTo>
                  <a:lnTo>
                    <a:pt x="1047" y="1364"/>
                  </a:lnTo>
                  <a:lnTo>
                    <a:pt x="1047" y="1367"/>
                  </a:lnTo>
                  <a:lnTo>
                    <a:pt x="1046" y="1369"/>
                  </a:lnTo>
                  <a:lnTo>
                    <a:pt x="1045" y="1370"/>
                  </a:lnTo>
                  <a:lnTo>
                    <a:pt x="1043" y="1372"/>
                  </a:lnTo>
                  <a:lnTo>
                    <a:pt x="1040" y="1373"/>
                  </a:lnTo>
                  <a:lnTo>
                    <a:pt x="1038" y="1372"/>
                  </a:lnTo>
                  <a:lnTo>
                    <a:pt x="1036" y="1372"/>
                  </a:lnTo>
                  <a:lnTo>
                    <a:pt x="441" y="1152"/>
                  </a:lnTo>
                  <a:lnTo>
                    <a:pt x="439" y="1154"/>
                  </a:lnTo>
                  <a:lnTo>
                    <a:pt x="436" y="1156"/>
                  </a:lnTo>
                  <a:lnTo>
                    <a:pt x="433" y="1156"/>
                  </a:lnTo>
                  <a:lnTo>
                    <a:pt x="431" y="1156"/>
                  </a:lnTo>
                  <a:lnTo>
                    <a:pt x="429" y="1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Title 1"/>
          <p:cNvSpPr>
            <a:spLocks noGrp="1"/>
          </p:cNvSpPr>
          <p:nvPr>
            <p:ph type="ctrTitle"/>
          </p:nvPr>
        </p:nvSpPr>
        <p:spPr>
          <a:xfrm>
            <a:off x="623887" y="1916832"/>
            <a:ext cx="10944226" cy="1512168"/>
          </a:xfrm>
        </p:spPr>
        <p:txBody>
          <a:bodyPr anchor="b"/>
          <a:lstStyle>
            <a:lvl1pPr algn="ctr">
              <a:defRPr sz="4000" b="1" spc="-100" baseline="0"/>
            </a:lvl1pPr>
          </a:lstStyle>
          <a:p>
            <a:r>
              <a:rPr lang="en-US"/>
              <a:t>Click to edit Master title style</a:t>
            </a:r>
            <a:endParaRPr lang="fi-FI" dirty="0"/>
          </a:p>
        </p:txBody>
      </p:sp>
      <p:sp>
        <p:nvSpPr>
          <p:cNvPr id="3" name="Subtitle 2"/>
          <p:cNvSpPr>
            <a:spLocks noGrp="1"/>
          </p:cNvSpPr>
          <p:nvPr>
            <p:ph type="subTitle" idx="1"/>
          </p:nvPr>
        </p:nvSpPr>
        <p:spPr>
          <a:xfrm>
            <a:off x="623887" y="3645024"/>
            <a:ext cx="10944225" cy="1584201"/>
          </a:xfrm>
        </p:spPr>
        <p:txBody>
          <a:bodyPr/>
          <a:lstStyle>
            <a:lvl1pPr marL="0" indent="0" algn="ctr">
              <a:buNone/>
              <a:defRPr sz="1400"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
        <p:nvSpPr>
          <p:cNvPr id="4" name="Date Placeholder 3"/>
          <p:cNvSpPr>
            <a:spLocks noGrp="1"/>
          </p:cNvSpPr>
          <p:nvPr>
            <p:ph type="dt" sz="half" idx="10"/>
          </p:nvPr>
        </p:nvSpPr>
        <p:spPr/>
        <p:txBody>
          <a:bodyPr/>
          <a:lstStyle>
            <a:lvl1pPr>
              <a:defRPr>
                <a:noFill/>
              </a:defRPr>
            </a:lvl1pPr>
          </a:lstStyle>
          <a:p>
            <a:fld id="{61DD5336-8B1C-4092-8BF4-89B22727A32A}" type="datetime4">
              <a:rPr lang="en-GB" smtClean="0"/>
              <a:t>16 February 2023</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CONFIDENTIAL</a:t>
            </a:r>
          </a:p>
        </p:txBody>
      </p:sp>
      <p:sp>
        <p:nvSpPr>
          <p:cNvPr id="6" name="Slide Number Placeholder 5"/>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1" name="Text Placeholder 11"/>
          <p:cNvSpPr>
            <a:spLocks noGrp="1"/>
          </p:cNvSpPr>
          <p:nvPr>
            <p:ph type="body" sz="quarter" idx="14" hasCustomPrompt="1"/>
          </p:nvPr>
        </p:nvSpPr>
        <p:spPr>
          <a:xfrm>
            <a:off x="623889" y="5445224"/>
            <a:ext cx="10944224" cy="432048"/>
          </a:xfrm>
        </p:spPr>
        <p:txBody>
          <a:bodyPr anchor="t" anchorCtr="0"/>
          <a:lstStyle>
            <a:lvl1pPr marL="0" indent="0" algn="ctr">
              <a:lnSpc>
                <a:spcPct val="100000"/>
              </a:lnSpc>
              <a:spcBef>
                <a:spcPts val="200"/>
              </a:spcBef>
              <a:buFontTx/>
              <a:buNone/>
              <a:defRPr sz="1200" b="0" cap="none" baseline="0">
                <a:solidFill>
                  <a:schemeClr val="tx1"/>
                </a:solidFill>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Date Place or other additional info</a:t>
            </a:r>
          </a:p>
        </p:txBody>
      </p:sp>
      <p:pic>
        <p:nvPicPr>
          <p:cNvPr id="21" name="Graphic 20">
            <a:extLst>
              <a:ext uri="{FF2B5EF4-FFF2-40B4-BE49-F238E27FC236}">
                <a16:creationId xmlns:a16="http://schemas.microsoft.com/office/drawing/2014/main" id="{1165B9C9-C4CA-4464-B6A7-60EE8766A7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96698"/>
            <a:ext cx="2397381" cy="958952"/>
          </a:xfrm>
          <a:prstGeom prst="rect">
            <a:avLst/>
          </a:prstGeom>
        </p:spPr>
      </p:pic>
    </p:spTree>
    <p:extLst>
      <p:ext uri="{BB962C8B-B14F-4D97-AF65-F5344CB8AC3E}">
        <p14:creationId xmlns:p14="http://schemas.microsoft.com/office/powerpoint/2010/main" val="284435408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1628775"/>
            <a:ext cx="10944225" cy="1800225"/>
          </a:xfrm>
        </p:spPr>
        <p:txBody>
          <a:bodyPr anchor="b" anchorCtr="0">
            <a:noAutofit/>
          </a:bodyPr>
          <a:lstStyle>
            <a:lvl1pPr algn="ctr">
              <a:defRPr sz="4000" b="1" spc="-100" baseline="0"/>
            </a:lvl1pPr>
          </a:lstStyle>
          <a:p>
            <a:r>
              <a:rPr lang="en-US"/>
              <a:t>Click to edit Master title style</a:t>
            </a:r>
            <a:endParaRPr lang="fi-FI" dirty="0"/>
          </a:p>
        </p:txBody>
      </p:sp>
      <p:sp>
        <p:nvSpPr>
          <p:cNvPr id="4" name="Date Placeholder 3"/>
          <p:cNvSpPr>
            <a:spLocks noGrp="1"/>
          </p:cNvSpPr>
          <p:nvPr>
            <p:ph type="dt" sz="half" idx="10"/>
          </p:nvPr>
        </p:nvSpPr>
        <p:spPr/>
        <p:txBody>
          <a:bodyPr/>
          <a:lstStyle/>
          <a:p>
            <a:fld id="{14D24486-96B2-4E39-80CD-A2B235D94672}" type="datetime4">
              <a:rPr lang="en-GB" smtClean="0"/>
              <a:t>16 February 2023</a:t>
            </a:fld>
            <a:endParaRPr lang="fi-FI"/>
          </a:p>
        </p:txBody>
      </p:sp>
      <p:sp>
        <p:nvSpPr>
          <p:cNvPr id="5" name="Footer Placeholder 4"/>
          <p:cNvSpPr>
            <a:spLocks noGrp="1"/>
          </p:cNvSpPr>
          <p:nvPr>
            <p:ph type="ftr" sz="quarter" idx="11"/>
          </p:nvPr>
        </p:nvSpPr>
        <p:spPr/>
        <p:txBody>
          <a:bodyPr/>
          <a:lstStyle/>
          <a:p>
            <a:r>
              <a:rPr lang="fi-FI"/>
              <a:t>CONFIDENTIAL</a:t>
            </a:r>
          </a:p>
        </p:txBody>
      </p:sp>
      <p:sp>
        <p:nvSpPr>
          <p:cNvPr id="6" name="Slide Number Placeholder 5"/>
          <p:cNvSpPr>
            <a:spLocks noGrp="1"/>
          </p:cNvSpPr>
          <p:nvPr>
            <p:ph type="sldNum" sz="quarter" idx="12"/>
          </p:nvPr>
        </p:nvSpPr>
        <p:spPr/>
        <p:txBody>
          <a:bodyPr/>
          <a:lstStyle/>
          <a:p>
            <a:fld id="{C681002B-9E36-49F2-803E-4F1D6FC85B63}" type="slidenum">
              <a:rPr lang="fi-FI" smtClean="0"/>
              <a:t>‹#›</a:t>
            </a:fld>
            <a:endParaRPr lang="fi-FI"/>
          </a:p>
        </p:txBody>
      </p:sp>
      <p:sp>
        <p:nvSpPr>
          <p:cNvPr id="9" name="Text Placeholder 27"/>
          <p:cNvSpPr>
            <a:spLocks noGrp="1"/>
          </p:cNvSpPr>
          <p:nvPr>
            <p:ph type="body" sz="quarter" idx="36" hasCustomPrompt="1"/>
          </p:nvPr>
        </p:nvSpPr>
        <p:spPr>
          <a:xfrm>
            <a:off x="623888" y="836713"/>
            <a:ext cx="10944225" cy="432047"/>
          </a:xfrm>
        </p:spPr>
        <p:txBody>
          <a:bodyPr/>
          <a:lstStyle>
            <a:lvl1pPr marL="0" indent="0" algn="ctr">
              <a:lnSpc>
                <a:spcPct val="100000"/>
              </a:lnSpc>
              <a:buFontTx/>
              <a:buNone/>
              <a:defRPr sz="1400" b="1" cap="all"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section</a:t>
            </a:r>
          </a:p>
        </p:txBody>
      </p:sp>
      <p:sp>
        <p:nvSpPr>
          <p:cNvPr id="10" name="Subtitle 2"/>
          <p:cNvSpPr>
            <a:spLocks noGrp="1"/>
          </p:cNvSpPr>
          <p:nvPr>
            <p:ph type="subTitle" idx="1"/>
          </p:nvPr>
        </p:nvSpPr>
        <p:spPr>
          <a:xfrm>
            <a:off x="623887" y="3645024"/>
            <a:ext cx="10944225" cy="1584201"/>
          </a:xfrm>
        </p:spPr>
        <p:txBody>
          <a:bodyPr/>
          <a:lstStyle>
            <a:lvl1pPr marL="0" indent="0" algn="ctr">
              <a:buNone/>
              <a:defRPr sz="1400"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Tree>
    <p:extLst>
      <p:ext uri="{BB962C8B-B14F-4D97-AF65-F5344CB8AC3E}">
        <p14:creationId xmlns:p14="http://schemas.microsoft.com/office/powerpoint/2010/main" val="54480929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Nega">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1628775"/>
            <a:ext cx="10944225" cy="1800225"/>
          </a:xfrm>
        </p:spPr>
        <p:txBody>
          <a:bodyPr anchor="b" anchorCtr="0">
            <a:noAutofit/>
          </a:bodyPr>
          <a:lstStyle>
            <a:lvl1pPr algn="ctr">
              <a:defRPr sz="4000" b="1" spc="-100" baseline="0">
                <a:solidFill>
                  <a:schemeClr val="bg1"/>
                </a:solidFill>
              </a:defRPr>
            </a:lvl1pPr>
          </a:lstStyle>
          <a:p>
            <a:r>
              <a:rPr lang="en-US"/>
              <a:t>Click to edit Master title style</a:t>
            </a:r>
            <a:endParaRPr lang="fi-FI" dirty="0"/>
          </a:p>
        </p:txBody>
      </p:sp>
      <p:sp>
        <p:nvSpPr>
          <p:cNvPr id="4" name="Date Placeholder 3"/>
          <p:cNvSpPr>
            <a:spLocks noGrp="1"/>
          </p:cNvSpPr>
          <p:nvPr>
            <p:ph type="dt" sz="half" idx="10"/>
          </p:nvPr>
        </p:nvSpPr>
        <p:spPr/>
        <p:txBody>
          <a:bodyPr/>
          <a:lstStyle>
            <a:lvl1pPr>
              <a:defRPr>
                <a:solidFill>
                  <a:schemeClr val="bg1"/>
                </a:solidFill>
              </a:defRPr>
            </a:lvl1pPr>
          </a:lstStyle>
          <a:p>
            <a:fld id="{1B33C5FA-BCB3-4065-AE37-9643F7EBAD68}" type="datetime4">
              <a:rPr lang="en-GB" smtClean="0"/>
              <a:t>16 February 2023</a:t>
            </a:fld>
            <a:endParaRPr lang="fi-FI"/>
          </a:p>
        </p:txBody>
      </p:sp>
      <p:sp>
        <p:nvSpPr>
          <p:cNvPr id="5" name="Footer Placeholder 4"/>
          <p:cNvSpPr>
            <a:spLocks noGrp="1"/>
          </p:cNvSpPr>
          <p:nvPr>
            <p:ph type="ftr" sz="quarter" idx="11"/>
          </p:nvPr>
        </p:nvSpPr>
        <p:spPr/>
        <p:txBody>
          <a:bodyPr/>
          <a:lstStyle>
            <a:lvl1pPr>
              <a:defRPr>
                <a:solidFill>
                  <a:schemeClr val="bg1"/>
                </a:solidFill>
              </a:defRPr>
            </a:lvl1pPr>
          </a:lstStyle>
          <a:p>
            <a:r>
              <a:rPr lang="fi-FI"/>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681002B-9E36-49F2-803E-4F1D6FC85B63}" type="slidenum">
              <a:rPr lang="fi-FI" smtClean="0"/>
              <a:pPr/>
              <a:t>‹#›</a:t>
            </a:fld>
            <a:endParaRPr lang="fi-FI"/>
          </a:p>
        </p:txBody>
      </p:sp>
      <p:sp>
        <p:nvSpPr>
          <p:cNvPr id="9" name="Text Placeholder 27"/>
          <p:cNvSpPr>
            <a:spLocks noGrp="1"/>
          </p:cNvSpPr>
          <p:nvPr>
            <p:ph type="body" sz="quarter" idx="36" hasCustomPrompt="1"/>
          </p:nvPr>
        </p:nvSpPr>
        <p:spPr>
          <a:xfrm>
            <a:off x="623888" y="836713"/>
            <a:ext cx="10944225" cy="432047"/>
          </a:xfrm>
        </p:spPr>
        <p:txBody>
          <a:bodyPr/>
          <a:lstStyle>
            <a:lvl1pPr marL="0" indent="0" algn="ctr">
              <a:lnSpc>
                <a:spcPct val="100000"/>
              </a:lnSpc>
              <a:buFontTx/>
              <a:buNone/>
              <a:defRPr sz="1400" b="1" cap="all" baseline="0">
                <a:solidFill>
                  <a:schemeClr val="bg1"/>
                </a:solidFill>
              </a:defRPr>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section</a:t>
            </a:r>
          </a:p>
        </p:txBody>
      </p:sp>
      <p:sp>
        <p:nvSpPr>
          <p:cNvPr id="10" name="Subtitle 2"/>
          <p:cNvSpPr>
            <a:spLocks noGrp="1"/>
          </p:cNvSpPr>
          <p:nvPr>
            <p:ph type="subTitle" idx="1"/>
          </p:nvPr>
        </p:nvSpPr>
        <p:spPr>
          <a:xfrm>
            <a:off x="623887" y="3645024"/>
            <a:ext cx="10944225" cy="1584201"/>
          </a:xfrm>
        </p:spPr>
        <p:txBody>
          <a:bodyPr/>
          <a:lstStyle>
            <a:lvl1pPr marL="0" indent="0" algn="ctr">
              <a:buNone/>
              <a:defRPr sz="14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Tree>
    <p:extLst>
      <p:ext uri="{BB962C8B-B14F-4D97-AF65-F5344CB8AC3E}">
        <p14:creationId xmlns:p14="http://schemas.microsoft.com/office/powerpoint/2010/main" val="119812569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Pictur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71579" y="2193703"/>
            <a:ext cx="10944225" cy="1800225"/>
          </a:xfrm>
        </p:spPr>
        <p:txBody>
          <a:bodyPr anchor="b" anchorCtr="0">
            <a:noAutofit/>
          </a:bodyPr>
          <a:lstStyle>
            <a:lvl1pPr algn="ctr">
              <a:defRPr sz="4000" b="1" spc="-100" baseline="0">
                <a:solidFill>
                  <a:schemeClr val="bg1"/>
                </a:solidFill>
              </a:defRPr>
            </a:lvl1pPr>
          </a:lstStyle>
          <a:p>
            <a:r>
              <a:rPr lang="en-US"/>
              <a:t>Click to edit Master title style</a:t>
            </a:r>
            <a:endParaRPr lang="fi-FI" dirty="0"/>
          </a:p>
        </p:txBody>
      </p:sp>
      <p:sp>
        <p:nvSpPr>
          <p:cNvPr id="4" name="Date Placeholder 3"/>
          <p:cNvSpPr>
            <a:spLocks noGrp="1"/>
          </p:cNvSpPr>
          <p:nvPr>
            <p:ph type="dt" sz="half" idx="10"/>
          </p:nvPr>
        </p:nvSpPr>
        <p:spPr/>
        <p:txBody>
          <a:bodyPr/>
          <a:lstStyle>
            <a:lvl1pPr>
              <a:defRPr>
                <a:solidFill>
                  <a:schemeClr val="bg1"/>
                </a:solidFill>
              </a:defRPr>
            </a:lvl1pPr>
          </a:lstStyle>
          <a:p>
            <a:fld id="{1B33C5FA-BCB3-4065-AE37-9643F7EBAD68}" type="datetime4">
              <a:rPr lang="en-GB" smtClean="0"/>
              <a:t>16 February 2023</a:t>
            </a:fld>
            <a:endParaRPr lang="fi-FI"/>
          </a:p>
        </p:txBody>
      </p:sp>
      <p:sp>
        <p:nvSpPr>
          <p:cNvPr id="5" name="Footer Placeholder 4"/>
          <p:cNvSpPr>
            <a:spLocks noGrp="1"/>
          </p:cNvSpPr>
          <p:nvPr>
            <p:ph type="ftr" sz="quarter" idx="11"/>
          </p:nvPr>
        </p:nvSpPr>
        <p:spPr/>
        <p:txBody>
          <a:bodyPr/>
          <a:lstStyle>
            <a:lvl1pPr>
              <a:defRPr>
                <a:solidFill>
                  <a:schemeClr val="bg1"/>
                </a:solidFill>
              </a:defRPr>
            </a:lvl1pPr>
          </a:lstStyle>
          <a:p>
            <a:r>
              <a:rPr lang="fi-FI"/>
              <a:t>CONFIDENTIAL</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681002B-9E36-49F2-803E-4F1D6FC85B63}" type="slidenum">
              <a:rPr lang="fi-FI" smtClean="0"/>
              <a:pPr/>
              <a:t>‹#›</a:t>
            </a:fld>
            <a:endParaRPr lang="fi-FI"/>
          </a:p>
        </p:txBody>
      </p:sp>
      <p:sp>
        <p:nvSpPr>
          <p:cNvPr id="9" name="Text Placeholder 27"/>
          <p:cNvSpPr>
            <a:spLocks noGrp="1"/>
          </p:cNvSpPr>
          <p:nvPr>
            <p:ph type="body" sz="quarter" idx="36" hasCustomPrompt="1"/>
          </p:nvPr>
        </p:nvSpPr>
        <p:spPr>
          <a:xfrm>
            <a:off x="671579" y="1678422"/>
            <a:ext cx="10944225" cy="432047"/>
          </a:xfrm>
        </p:spPr>
        <p:txBody>
          <a:bodyPr/>
          <a:lstStyle>
            <a:lvl1pPr marL="0" indent="0" algn="ctr">
              <a:lnSpc>
                <a:spcPct val="100000"/>
              </a:lnSpc>
              <a:buFontTx/>
              <a:buNone/>
              <a:defRPr sz="1400" b="1" cap="all" baseline="0">
                <a:solidFill>
                  <a:schemeClr val="bg1"/>
                </a:solidFill>
              </a:defRPr>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section</a:t>
            </a:r>
          </a:p>
        </p:txBody>
      </p:sp>
      <p:sp>
        <p:nvSpPr>
          <p:cNvPr id="10" name="Subtitle 2"/>
          <p:cNvSpPr>
            <a:spLocks noGrp="1"/>
          </p:cNvSpPr>
          <p:nvPr>
            <p:ph type="subTitle" idx="1"/>
          </p:nvPr>
        </p:nvSpPr>
        <p:spPr>
          <a:xfrm>
            <a:off x="624176" y="4220939"/>
            <a:ext cx="10944225" cy="1584201"/>
          </a:xfrm>
        </p:spPr>
        <p:txBody>
          <a:bodyPr/>
          <a:lstStyle>
            <a:lvl1pPr marL="0" indent="0" algn="ctr">
              <a:buNone/>
              <a:defRPr sz="14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fi-FI" dirty="0"/>
          </a:p>
        </p:txBody>
      </p:sp>
      <p:pic>
        <p:nvPicPr>
          <p:cNvPr id="12" name="Graphic 11">
            <a:extLst>
              <a:ext uri="{FF2B5EF4-FFF2-40B4-BE49-F238E27FC236}">
                <a16:creationId xmlns:a16="http://schemas.microsoft.com/office/drawing/2014/main" id="{B1959325-11CF-4329-950A-F765ECF4A2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945002" y="596698"/>
            <a:ext cx="2397381" cy="958952"/>
          </a:xfrm>
          <a:prstGeom prst="rect">
            <a:avLst/>
          </a:prstGeom>
        </p:spPr>
      </p:pic>
    </p:spTree>
    <p:extLst>
      <p:ext uri="{BB962C8B-B14F-4D97-AF65-F5344CB8AC3E}">
        <p14:creationId xmlns:p14="http://schemas.microsoft.com/office/powerpoint/2010/main" val="310489655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dirty="0"/>
          </a:p>
        </p:txBody>
      </p:sp>
      <p:sp>
        <p:nvSpPr>
          <p:cNvPr id="4" name="Date Placeholder 3"/>
          <p:cNvSpPr>
            <a:spLocks noGrp="1"/>
          </p:cNvSpPr>
          <p:nvPr>
            <p:ph type="dt" sz="half" idx="10"/>
          </p:nvPr>
        </p:nvSpPr>
        <p:spPr/>
        <p:txBody>
          <a:bodyPr/>
          <a:lstStyle/>
          <a:p>
            <a:fld id="{FAD8C7B6-6E39-4F35-B2FC-ABBDC5E79320}" type="datetime4">
              <a:rPr lang="en-GB" smtClean="0"/>
              <a:t>16 February 2023</a:t>
            </a:fld>
            <a:endParaRPr lang="fi-FI"/>
          </a:p>
        </p:txBody>
      </p:sp>
      <p:sp>
        <p:nvSpPr>
          <p:cNvPr id="5" name="Footer Placeholder 4"/>
          <p:cNvSpPr>
            <a:spLocks noGrp="1"/>
          </p:cNvSpPr>
          <p:nvPr>
            <p:ph type="ftr" sz="quarter" idx="11"/>
          </p:nvPr>
        </p:nvSpPr>
        <p:spPr/>
        <p:txBody>
          <a:bodyPr/>
          <a:lstStyle/>
          <a:p>
            <a:r>
              <a:rPr lang="fi-FI"/>
              <a:t>CONFIDENTIAL</a:t>
            </a:r>
          </a:p>
        </p:txBody>
      </p:sp>
      <p:sp>
        <p:nvSpPr>
          <p:cNvPr id="6" name="Slide Number Placeholder 5"/>
          <p:cNvSpPr>
            <a:spLocks noGrp="1"/>
          </p:cNvSpPr>
          <p:nvPr>
            <p:ph type="sldNum" sz="quarter" idx="12"/>
          </p:nvPr>
        </p:nvSpPr>
        <p:spPr/>
        <p:txBody>
          <a:bodyPr/>
          <a:lstStyle/>
          <a:p>
            <a:fld id="{C681002B-9E36-49F2-803E-4F1D6FC85B63}" type="slidenum">
              <a:rPr lang="fi-FI" smtClean="0"/>
              <a:t>‹#›</a:t>
            </a:fld>
            <a:endParaRPr lang="fi-FI"/>
          </a:p>
        </p:txBody>
      </p:sp>
      <p:sp>
        <p:nvSpPr>
          <p:cNvPr id="7" name="Text Placeholder 11"/>
          <p:cNvSpPr>
            <a:spLocks noGrp="1"/>
          </p:cNvSpPr>
          <p:nvPr>
            <p:ph type="body" sz="quarter" idx="15" hasCustomPrompt="1"/>
          </p:nvPr>
        </p:nvSpPr>
        <p:spPr>
          <a:xfrm>
            <a:off x="623888" y="404813"/>
            <a:ext cx="9001126" cy="215901"/>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8" name="Text Placeholder 7"/>
          <p:cNvSpPr>
            <a:spLocks noGrp="1"/>
          </p:cNvSpPr>
          <p:nvPr>
            <p:ph type="body" sz="quarter" idx="16"/>
          </p:nvPr>
        </p:nvSpPr>
        <p:spPr/>
        <p:txBody>
          <a:bodyPr numCol="2" spcCol="432000"/>
          <a:lstStyle>
            <a:lvl1pPr marL="361950" indent="-361950">
              <a:buFont typeface="+mj-lt"/>
              <a:buAutoNum type="arabicPeriod"/>
              <a:defRPr/>
            </a:lvl1pPr>
            <a:lvl2pPr marL="715963" indent="-354013">
              <a:buFont typeface="+mj-lt"/>
              <a:buAutoNum type="arabicPeriod"/>
              <a:defRPr/>
            </a:lvl2pPr>
            <a:lvl3pPr marL="1079500" indent="-366713">
              <a:buFont typeface="+mj-lt"/>
              <a:buAutoNum type="arabicPeriod"/>
              <a:defRPr/>
            </a:lvl3pPr>
            <a:lvl4pPr marL="1435100" indent="-355600">
              <a:buFont typeface="+mj-lt"/>
              <a:buAutoNum type="arabicPeriod"/>
              <a:defRPr/>
            </a:lvl4pPr>
            <a:lvl5pPr marL="1795463" indent="-361950">
              <a:buFont typeface="+mj-lt"/>
              <a:buAutoNum type="arabicPeriod"/>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034846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18 p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dirty="0"/>
          </a:p>
        </p:txBody>
      </p:sp>
      <p:sp>
        <p:nvSpPr>
          <p:cNvPr id="3" name="Content Placeholder 2"/>
          <p:cNvSpPr>
            <a:spLocks noGrp="1"/>
          </p:cNvSpPr>
          <p:nvPr>
            <p:ph sz="half" idx="1"/>
          </p:nvPr>
        </p:nvSpPr>
        <p:spPr>
          <a:xfrm>
            <a:off x="623887" y="1628775"/>
            <a:ext cx="5184775" cy="4392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 name="Content Placeholder 3"/>
          <p:cNvSpPr>
            <a:spLocks noGrp="1"/>
          </p:cNvSpPr>
          <p:nvPr>
            <p:ph sz="half" idx="2"/>
          </p:nvPr>
        </p:nvSpPr>
        <p:spPr>
          <a:xfrm>
            <a:off x="6383337" y="1628775"/>
            <a:ext cx="5184775" cy="4392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5" name="Date Placeholder 4"/>
          <p:cNvSpPr>
            <a:spLocks noGrp="1"/>
          </p:cNvSpPr>
          <p:nvPr>
            <p:ph type="dt" sz="half" idx="10"/>
          </p:nvPr>
        </p:nvSpPr>
        <p:spPr/>
        <p:txBody>
          <a:bodyPr/>
          <a:lstStyle/>
          <a:p>
            <a:fld id="{9A394588-F130-481C-B162-91C392C66BC4}"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1"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315659505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1 p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dirty="0"/>
          </a:p>
        </p:txBody>
      </p:sp>
      <p:sp>
        <p:nvSpPr>
          <p:cNvPr id="3" name="Content Placeholder 2"/>
          <p:cNvSpPr>
            <a:spLocks noGrp="1"/>
          </p:cNvSpPr>
          <p:nvPr>
            <p:ph sz="half" idx="1"/>
          </p:nvPr>
        </p:nvSpPr>
        <p:spPr>
          <a:xfrm>
            <a:off x="623887" y="1628775"/>
            <a:ext cx="5184775" cy="4392613"/>
          </a:xfrm>
        </p:spPr>
        <p:txBody>
          <a:bodyPr>
            <a:normAutofit/>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 name="Content Placeholder 3"/>
          <p:cNvSpPr>
            <a:spLocks noGrp="1"/>
          </p:cNvSpPr>
          <p:nvPr>
            <p:ph sz="half" idx="2"/>
          </p:nvPr>
        </p:nvSpPr>
        <p:spPr>
          <a:xfrm>
            <a:off x="6383337" y="1628775"/>
            <a:ext cx="5184775" cy="4392613"/>
          </a:xfrm>
        </p:spPr>
        <p:txBody>
          <a:bodyPr>
            <a:normAutofit/>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5" name="Date Placeholder 4"/>
          <p:cNvSpPr>
            <a:spLocks noGrp="1"/>
          </p:cNvSpPr>
          <p:nvPr>
            <p:ph type="dt" sz="half" idx="10"/>
          </p:nvPr>
        </p:nvSpPr>
        <p:spPr/>
        <p:txBody>
          <a:bodyPr/>
          <a:lstStyle/>
          <a:p>
            <a:fld id="{BE17E2BF-BC52-4059-BFD8-C72E78D592A8}"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1"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105589979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ntent 18 p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dirty="0"/>
          </a:p>
        </p:txBody>
      </p:sp>
      <p:sp>
        <p:nvSpPr>
          <p:cNvPr id="3" name="Content Placeholder 2"/>
          <p:cNvSpPr>
            <a:spLocks noGrp="1"/>
          </p:cNvSpPr>
          <p:nvPr>
            <p:ph sz="half" idx="1"/>
          </p:nvPr>
        </p:nvSpPr>
        <p:spPr>
          <a:xfrm>
            <a:off x="623887" y="1628775"/>
            <a:ext cx="3455889" cy="4392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 name="Content Placeholder 3"/>
          <p:cNvSpPr>
            <a:spLocks noGrp="1"/>
          </p:cNvSpPr>
          <p:nvPr>
            <p:ph sz="half" idx="2"/>
          </p:nvPr>
        </p:nvSpPr>
        <p:spPr>
          <a:xfrm>
            <a:off x="4367808" y="1628775"/>
            <a:ext cx="3456386" cy="4392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5" name="Date Placeholder 4"/>
          <p:cNvSpPr>
            <a:spLocks noGrp="1"/>
          </p:cNvSpPr>
          <p:nvPr>
            <p:ph type="dt" sz="half" idx="10"/>
          </p:nvPr>
        </p:nvSpPr>
        <p:spPr/>
        <p:txBody>
          <a:bodyPr/>
          <a:lstStyle/>
          <a:p>
            <a:fld id="{2A31FB7B-058C-4205-B6FA-6C8F5C216915}"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5" name="Content Placeholder 3"/>
          <p:cNvSpPr>
            <a:spLocks noGrp="1"/>
          </p:cNvSpPr>
          <p:nvPr>
            <p:ph sz="half" idx="28"/>
          </p:nvPr>
        </p:nvSpPr>
        <p:spPr>
          <a:xfrm>
            <a:off x="8112223" y="1628775"/>
            <a:ext cx="3455889" cy="4392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11"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229729507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11 p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dirty="0"/>
          </a:p>
        </p:txBody>
      </p:sp>
      <p:sp>
        <p:nvSpPr>
          <p:cNvPr id="3" name="Content Placeholder 2"/>
          <p:cNvSpPr>
            <a:spLocks noGrp="1"/>
          </p:cNvSpPr>
          <p:nvPr>
            <p:ph sz="half" idx="1"/>
          </p:nvPr>
        </p:nvSpPr>
        <p:spPr>
          <a:xfrm>
            <a:off x="623887" y="1628775"/>
            <a:ext cx="3455889" cy="4392613"/>
          </a:xfrm>
        </p:spPr>
        <p:txBody>
          <a:bodyPr>
            <a:normAutofit/>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 name="Content Placeholder 3"/>
          <p:cNvSpPr>
            <a:spLocks noGrp="1"/>
          </p:cNvSpPr>
          <p:nvPr>
            <p:ph sz="half" idx="2"/>
          </p:nvPr>
        </p:nvSpPr>
        <p:spPr>
          <a:xfrm>
            <a:off x="4367808" y="1628775"/>
            <a:ext cx="3456386" cy="4392613"/>
          </a:xfrm>
        </p:spPr>
        <p:txBody>
          <a:bodyPr>
            <a:normAutofit/>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5" name="Date Placeholder 4"/>
          <p:cNvSpPr>
            <a:spLocks noGrp="1"/>
          </p:cNvSpPr>
          <p:nvPr>
            <p:ph type="dt" sz="half" idx="10"/>
          </p:nvPr>
        </p:nvSpPr>
        <p:spPr/>
        <p:txBody>
          <a:bodyPr/>
          <a:lstStyle/>
          <a:p>
            <a:fld id="{0C464000-B84D-4C89-9D04-7601E746EC55}"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5" name="Content Placeholder 3"/>
          <p:cNvSpPr>
            <a:spLocks noGrp="1"/>
          </p:cNvSpPr>
          <p:nvPr>
            <p:ph sz="half" idx="28"/>
          </p:nvPr>
        </p:nvSpPr>
        <p:spPr>
          <a:xfrm>
            <a:off x="8112223" y="1628775"/>
            <a:ext cx="3455889" cy="4392613"/>
          </a:xfrm>
        </p:spPr>
        <p:txBody>
          <a:bodyPr>
            <a:normAutofit/>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11"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165228970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98D3B206-6CA3-448A-923B-0F20D178C403}"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26" name="Freeform 6"/>
          <p:cNvSpPr>
            <a:spLocks noChangeAspect="1" noEditPoints="1"/>
          </p:cNvSpPr>
          <p:nvPr userDrawn="1"/>
        </p:nvSpPr>
        <p:spPr bwMode="auto">
          <a:xfrm>
            <a:off x="2035649" y="1196752"/>
            <a:ext cx="459951" cy="432000"/>
          </a:xfrm>
          <a:custGeom>
            <a:avLst/>
            <a:gdLst>
              <a:gd name="T0" fmla="*/ 4 w 724"/>
              <a:gd name="T1" fmla="*/ 512 h 680"/>
              <a:gd name="T2" fmla="*/ 18 w 724"/>
              <a:gd name="T3" fmla="*/ 565 h 680"/>
              <a:gd name="T4" fmla="*/ 41 w 724"/>
              <a:gd name="T5" fmla="*/ 609 h 680"/>
              <a:gd name="T6" fmla="*/ 79 w 724"/>
              <a:gd name="T7" fmla="*/ 648 h 680"/>
              <a:gd name="T8" fmla="*/ 115 w 724"/>
              <a:gd name="T9" fmla="*/ 669 h 680"/>
              <a:gd name="T10" fmla="*/ 156 w 724"/>
              <a:gd name="T11" fmla="*/ 679 h 680"/>
              <a:gd name="T12" fmla="*/ 203 w 724"/>
              <a:gd name="T13" fmla="*/ 677 h 680"/>
              <a:gd name="T14" fmla="*/ 254 w 724"/>
              <a:gd name="T15" fmla="*/ 655 h 680"/>
              <a:gd name="T16" fmla="*/ 284 w 724"/>
              <a:gd name="T17" fmla="*/ 626 h 680"/>
              <a:gd name="T18" fmla="*/ 310 w 724"/>
              <a:gd name="T19" fmla="*/ 577 h 680"/>
              <a:gd name="T20" fmla="*/ 316 w 724"/>
              <a:gd name="T21" fmla="*/ 534 h 680"/>
              <a:gd name="T22" fmla="*/ 310 w 724"/>
              <a:gd name="T23" fmla="*/ 491 h 680"/>
              <a:gd name="T24" fmla="*/ 290 w 724"/>
              <a:gd name="T25" fmla="*/ 448 h 680"/>
              <a:gd name="T26" fmla="*/ 262 w 724"/>
              <a:gd name="T27" fmla="*/ 419 h 680"/>
              <a:gd name="T28" fmla="*/ 222 w 724"/>
              <a:gd name="T29" fmla="*/ 398 h 680"/>
              <a:gd name="T30" fmla="*/ 180 w 724"/>
              <a:gd name="T31" fmla="*/ 392 h 680"/>
              <a:gd name="T32" fmla="*/ 143 w 724"/>
              <a:gd name="T33" fmla="*/ 398 h 680"/>
              <a:gd name="T34" fmla="*/ 152 w 724"/>
              <a:gd name="T35" fmla="*/ 346 h 680"/>
              <a:gd name="T36" fmla="*/ 175 w 724"/>
              <a:gd name="T37" fmla="*/ 281 h 680"/>
              <a:gd name="T38" fmla="*/ 205 w 724"/>
              <a:gd name="T39" fmla="*/ 227 h 680"/>
              <a:gd name="T40" fmla="*/ 250 w 724"/>
              <a:gd name="T41" fmla="*/ 166 h 680"/>
              <a:gd name="T42" fmla="*/ 313 w 724"/>
              <a:gd name="T43" fmla="*/ 104 h 680"/>
              <a:gd name="T44" fmla="*/ 217 w 724"/>
              <a:gd name="T45" fmla="*/ 19 h 680"/>
              <a:gd name="T46" fmla="*/ 160 w 724"/>
              <a:gd name="T47" fmla="*/ 73 h 680"/>
              <a:gd name="T48" fmla="*/ 99 w 724"/>
              <a:gd name="T49" fmla="*/ 151 h 680"/>
              <a:gd name="T50" fmla="*/ 56 w 724"/>
              <a:gd name="T51" fmla="*/ 226 h 680"/>
              <a:gd name="T52" fmla="*/ 20 w 724"/>
              <a:gd name="T53" fmla="*/ 323 h 680"/>
              <a:gd name="T54" fmla="*/ 4 w 724"/>
              <a:gd name="T55" fmla="*/ 409 h 680"/>
              <a:gd name="T56" fmla="*/ 381 w 724"/>
              <a:gd name="T57" fmla="*/ 476 h 680"/>
              <a:gd name="T58" fmla="*/ 389 w 724"/>
              <a:gd name="T59" fmla="*/ 535 h 680"/>
              <a:gd name="T60" fmla="*/ 406 w 724"/>
              <a:gd name="T61" fmla="*/ 584 h 680"/>
              <a:gd name="T62" fmla="*/ 431 w 724"/>
              <a:gd name="T63" fmla="*/ 624 h 680"/>
              <a:gd name="T64" fmla="*/ 471 w 724"/>
              <a:gd name="T65" fmla="*/ 658 h 680"/>
              <a:gd name="T66" fmla="*/ 509 w 724"/>
              <a:gd name="T67" fmla="*/ 674 h 680"/>
              <a:gd name="T68" fmla="*/ 551 w 724"/>
              <a:gd name="T69" fmla="*/ 680 h 680"/>
              <a:gd name="T70" fmla="*/ 609 w 724"/>
              <a:gd name="T71" fmla="*/ 668 h 680"/>
              <a:gd name="T72" fmla="*/ 665 w 724"/>
              <a:gd name="T73" fmla="*/ 626 h 680"/>
              <a:gd name="T74" fmla="*/ 690 w 724"/>
              <a:gd name="T75" fmla="*/ 577 h 680"/>
              <a:gd name="T76" fmla="*/ 697 w 724"/>
              <a:gd name="T77" fmla="*/ 534 h 680"/>
              <a:gd name="T78" fmla="*/ 691 w 724"/>
              <a:gd name="T79" fmla="*/ 491 h 680"/>
              <a:gd name="T80" fmla="*/ 671 w 724"/>
              <a:gd name="T81" fmla="*/ 448 h 680"/>
              <a:gd name="T82" fmla="*/ 643 w 724"/>
              <a:gd name="T83" fmla="*/ 419 h 680"/>
              <a:gd name="T84" fmla="*/ 602 w 724"/>
              <a:gd name="T85" fmla="*/ 398 h 680"/>
              <a:gd name="T86" fmla="*/ 561 w 724"/>
              <a:gd name="T87" fmla="*/ 392 h 680"/>
              <a:gd name="T88" fmla="*/ 523 w 724"/>
              <a:gd name="T89" fmla="*/ 398 h 680"/>
              <a:gd name="T90" fmla="*/ 532 w 724"/>
              <a:gd name="T91" fmla="*/ 346 h 680"/>
              <a:gd name="T92" fmla="*/ 556 w 724"/>
              <a:gd name="T93" fmla="*/ 281 h 680"/>
              <a:gd name="T94" fmla="*/ 585 w 724"/>
              <a:gd name="T95" fmla="*/ 227 h 680"/>
              <a:gd name="T96" fmla="*/ 631 w 724"/>
              <a:gd name="T97" fmla="*/ 166 h 680"/>
              <a:gd name="T98" fmla="*/ 694 w 724"/>
              <a:gd name="T99" fmla="*/ 104 h 680"/>
              <a:gd name="T100" fmla="*/ 597 w 724"/>
              <a:gd name="T101" fmla="*/ 19 h 680"/>
              <a:gd name="T102" fmla="*/ 539 w 724"/>
              <a:gd name="T103" fmla="*/ 73 h 680"/>
              <a:gd name="T104" fmla="*/ 478 w 724"/>
              <a:gd name="T105" fmla="*/ 151 h 680"/>
              <a:gd name="T106" fmla="*/ 436 w 724"/>
              <a:gd name="T107" fmla="*/ 226 h 680"/>
              <a:gd name="T108" fmla="*/ 400 w 724"/>
              <a:gd name="T109" fmla="*/ 323 h 680"/>
              <a:gd name="T110" fmla="*/ 384 w 724"/>
              <a:gd name="T111" fmla="*/ 409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4" h="680">
                <a:moveTo>
                  <a:pt x="0" y="463"/>
                </a:moveTo>
                <a:lnTo>
                  <a:pt x="1" y="476"/>
                </a:lnTo>
                <a:lnTo>
                  <a:pt x="1" y="488"/>
                </a:lnTo>
                <a:lnTo>
                  <a:pt x="3" y="501"/>
                </a:lnTo>
                <a:lnTo>
                  <a:pt x="4" y="512"/>
                </a:lnTo>
                <a:lnTo>
                  <a:pt x="6" y="524"/>
                </a:lnTo>
                <a:lnTo>
                  <a:pt x="9" y="535"/>
                </a:lnTo>
                <a:lnTo>
                  <a:pt x="11" y="545"/>
                </a:lnTo>
                <a:lnTo>
                  <a:pt x="14" y="556"/>
                </a:lnTo>
                <a:lnTo>
                  <a:pt x="18" y="565"/>
                </a:lnTo>
                <a:lnTo>
                  <a:pt x="22" y="575"/>
                </a:lnTo>
                <a:lnTo>
                  <a:pt x="26" y="584"/>
                </a:lnTo>
                <a:lnTo>
                  <a:pt x="30" y="593"/>
                </a:lnTo>
                <a:lnTo>
                  <a:pt x="35" y="601"/>
                </a:lnTo>
                <a:lnTo>
                  <a:pt x="41" y="609"/>
                </a:lnTo>
                <a:lnTo>
                  <a:pt x="46" y="617"/>
                </a:lnTo>
                <a:lnTo>
                  <a:pt x="52" y="624"/>
                </a:lnTo>
                <a:lnTo>
                  <a:pt x="59" y="630"/>
                </a:lnTo>
                <a:lnTo>
                  <a:pt x="65" y="637"/>
                </a:lnTo>
                <a:lnTo>
                  <a:pt x="79" y="648"/>
                </a:lnTo>
                <a:lnTo>
                  <a:pt x="86" y="653"/>
                </a:lnTo>
                <a:lnTo>
                  <a:pt x="93" y="658"/>
                </a:lnTo>
                <a:lnTo>
                  <a:pt x="100" y="662"/>
                </a:lnTo>
                <a:lnTo>
                  <a:pt x="108" y="666"/>
                </a:lnTo>
                <a:lnTo>
                  <a:pt x="115" y="669"/>
                </a:lnTo>
                <a:lnTo>
                  <a:pt x="123" y="672"/>
                </a:lnTo>
                <a:lnTo>
                  <a:pt x="131" y="674"/>
                </a:lnTo>
                <a:lnTo>
                  <a:pt x="139" y="676"/>
                </a:lnTo>
                <a:lnTo>
                  <a:pt x="147" y="678"/>
                </a:lnTo>
                <a:lnTo>
                  <a:pt x="156" y="679"/>
                </a:lnTo>
                <a:lnTo>
                  <a:pt x="164" y="680"/>
                </a:lnTo>
                <a:lnTo>
                  <a:pt x="173" y="680"/>
                </a:lnTo>
                <a:lnTo>
                  <a:pt x="188" y="679"/>
                </a:lnTo>
                <a:lnTo>
                  <a:pt x="196" y="678"/>
                </a:lnTo>
                <a:lnTo>
                  <a:pt x="203" y="677"/>
                </a:lnTo>
                <a:lnTo>
                  <a:pt x="217" y="673"/>
                </a:lnTo>
                <a:lnTo>
                  <a:pt x="230" y="668"/>
                </a:lnTo>
                <a:lnTo>
                  <a:pt x="236" y="665"/>
                </a:lnTo>
                <a:lnTo>
                  <a:pt x="242" y="662"/>
                </a:lnTo>
                <a:lnTo>
                  <a:pt x="254" y="655"/>
                </a:lnTo>
                <a:lnTo>
                  <a:pt x="265" y="646"/>
                </a:lnTo>
                <a:lnTo>
                  <a:pt x="270" y="642"/>
                </a:lnTo>
                <a:lnTo>
                  <a:pt x="275" y="636"/>
                </a:lnTo>
                <a:lnTo>
                  <a:pt x="280" y="631"/>
                </a:lnTo>
                <a:lnTo>
                  <a:pt x="284" y="626"/>
                </a:lnTo>
                <a:lnTo>
                  <a:pt x="292" y="614"/>
                </a:lnTo>
                <a:lnTo>
                  <a:pt x="299" y="602"/>
                </a:lnTo>
                <a:lnTo>
                  <a:pt x="305" y="590"/>
                </a:lnTo>
                <a:lnTo>
                  <a:pt x="307" y="583"/>
                </a:lnTo>
                <a:lnTo>
                  <a:pt x="310" y="577"/>
                </a:lnTo>
                <a:lnTo>
                  <a:pt x="311" y="570"/>
                </a:lnTo>
                <a:lnTo>
                  <a:pt x="313" y="563"/>
                </a:lnTo>
                <a:lnTo>
                  <a:pt x="314" y="556"/>
                </a:lnTo>
                <a:lnTo>
                  <a:pt x="315" y="549"/>
                </a:lnTo>
                <a:lnTo>
                  <a:pt x="316" y="534"/>
                </a:lnTo>
                <a:lnTo>
                  <a:pt x="316" y="526"/>
                </a:lnTo>
                <a:lnTo>
                  <a:pt x="315" y="519"/>
                </a:lnTo>
                <a:lnTo>
                  <a:pt x="313" y="504"/>
                </a:lnTo>
                <a:lnTo>
                  <a:pt x="312" y="497"/>
                </a:lnTo>
                <a:lnTo>
                  <a:pt x="310" y="491"/>
                </a:lnTo>
                <a:lnTo>
                  <a:pt x="306" y="478"/>
                </a:lnTo>
                <a:lnTo>
                  <a:pt x="303" y="471"/>
                </a:lnTo>
                <a:lnTo>
                  <a:pt x="300" y="465"/>
                </a:lnTo>
                <a:lnTo>
                  <a:pt x="294" y="454"/>
                </a:lnTo>
                <a:lnTo>
                  <a:pt x="290" y="448"/>
                </a:lnTo>
                <a:lnTo>
                  <a:pt x="286" y="443"/>
                </a:lnTo>
                <a:lnTo>
                  <a:pt x="277" y="432"/>
                </a:lnTo>
                <a:lnTo>
                  <a:pt x="272" y="428"/>
                </a:lnTo>
                <a:lnTo>
                  <a:pt x="268" y="423"/>
                </a:lnTo>
                <a:lnTo>
                  <a:pt x="262" y="419"/>
                </a:lnTo>
                <a:lnTo>
                  <a:pt x="257" y="415"/>
                </a:lnTo>
                <a:lnTo>
                  <a:pt x="246" y="408"/>
                </a:lnTo>
                <a:lnTo>
                  <a:pt x="234" y="402"/>
                </a:lnTo>
                <a:lnTo>
                  <a:pt x="228" y="400"/>
                </a:lnTo>
                <a:lnTo>
                  <a:pt x="222" y="398"/>
                </a:lnTo>
                <a:lnTo>
                  <a:pt x="215" y="396"/>
                </a:lnTo>
                <a:lnTo>
                  <a:pt x="209" y="395"/>
                </a:lnTo>
                <a:lnTo>
                  <a:pt x="202" y="393"/>
                </a:lnTo>
                <a:lnTo>
                  <a:pt x="195" y="393"/>
                </a:lnTo>
                <a:lnTo>
                  <a:pt x="180" y="392"/>
                </a:lnTo>
                <a:lnTo>
                  <a:pt x="170" y="392"/>
                </a:lnTo>
                <a:lnTo>
                  <a:pt x="159" y="394"/>
                </a:lnTo>
                <a:lnTo>
                  <a:pt x="149" y="396"/>
                </a:lnTo>
                <a:lnTo>
                  <a:pt x="145" y="397"/>
                </a:lnTo>
                <a:lnTo>
                  <a:pt x="143" y="398"/>
                </a:lnTo>
                <a:lnTo>
                  <a:pt x="144" y="388"/>
                </a:lnTo>
                <a:lnTo>
                  <a:pt x="145" y="377"/>
                </a:lnTo>
                <a:lnTo>
                  <a:pt x="147" y="367"/>
                </a:lnTo>
                <a:lnTo>
                  <a:pt x="149" y="356"/>
                </a:lnTo>
                <a:lnTo>
                  <a:pt x="152" y="346"/>
                </a:lnTo>
                <a:lnTo>
                  <a:pt x="155" y="334"/>
                </a:lnTo>
                <a:lnTo>
                  <a:pt x="158" y="323"/>
                </a:lnTo>
                <a:lnTo>
                  <a:pt x="162" y="313"/>
                </a:lnTo>
                <a:lnTo>
                  <a:pt x="170" y="291"/>
                </a:lnTo>
                <a:lnTo>
                  <a:pt x="175" y="281"/>
                </a:lnTo>
                <a:lnTo>
                  <a:pt x="180" y="270"/>
                </a:lnTo>
                <a:lnTo>
                  <a:pt x="186" y="259"/>
                </a:lnTo>
                <a:lnTo>
                  <a:pt x="192" y="248"/>
                </a:lnTo>
                <a:lnTo>
                  <a:pt x="198" y="237"/>
                </a:lnTo>
                <a:lnTo>
                  <a:pt x="205" y="227"/>
                </a:lnTo>
                <a:lnTo>
                  <a:pt x="212" y="216"/>
                </a:lnTo>
                <a:lnTo>
                  <a:pt x="219" y="205"/>
                </a:lnTo>
                <a:lnTo>
                  <a:pt x="234" y="185"/>
                </a:lnTo>
                <a:lnTo>
                  <a:pt x="242" y="175"/>
                </a:lnTo>
                <a:lnTo>
                  <a:pt x="250" y="166"/>
                </a:lnTo>
                <a:lnTo>
                  <a:pt x="267" y="147"/>
                </a:lnTo>
                <a:lnTo>
                  <a:pt x="285" y="129"/>
                </a:lnTo>
                <a:lnTo>
                  <a:pt x="294" y="121"/>
                </a:lnTo>
                <a:lnTo>
                  <a:pt x="303" y="112"/>
                </a:lnTo>
                <a:lnTo>
                  <a:pt x="313" y="104"/>
                </a:lnTo>
                <a:lnTo>
                  <a:pt x="323" y="96"/>
                </a:lnTo>
                <a:lnTo>
                  <a:pt x="343" y="81"/>
                </a:lnTo>
                <a:lnTo>
                  <a:pt x="241" y="0"/>
                </a:lnTo>
                <a:lnTo>
                  <a:pt x="229" y="9"/>
                </a:lnTo>
                <a:lnTo>
                  <a:pt x="217" y="19"/>
                </a:lnTo>
                <a:lnTo>
                  <a:pt x="205" y="29"/>
                </a:lnTo>
                <a:lnTo>
                  <a:pt x="193" y="39"/>
                </a:lnTo>
                <a:lnTo>
                  <a:pt x="182" y="50"/>
                </a:lnTo>
                <a:lnTo>
                  <a:pt x="171" y="62"/>
                </a:lnTo>
                <a:lnTo>
                  <a:pt x="160" y="73"/>
                </a:lnTo>
                <a:lnTo>
                  <a:pt x="149" y="85"/>
                </a:lnTo>
                <a:lnTo>
                  <a:pt x="139" y="98"/>
                </a:lnTo>
                <a:lnTo>
                  <a:pt x="128" y="111"/>
                </a:lnTo>
                <a:lnTo>
                  <a:pt x="109" y="137"/>
                </a:lnTo>
                <a:lnTo>
                  <a:pt x="99" y="151"/>
                </a:lnTo>
                <a:lnTo>
                  <a:pt x="90" y="165"/>
                </a:lnTo>
                <a:lnTo>
                  <a:pt x="81" y="180"/>
                </a:lnTo>
                <a:lnTo>
                  <a:pt x="72" y="195"/>
                </a:lnTo>
                <a:lnTo>
                  <a:pt x="64" y="210"/>
                </a:lnTo>
                <a:lnTo>
                  <a:pt x="56" y="226"/>
                </a:lnTo>
                <a:lnTo>
                  <a:pt x="42" y="258"/>
                </a:lnTo>
                <a:lnTo>
                  <a:pt x="35" y="274"/>
                </a:lnTo>
                <a:lnTo>
                  <a:pt x="30" y="290"/>
                </a:lnTo>
                <a:lnTo>
                  <a:pt x="24" y="306"/>
                </a:lnTo>
                <a:lnTo>
                  <a:pt x="20" y="323"/>
                </a:lnTo>
                <a:lnTo>
                  <a:pt x="15" y="341"/>
                </a:lnTo>
                <a:lnTo>
                  <a:pt x="12" y="358"/>
                </a:lnTo>
                <a:lnTo>
                  <a:pt x="8" y="375"/>
                </a:lnTo>
                <a:lnTo>
                  <a:pt x="6" y="392"/>
                </a:lnTo>
                <a:lnTo>
                  <a:pt x="4" y="409"/>
                </a:lnTo>
                <a:lnTo>
                  <a:pt x="2" y="427"/>
                </a:lnTo>
                <a:lnTo>
                  <a:pt x="1" y="445"/>
                </a:lnTo>
                <a:lnTo>
                  <a:pt x="0" y="463"/>
                </a:lnTo>
                <a:close/>
                <a:moveTo>
                  <a:pt x="381" y="463"/>
                </a:moveTo>
                <a:lnTo>
                  <a:pt x="381" y="476"/>
                </a:lnTo>
                <a:lnTo>
                  <a:pt x="382" y="488"/>
                </a:lnTo>
                <a:lnTo>
                  <a:pt x="383" y="501"/>
                </a:lnTo>
                <a:lnTo>
                  <a:pt x="385" y="512"/>
                </a:lnTo>
                <a:lnTo>
                  <a:pt x="387" y="524"/>
                </a:lnTo>
                <a:lnTo>
                  <a:pt x="389" y="535"/>
                </a:lnTo>
                <a:lnTo>
                  <a:pt x="391" y="545"/>
                </a:lnTo>
                <a:lnTo>
                  <a:pt x="394" y="556"/>
                </a:lnTo>
                <a:lnTo>
                  <a:pt x="398" y="565"/>
                </a:lnTo>
                <a:lnTo>
                  <a:pt x="402" y="575"/>
                </a:lnTo>
                <a:lnTo>
                  <a:pt x="406" y="584"/>
                </a:lnTo>
                <a:lnTo>
                  <a:pt x="410" y="593"/>
                </a:lnTo>
                <a:lnTo>
                  <a:pt x="415" y="601"/>
                </a:lnTo>
                <a:lnTo>
                  <a:pt x="420" y="609"/>
                </a:lnTo>
                <a:lnTo>
                  <a:pt x="425" y="617"/>
                </a:lnTo>
                <a:lnTo>
                  <a:pt x="431" y="624"/>
                </a:lnTo>
                <a:lnTo>
                  <a:pt x="437" y="630"/>
                </a:lnTo>
                <a:lnTo>
                  <a:pt x="444" y="637"/>
                </a:lnTo>
                <a:lnTo>
                  <a:pt x="457" y="648"/>
                </a:lnTo>
                <a:lnTo>
                  <a:pt x="464" y="653"/>
                </a:lnTo>
                <a:lnTo>
                  <a:pt x="471" y="658"/>
                </a:lnTo>
                <a:lnTo>
                  <a:pt x="478" y="662"/>
                </a:lnTo>
                <a:lnTo>
                  <a:pt x="485" y="666"/>
                </a:lnTo>
                <a:lnTo>
                  <a:pt x="493" y="669"/>
                </a:lnTo>
                <a:lnTo>
                  <a:pt x="501" y="672"/>
                </a:lnTo>
                <a:lnTo>
                  <a:pt x="509" y="674"/>
                </a:lnTo>
                <a:lnTo>
                  <a:pt x="517" y="676"/>
                </a:lnTo>
                <a:lnTo>
                  <a:pt x="525" y="678"/>
                </a:lnTo>
                <a:lnTo>
                  <a:pt x="533" y="679"/>
                </a:lnTo>
                <a:lnTo>
                  <a:pt x="542" y="680"/>
                </a:lnTo>
                <a:lnTo>
                  <a:pt x="551" y="680"/>
                </a:lnTo>
                <a:lnTo>
                  <a:pt x="566" y="679"/>
                </a:lnTo>
                <a:lnTo>
                  <a:pt x="574" y="678"/>
                </a:lnTo>
                <a:lnTo>
                  <a:pt x="581" y="677"/>
                </a:lnTo>
                <a:lnTo>
                  <a:pt x="596" y="673"/>
                </a:lnTo>
                <a:lnTo>
                  <a:pt x="609" y="668"/>
                </a:lnTo>
                <a:lnTo>
                  <a:pt x="622" y="662"/>
                </a:lnTo>
                <a:lnTo>
                  <a:pt x="634" y="655"/>
                </a:lnTo>
                <a:lnTo>
                  <a:pt x="645" y="646"/>
                </a:lnTo>
                <a:lnTo>
                  <a:pt x="655" y="636"/>
                </a:lnTo>
                <a:lnTo>
                  <a:pt x="665" y="626"/>
                </a:lnTo>
                <a:lnTo>
                  <a:pt x="673" y="614"/>
                </a:lnTo>
                <a:lnTo>
                  <a:pt x="680" y="602"/>
                </a:lnTo>
                <a:lnTo>
                  <a:pt x="686" y="590"/>
                </a:lnTo>
                <a:lnTo>
                  <a:pt x="688" y="583"/>
                </a:lnTo>
                <a:lnTo>
                  <a:pt x="690" y="577"/>
                </a:lnTo>
                <a:lnTo>
                  <a:pt x="692" y="570"/>
                </a:lnTo>
                <a:lnTo>
                  <a:pt x="694" y="563"/>
                </a:lnTo>
                <a:lnTo>
                  <a:pt x="695" y="556"/>
                </a:lnTo>
                <a:lnTo>
                  <a:pt x="696" y="549"/>
                </a:lnTo>
                <a:lnTo>
                  <a:pt x="697" y="534"/>
                </a:lnTo>
                <a:lnTo>
                  <a:pt x="696" y="526"/>
                </a:lnTo>
                <a:lnTo>
                  <a:pt x="696" y="519"/>
                </a:lnTo>
                <a:lnTo>
                  <a:pt x="694" y="504"/>
                </a:lnTo>
                <a:lnTo>
                  <a:pt x="692" y="497"/>
                </a:lnTo>
                <a:lnTo>
                  <a:pt x="691" y="491"/>
                </a:lnTo>
                <a:lnTo>
                  <a:pt x="686" y="478"/>
                </a:lnTo>
                <a:lnTo>
                  <a:pt x="684" y="471"/>
                </a:lnTo>
                <a:lnTo>
                  <a:pt x="681" y="465"/>
                </a:lnTo>
                <a:lnTo>
                  <a:pt x="674" y="454"/>
                </a:lnTo>
                <a:lnTo>
                  <a:pt x="671" y="448"/>
                </a:lnTo>
                <a:lnTo>
                  <a:pt x="667" y="443"/>
                </a:lnTo>
                <a:lnTo>
                  <a:pt x="658" y="432"/>
                </a:lnTo>
                <a:lnTo>
                  <a:pt x="653" y="428"/>
                </a:lnTo>
                <a:lnTo>
                  <a:pt x="648" y="423"/>
                </a:lnTo>
                <a:lnTo>
                  <a:pt x="643" y="419"/>
                </a:lnTo>
                <a:lnTo>
                  <a:pt x="638" y="415"/>
                </a:lnTo>
                <a:lnTo>
                  <a:pt x="627" y="408"/>
                </a:lnTo>
                <a:lnTo>
                  <a:pt x="615" y="402"/>
                </a:lnTo>
                <a:lnTo>
                  <a:pt x="609" y="400"/>
                </a:lnTo>
                <a:lnTo>
                  <a:pt x="602" y="398"/>
                </a:lnTo>
                <a:lnTo>
                  <a:pt x="596" y="396"/>
                </a:lnTo>
                <a:lnTo>
                  <a:pt x="589" y="395"/>
                </a:lnTo>
                <a:lnTo>
                  <a:pt x="582" y="393"/>
                </a:lnTo>
                <a:lnTo>
                  <a:pt x="575" y="393"/>
                </a:lnTo>
                <a:lnTo>
                  <a:pt x="561" y="392"/>
                </a:lnTo>
                <a:lnTo>
                  <a:pt x="550" y="392"/>
                </a:lnTo>
                <a:lnTo>
                  <a:pt x="538" y="394"/>
                </a:lnTo>
                <a:lnTo>
                  <a:pt x="529" y="396"/>
                </a:lnTo>
                <a:lnTo>
                  <a:pt x="526" y="397"/>
                </a:lnTo>
                <a:lnTo>
                  <a:pt x="523" y="398"/>
                </a:lnTo>
                <a:lnTo>
                  <a:pt x="524" y="388"/>
                </a:lnTo>
                <a:lnTo>
                  <a:pt x="526" y="377"/>
                </a:lnTo>
                <a:lnTo>
                  <a:pt x="528" y="367"/>
                </a:lnTo>
                <a:lnTo>
                  <a:pt x="530" y="356"/>
                </a:lnTo>
                <a:lnTo>
                  <a:pt x="532" y="346"/>
                </a:lnTo>
                <a:lnTo>
                  <a:pt x="535" y="334"/>
                </a:lnTo>
                <a:lnTo>
                  <a:pt x="539" y="323"/>
                </a:lnTo>
                <a:lnTo>
                  <a:pt x="542" y="313"/>
                </a:lnTo>
                <a:lnTo>
                  <a:pt x="551" y="291"/>
                </a:lnTo>
                <a:lnTo>
                  <a:pt x="556" y="281"/>
                </a:lnTo>
                <a:lnTo>
                  <a:pt x="561" y="270"/>
                </a:lnTo>
                <a:lnTo>
                  <a:pt x="566" y="259"/>
                </a:lnTo>
                <a:lnTo>
                  <a:pt x="572" y="248"/>
                </a:lnTo>
                <a:lnTo>
                  <a:pt x="579" y="237"/>
                </a:lnTo>
                <a:lnTo>
                  <a:pt x="585" y="227"/>
                </a:lnTo>
                <a:lnTo>
                  <a:pt x="592" y="216"/>
                </a:lnTo>
                <a:lnTo>
                  <a:pt x="600" y="205"/>
                </a:lnTo>
                <a:lnTo>
                  <a:pt x="615" y="185"/>
                </a:lnTo>
                <a:lnTo>
                  <a:pt x="623" y="175"/>
                </a:lnTo>
                <a:lnTo>
                  <a:pt x="631" y="166"/>
                </a:lnTo>
                <a:lnTo>
                  <a:pt x="648" y="147"/>
                </a:lnTo>
                <a:lnTo>
                  <a:pt x="665" y="129"/>
                </a:lnTo>
                <a:lnTo>
                  <a:pt x="674" y="121"/>
                </a:lnTo>
                <a:lnTo>
                  <a:pt x="684" y="112"/>
                </a:lnTo>
                <a:lnTo>
                  <a:pt x="694" y="104"/>
                </a:lnTo>
                <a:lnTo>
                  <a:pt x="703" y="96"/>
                </a:lnTo>
                <a:lnTo>
                  <a:pt x="724" y="81"/>
                </a:lnTo>
                <a:lnTo>
                  <a:pt x="622" y="0"/>
                </a:lnTo>
                <a:lnTo>
                  <a:pt x="609" y="9"/>
                </a:lnTo>
                <a:lnTo>
                  <a:pt x="597" y="19"/>
                </a:lnTo>
                <a:lnTo>
                  <a:pt x="585" y="29"/>
                </a:lnTo>
                <a:lnTo>
                  <a:pt x="573" y="39"/>
                </a:lnTo>
                <a:lnTo>
                  <a:pt x="561" y="50"/>
                </a:lnTo>
                <a:lnTo>
                  <a:pt x="550" y="62"/>
                </a:lnTo>
                <a:lnTo>
                  <a:pt x="539" y="73"/>
                </a:lnTo>
                <a:lnTo>
                  <a:pt x="528" y="85"/>
                </a:lnTo>
                <a:lnTo>
                  <a:pt x="518" y="98"/>
                </a:lnTo>
                <a:lnTo>
                  <a:pt x="508" y="111"/>
                </a:lnTo>
                <a:lnTo>
                  <a:pt x="488" y="137"/>
                </a:lnTo>
                <a:lnTo>
                  <a:pt x="478" y="151"/>
                </a:lnTo>
                <a:lnTo>
                  <a:pt x="469" y="165"/>
                </a:lnTo>
                <a:lnTo>
                  <a:pt x="460" y="180"/>
                </a:lnTo>
                <a:lnTo>
                  <a:pt x="452" y="195"/>
                </a:lnTo>
                <a:lnTo>
                  <a:pt x="443" y="210"/>
                </a:lnTo>
                <a:lnTo>
                  <a:pt x="436" y="226"/>
                </a:lnTo>
                <a:lnTo>
                  <a:pt x="428" y="242"/>
                </a:lnTo>
                <a:lnTo>
                  <a:pt x="422" y="258"/>
                </a:lnTo>
                <a:lnTo>
                  <a:pt x="410" y="290"/>
                </a:lnTo>
                <a:lnTo>
                  <a:pt x="405" y="306"/>
                </a:lnTo>
                <a:lnTo>
                  <a:pt x="400" y="323"/>
                </a:lnTo>
                <a:lnTo>
                  <a:pt x="396" y="341"/>
                </a:lnTo>
                <a:lnTo>
                  <a:pt x="392" y="358"/>
                </a:lnTo>
                <a:lnTo>
                  <a:pt x="389" y="375"/>
                </a:lnTo>
                <a:lnTo>
                  <a:pt x="386" y="392"/>
                </a:lnTo>
                <a:lnTo>
                  <a:pt x="384" y="409"/>
                </a:lnTo>
                <a:lnTo>
                  <a:pt x="383" y="427"/>
                </a:lnTo>
                <a:lnTo>
                  <a:pt x="381" y="445"/>
                </a:lnTo>
                <a:lnTo>
                  <a:pt x="381" y="4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i-FI"/>
          </a:p>
        </p:txBody>
      </p:sp>
      <p:sp>
        <p:nvSpPr>
          <p:cNvPr id="30" name="Text Placeholder 27"/>
          <p:cNvSpPr>
            <a:spLocks noGrp="1"/>
          </p:cNvSpPr>
          <p:nvPr>
            <p:ph type="body" sz="quarter" idx="33"/>
          </p:nvPr>
        </p:nvSpPr>
        <p:spPr>
          <a:xfrm>
            <a:off x="2566988" y="1628775"/>
            <a:ext cx="7058025" cy="1642501"/>
          </a:xfrm>
        </p:spPr>
        <p:txBody>
          <a:bodyPr>
            <a:spAutoFit/>
          </a:bodyPr>
          <a:lstStyle>
            <a:lvl1pPr marL="0" indent="0">
              <a:buFontTx/>
              <a:buNone/>
              <a:defRPr sz="4000" b="1" i="1" spc="0">
                <a:solidFill>
                  <a:schemeClr val="accent1"/>
                </a:solidFill>
                <a:latin typeface="Georgia" panose="02040502050405020303" pitchFamily="18" charset="0"/>
              </a:defRPr>
            </a:lvl1pPr>
            <a:lvl2pPr marL="0" indent="0">
              <a:buFontTx/>
              <a:buNone/>
              <a:defRPr sz="1400" spc="0">
                <a:solidFill>
                  <a:schemeClr val="accent1"/>
                </a:solidFill>
              </a:defRPr>
            </a:lvl2pPr>
            <a:lvl3pPr marL="0" indent="0">
              <a:buFontTx/>
              <a:buNone/>
              <a:defRPr sz="1200" spc="0">
                <a:solidFill>
                  <a:schemeClr val="accent1"/>
                </a:solidFill>
              </a:defRPr>
            </a:lvl3pPr>
            <a:lvl4pPr marL="0" indent="0">
              <a:buFontTx/>
              <a:buNone/>
              <a:defRPr sz="1200" spc="0">
                <a:solidFill>
                  <a:schemeClr val="accent1"/>
                </a:solidFill>
              </a:defRPr>
            </a:lvl4pPr>
            <a:lvl5pPr marL="0" indent="0">
              <a:buFontTx/>
              <a:buNone/>
              <a:defRPr sz="1200" spc="0">
                <a:solidFill>
                  <a:schemeClr val="accent1"/>
                </a:solidFill>
              </a:defRPr>
            </a:lvl5pPr>
            <a:lvl6pPr marL="0" indent="0">
              <a:buFontTx/>
              <a:buNone/>
              <a:defRPr sz="1200">
                <a:solidFill>
                  <a:schemeClr val="accent1"/>
                </a:solidFill>
              </a:defRPr>
            </a:lvl6pPr>
            <a:lvl7pPr marL="0" indent="0">
              <a:buFontTx/>
              <a:buNone/>
              <a:defRPr sz="1200">
                <a:solidFill>
                  <a:schemeClr val="accent1"/>
                </a:solidFill>
              </a:defRPr>
            </a:lvl7pPr>
            <a:lvl8pPr marL="0" indent="0">
              <a:buFontTx/>
              <a:buNone/>
              <a:defRPr sz="1200">
                <a:solidFill>
                  <a:schemeClr val="accent1"/>
                </a:solidFill>
              </a:defRPr>
            </a:lvl8pPr>
            <a:lvl9pPr marL="0" indent="0">
              <a:buFontTx/>
              <a:buNone/>
              <a:defRPr sz="1200">
                <a:solidFill>
                  <a:schemeClr val="accent1"/>
                </a:solidFill>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723144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58F0339-BBDA-4871-928D-B96D8D22358A}"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26" name="Freeform 6"/>
          <p:cNvSpPr>
            <a:spLocks noChangeAspect="1" noEditPoints="1"/>
          </p:cNvSpPr>
          <p:nvPr userDrawn="1"/>
        </p:nvSpPr>
        <p:spPr bwMode="auto">
          <a:xfrm>
            <a:off x="623888" y="1196752"/>
            <a:ext cx="459951" cy="432000"/>
          </a:xfrm>
          <a:custGeom>
            <a:avLst/>
            <a:gdLst>
              <a:gd name="T0" fmla="*/ 4 w 724"/>
              <a:gd name="T1" fmla="*/ 512 h 680"/>
              <a:gd name="T2" fmla="*/ 18 w 724"/>
              <a:gd name="T3" fmla="*/ 565 h 680"/>
              <a:gd name="T4" fmla="*/ 41 w 724"/>
              <a:gd name="T5" fmla="*/ 609 h 680"/>
              <a:gd name="T6" fmla="*/ 79 w 724"/>
              <a:gd name="T7" fmla="*/ 648 h 680"/>
              <a:gd name="T8" fmla="*/ 115 w 724"/>
              <a:gd name="T9" fmla="*/ 669 h 680"/>
              <a:gd name="T10" fmla="*/ 156 w 724"/>
              <a:gd name="T11" fmla="*/ 679 h 680"/>
              <a:gd name="T12" fmla="*/ 203 w 724"/>
              <a:gd name="T13" fmla="*/ 677 h 680"/>
              <a:gd name="T14" fmla="*/ 254 w 724"/>
              <a:gd name="T15" fmla="*/ 655 h 680"/>
              <a:gd name="T16" fmla="*/ 284 w 724"/>
              <a:gd name="T17" fmla="*/ 626 h 680"/>
              <a:gd name="T18" fmla="*/ 310 w 724"/>
              <a:gd name="T19" fmla="*/ 577 h 680"/>
              <a:gd name="T20" fmla="*/ 316 w 724"/>
              <a:gd name="T21" fmla="*/ 534 h 680"/>
              <a:gd name="T22" fmla="*/ 310 w 724"/>
              <a:gd name="T23" fmla="*/ 491 h 680"/>
              <a:gd name="T24" fmla="*/ 290 w 724"/>
              <a:gd name="T25" fmla="*/ 448 h 680"/>
              <a:gd name="T26" fmla="*/ 262 w 724"/>
              <a:gd name="T27" fmla="*/ 419 h 680"/>
              <a:gd name="T28" fmla="*/ 222 w 724"/>
              <a:gd name="T29" fmla="*/ 398 h 680"/>
              <a:gd name="T30" fmla="*/ 180 w 724"/>
              <a:gd name="T31" fmla="*/ 392 h 680"/>
              <a:gd name="T32" fmla="*/ 143 w 724"/>
              <a:gd name="T33" fmla="*/ 398 h 680"/>
              <a:gd name="T34" fmla="*/ 152 w 724"/>
              <a:gd name="T35" fmla="*/ 346 h 680"/>
              <a:gd name="T36" fmla="*/ 175 w 724"/>
              <a:gd name="T37" fmla="*/ 281 h 680"/>
              <a:gd name="T38" fmla="*/ 205 w 724"/>
              <a:gd name="T39" fmla="*/ 227 h 680"/>
              <a:gd name="T40" fmla="*/ 250 w 724"/>
              <a:gd name="T41" fmla="*/ 166 h 680"/>
              <a:gd name="T42" fmla="*/ 313 w 724"/>
              <a:gd name="T43" fmla="*/ 104 h 680"/>
              <a:gd name="T44" fmla="*/ 217 w 724"/>
              <a:gd name="T45" fmla="*/ 19 h 680"/>
              <a:gd name="T46" fmla="*/ 160 w 724"/>
              <a:gd name="T47" fmla="*/ 73 h 680"/>
              <a:gd name="T48" fmla="*/ 99 w 724"/>
              <a:gd name="T49" fmla="*/ 151 h 680"/>
              <a:gd name="T50" fmla="*/ 56 w 724"/>
              <a:gd name="T51" fmla="*/ 226 h 680"/>
              <a:gd name="T52" fmla="*/ 20 w 724"/>
              <a:gd name="T53" fmla="*/ 323 h 680"/>
              <a:gd name="T54" fmla="*/ 4 w 724"/>
              <a:gd name="T55" fmla="*/ 409 h 680"/>
              <a:gd name="T56" fmla="*/ 381 w 724"/>
              <a:gd name="T57" fmla="*/ 476 h 680"/>
              <a:gd name="T58" fmla="*/ 389 w 724"/>
              <a:gd name="T59" fmla="*/ 535 h 680"/>
              <a:gd name="T60" fmla="*/ 406 w 724"/>
              <a:gd name="T61" fmla="*/ 584 h 680"/>
              <a:gd name="T62" fmla="*/ 431 w 724"/>
              <a:gd name="T63" fmla="*/ 624 h 680"/>
              <a:gd name="T64" fmla="*/ 471 w 724"/>
              <a:gd name="T65" fmla="*/ 658 h 680"/>
              <a:gd name="T66" fmla="*/ 509 w 724"/>
              <a:gd name="T67" fmla="*/ 674 h 680"/>
              <a:gd name="T68" fmla="*/ 551 w 724"/>
              <a:gd name="T69" fmla="*/ 680 h 680"/>
              <a:gd name="T70" fmla="*/ 609 w 724"/>
              <a:gd name="T71" fmla="*/ 668 h 680"/>
              <a:gd name="T72" fmla="*/ 665 w 724"/>
              <a:gd name="T73" fmla="*/ 626 h 680"/>
              <a:gd name="T74" fmla="*/ 690 w 724"/>
              <a:gd name="T75" fmla="*/ 577 h 680"/>
              <a:gd name="T76" fmla="*/ 697 w 724"/>
              <a:gd name="T77" fmla="*/ 534 h 680"/>
              <a:gd name="T78" fmla="*/ 691 w 724"/>
              <a:gd name="T79" fmla="*/ 491 h 680"/>
              <a:gd name="T80" fmla="*/ 671 w 724"/>
              <a:gd name="T81" fmla="*/ 448 h 680"/>
              <a:gd name="T82" fmla="*/ 643 w 724"/>
              <a:gd name="T83" fmla="*/ 419 h 680"/>
              <a:gd name="T84" fmla="*/ 602 w 724"/>
              <a:gd name="T85" fmla="*/ 398 h 680"/>
              <a:gd name="T86" fmla="*/ 561 w 724"/>
              <a:gd name="T87" fmla="*/ 392 h 680"/>
              <a:gd name="T88" fmla="*/ 523 w 724"/>
              <a:gd name="T89" fmla="*/ 398 h 680"/>
              <a:gd name="T90" fmla="*/ 532 w 724"/>
              <a:gd name="T91" fmla="*/ 346 h 680"/>
              <a:gd name="T92" fmla="*/ 556 w 724"/>
              <a:gd name="T93" fmla="*/ 281 h 680"/>
              <a:gd name="T94" fmla="*/ 585 w 724"/>
              <a:gd name="T95" fmla="*/ 227 h 680"/>
              <a:gd name="T96" fmla="*/ 631 w 724"/>
              <a:gd name="T97" fmla="*/ 166 h 680"/>
              <a:gd name="T98" fmla="*/ 694 w 724"/>
              <a:gd name="T99" fmla="*/ 104 h 680"/>
              <a:gd name="T100" fmla="*/ 597 w 724"/>
              <a:gd name="T101" fmla="*/ 19 h 680"/>
              <a:gd name="T102" fmla="*/ 539 w 724"/>
              <a:gd name="T103" fmla="*/ 73 h 680"/>
              <a:gd name="T104" fmla="*/ 478 w 724"/>
              <a:gd name="T105" fmla="*/ 151 h 680"/>
              <a:gd name="T106" fmla="*/ 436 w 724"/>
              <a:gd name="T107" fmla="*/ 226 h 680"/>
              <a:gd name="T108" fmla="*/ 400 w 724"/>
              <a:gd name="T109" fmla="*/ 323 h 680"/>
              <a:gd name="T110" fmla="*/ 384 w 724"/>
              <a:gd name="T111" fmla="*/ 409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4" h="680">
                <a:moveTo>
                  <a:pt x="0" y="463"/>
                </a:moveTo>
                <a:lnTo>
                  <a:pt x="1" y="476"/>
                </a:lnTo>
                <a:lnTo>
                  <a:pt x="1" y="488"/>
                </a:lnTo>
                <a:lnTo>
                  <a:pt x="3" y="501"/>
                </a:lnTo>
                <a:lnTo>
                  <a:pt x="4" y="512"/>
                </a:lnTo>
                <a:lnTo>
                  <a:pt x="6" y="524"/>
                </a:lnTo>
                <a:lnTo>
                  <a:pt x="9" y="535"/>
                </a:lnTo>
                <a:lnTo>
                  <a:pt x="11" y="545"/>
                </a:lnTo>
                <a:lnTo>
                  <a:pt x="14" y="556"/>
                </a:lnTo>
                <a:lnTo>
                  <a:pt x="18" y="565"/>
                </a:lnTo>
                <a:lnTo>
                  <a:pt x="22" y="575"/>
                </a:lnTo>
                <a:lnTo>
                  <a:pt x="26" y="584"/>
                </a:lnTo>
                <a:lnTo>
                  <a:pt x="30" y="593"/>
                </a:lnTo>
                <a:lnTo>
                  <a:pt x="35" y="601"/>
                </a:lnTo>
                <a:lnTo>
                  <a:pt x="41" y="609"/>
                </a:lnTo>
                <a:lnTo>
                  <a:pt x="46" y="617"/>
                </a:lnTo>
                <a:lnTo>
                  <a:pt x="52" y="624"/>
                </a:lnTo>
                <a:lnTo>
                  <a:pt x="59" y="630"/>
                </a:lnTo>
                <a:lnTo>
                  <a:pt x="65" y="637"/>
                </a:lnTo>
                <a:lnTo>
                  <a:pt x="79" y="648"/>
                </a:lnTo>
                <a:lnTo>
                  <a:pt x="86" y="653"/>
                </a:lnTo>
                <a:lnTo>
                  <a:pt x="93" y="658"/>
                </a:lnTo>
                <a:lnTo>
                  <a:pt x="100" y="662"/>
                </a:lnTo>
                <a:lnTo>
                  <a:pt x="108" y="666"/>
                </a:lnTo>
                <a:lnTo>
                  <a:pt x="115" y="669"/>
                </a:lnTo>
                <a:lnTo>
                  <a:pt x="123" y="672"/>
                </a:lnTo>
                <a:lnTo>
                  <a:pt x="131" y="674"/>
                </a:lnTo>
                <a:lnTo>
                  <a:pt x="139" y="676"/>
                </a:lnTo>
                <a:lnTo>
                  <a:pt x="147" y="678"/>
                </a:lnTo>
                <a:lnTo>
                  <a:pt x="156" y="679"/>
                </a:lnTo>
                <a:lnTo>
                  <a:pt x="164" y="680"/>
                </a:lnTo>
                <a:lnTo>
                  <a:pt x="173" y="680"/>
                </a:lnTo>
                <a:lnTo>
                  <a:pt x="188" y="679"/>
                </a:lnTo>
                <a:lnTo>
                  <a:pt x="196" y="678"/>
                </a:lnTo>
                <a:lnTo>
                  <a:pt x="203" y="677"/>
                </a:lnTo>
                <a:lnTo>
                  <a:pt x="217" y="673"/>
                </a:lnTo>
                <a:lnTo>
                  <a:pt x="230" y="668"/>
                </a:lnTo>
                <a:lnTo>
                  <a:pt x="236" y="665"/>
                </a:lnTo>
                <a:lnTo>
                  <a:pt x="242" y="662"/>
                </a:lnTo>
                <a:lnTo>
                  <a:pt x="254" y="655"/>
                </a:lnTo>
                <a:lnTo>
                  <a:pt x="265" y="646"/>
                </a:lnTo>
                <a:lnTo>
                  <a:pt x="270" y="642"/>
                </a:lnTo>
                <a:lnTo>
                  <a:pt x="275" y="636"/>
                </a:lnTo>
                <a:lnTo>
                  <a:pt x="280" y="631"/>
                </a:lnTo>
                <a:lnTo>
                  <a:pt x="284" y="626"/>
                </a:lnTo>
                <a:lnTo>
                  <a:pt x="292" y="614"/>
                </a:lnTo>
                <a:lnTo>
                  <a:pt x="299" y="602"/>
                </a:lnTo>
                <a:lnTo>
                  <a:pt x="305" y="590"/>
                </a:lnTo>
                <a:lnTo>
                  <a:pt x="307" y="583"/>
                </a:lnTo>
                <a:lnTo>
                  <a:pt x="310" y="577"/>
                </a:lnTo>
                <a:lnTo>
                  <a:pt x="311" y="570"/>
                </a:lnTo>
                <a:lnTo>
                  <a:pt x="313" y="563"/>
                </a:lnTo>
                <a:lnTo>
                  <a:pt x="314" y="556"/>
                </a:lnTo>
                <a:lnTo>
                  <a:pt x="315" y="549"/>
                </a:lnTo>
                <a:lnTo>
                  <a:pt x="316" y="534"/>
                </a:lnTo>
                <a:lnTo>
                  <a:pt x="316" y="526"/>
                </a:lnTo>
                <a:lnTo>
                  <a:pt x="315" y="519"/>
                </a:lnTo>
                <a:lnTo>
                  <a:pt x="313" y="504"/>
                </a:lnTo>
                <a:lnTo>
                  <a:pt x="312" y="497"/>
                </a:lnTo>
                <a:lnTo>
                  <a:pt x="310" y="491"/>
                </a:lnTo>
                <a:lnTo>
                  <a:pt x="306" y="478"/>
                </a:lnTo>
                <a:lnTo>
                  <a:pt x="303" y="471"/>
                </a:lnTo>
                <a:lnTo>
                  <a:pt x="300" y="465"/>
                </a:lnTo>
                <a:lnTo>
                  <a:pt x="294" y="454"/>
                </a:lnTo>
                <a:lnTo>
                  <a:pt x="290" y="448"/>
                </a:lnTo>
                <a:lnTo>
                  <a:pt x="286" y="443"/>
                </a:lnTo>
                <a:lnTo>
                  <a:pt x="277" y="432"/>
                </a:lnTo>
                <a:lnTo>
                  <a:pt x="272" y="428"/>
                </a:lnTo>
                <a:lnTo>
                  <a:pt x="268" y="423"/>
                </a:lnTo>
                <a:lnTo>
                  <a:pt x="262" y="419"/>
                </a:lnTo>
                <a:lnTo>
                  <a:pt x="257" y="415"/>
                </a:lnTo>
                <a:lnTo>
                  <a:pt x="246" y="408"/>
                </a:lnTo>
                <a:lnTo>
                  <a:pt x="234" y="402"/>
                </a:lnTo>
                <a:lnTo>
                  <a:pt x="228" y="400"/>
                </a:lnTo>
                <a:lnTo>
                  <a:pt x="222" y="398"/>
                </a:lnTo>
                <a:lnTo>
                  <a:pt x="215" y="396"/>
                </a:lnTo>
                <a:lnTo>
                  <a:pt x="209" y="395"/>
                </a:lnTo>
                <a:lnTo>
                  <a:pt x="202" y="393"/>
                </a:lnTo>
                <a:lnTo>
                  <a:pt x="195" y="393"/>
                </a:lnTo>
                <a:lnTo>
                  <a:pt x="180" y="392"/>
                </a:lnTo>
                <a:lnTo>
                  <a:pt x="170" y="392"/>
                </a:lnTo>
                <a:lnTo>
                  <a:pt x="159" y="394"/>
                </a:lnTo>
                <a:lnTo>
                  <a:pt x="149" y="396"/>
                </a:lnTo>
                <a:lnTo>
                  <a:pt x="145" y="397"/>
                </a:lnTo>
                <a:lnTo>
                  <a:pt x="143" y="398"/>
                </a:lnTo>
                <a:lnTo>
                  <a:pt x="144" y="388"/>
                </a:lnTo>
                <a:lnTo>
                  <a:pt x="145" y="377"/>
                </a:lnTo>
                <a:lnTo>
                  <a:pt x="147" y="367"/>
                </a:lnTo>
                <a:lnTo>
                  <a:pt x="149" y="356"/>
                </a:lnTo>
                <a:lnTo>
                  <a:pt x="152" y="346"/>
                </a:lnTo>
                <a:lnTo>
                  <a:pt x="155" y="334"/>
                </a:lnTo>
                <a:lnTo>
                  <a:pt x="158" y="323"/>
                </a:lnTo>
                <a:lnTo>
                  <a:pt x="162" y="313"/>
                </a:lnTo>
                <a:lnTo>
                  <a:pt x="170" y="291"/>
                </a:lnTo>
                <a:lnTo>
                  <a:pt x="175" y="281"/>
                </a:lnTo>
                <a:lnTo>
                  <a:pt x="180" y="270"/>
                </a:lnTo>
                <a:lnTo>
                  <a:pt x="186" y="259"/>
                </a:lnTo>
                <a:lnTo>
                  <a:pt x="192" y="248"/>
                </a:lnTo>
                <a:lnTo>
                  <a:pt x="198" y="237"/>
                </a:lnTo>
                <a:lnTo>
                  <a:pt x="205" y="227"/>
                </a:lnTo>
                <a:lnTo>
                  <a:pt x="212" y="216"/>
                </a:lnTo>
                <a:lnTo>
                  <a:pt x="219" y="205"/>
                </a:lnTo>
                <a:lnTo>
                  <a:pt x="234" y="185"/>
                </a:lnTo>
                <a:lnTo>
                  <a:pt x="242" y="175"/>
                </a:lnTo>
                <a:lnTo>
                  <a:pt x="250" y="166"/>
                </a:lnTo>
                <a:lnTo>
                  <a:pt x="267" y="147"/>
                </a:lnTo>
                <a:lnTo>
                  <a:pt x="285" y="129"/>
                </a:lnTo>
                <a:lnTo>
                  <a:pt x="294" y="121"/>
                </a:lnTo>
                <a:lnTo>
                  <a:pt x="303" y="112"/>
                </a:lnTo>
                <a:lnTo>
                  <a:pt x="313" y="104"/>
                </a:lnTo>
                <a:lnTo>
                  <a:pt x="323" y="96"/>
                </a:lnTo>
                <a:lnTo>
                  <a:pt x="343" y="81"/>
                </a:lnTo>
                <a:lnTo>
                  <a:pt x="241" y="0"/>
                </a:lnTo>
                <a:lnTo>
                  <a:pt x="229" y="9"/>
                </a:lnTo>
                <a:lnTo>
                  <a:pt x="217" y="19"/>
                </a:lnTo>
                <a:lnTo>
                  <a:pt x="205" y="29"/>
                </a:lnTo>
                <a:lnTo>
                  <a:pt x="193" y="39"/>
                </a:lnTo>
                <a:lnTo>
                  <a:pt x="182" y="50"/>
                </a:lnTo>
                <a:lnTo>
                  <a:pt x="171" y="62"/>
                </a:lnTo>
                <a:lnTo>
                  <a:pt x="160" y="73"/>
                </a:lnTo>
                <a:lnTo>
                  <a:pt x="149" y="85"/>
                </a:lnTo>
                <a:lnTo>
                  <a:pt x="139" y="98"/>
                </a:lnTo>
                <a:lnTo>
                  <a:pt x="128" y="111"/>
                </a:lnTo>
                <a:lnTo>
                  <a:pt x="109" y="137"/>
                </a:lnTo>
                <a:lnTo>
                  <a:pt x="99" y="151"/>
                </a:lnTo>
                <a:lnTo>
                  <a:pt x="90" y="165"/>
                </a:lnTo>
                <a:lnTo>
                  <a:pt x="81" y="180"/>
                </a:lnTo>
                <a:lnTo>
                  <a:pt x="72" y="195"/>
                </a:lnTo>
                <a:lnTo>
                  <a:pt x="64" y="210"/>
                </a:lnTo>
                <a:lnTo>
                  <a:pt x="56" y="226"/>
                </a:lnTo>
                <a:lnTo>
                  <a:pt x="42" y="258"/>
                </a:lnTo>
                <a:lnTo>
                  <a:pt x="35" y="274"/>
                </a:lnTo>
                <a:lnTo>
                  <a:pt x="30" y="290"/>
                </a:lnTo>
                <a:lnTo>
                  <a:pt x="24" y="306"/>
                </a:lnTo>
                <a:lnTo>
                  <a:pt x="20" y="323"/>
                </a:lnTo>
                <a:lnTo>
                  <a:pt x="15" y="341"/>
                </a:lnTo>
                <a:lnTo>
                  <a:pt x="12" y="358"/>
                </a:lnTo>
                <a:lnTo>
                  <a:pt x="8" y="375"/>
                </a:lnTo>
                <a:lnTo>
                  <a:pt x="6" y="392"/>
                </a:lnTo>
                <a:lnTo>
                  <a:pt x="4" y="409"/>
                </a:lnTo>
                <a:lnTo>
                  <a:pt x="2" y="427"/>
                </a:lnTo>
                <a:lnTo>
                  <a:pt x="1" y="445"/>
                </a:lnTo>
                <a:lnTo>
                  <a:pt x="0" y="463"/>
                </a:lnTo>
                <a:close/>
                <a:moveTo>
                  <a:pt x="381" y="463"/>
                </a:moveTo>
                <a:lnTo>
                  <a:pt x="381" y="476"/>
                </a:lnTo>
                <a:lnTo>
                  <a:pt x="382" y="488"/>
                </a:lnTo>
                <a:lnTo>
                  <a:pt x="383" y="501"/>
                </a:lnTo>
                <a:lnTo>
                  <a:pt x="385" y="512"/>
                </a:lnTo>
                <a:lnTo>
                  <a:pt x="387" y="524"/>
                </a:lnTo>
                <a:lnTo>
                  <a:pt x="389" y="535"/>
                </a:lnTo>
                <a:lnTo>
                  <a:pt x="391" y="545"/>
                </a:lnTo>
                <a:lnTo>
                  <a:pt x="394" y="556"/>
                </a:lnTo>
                <a:lnTo>
                  <a:pt x="398" y="565"/>
                </a:lnTo>
                <a:lnTo>
                  <a:pt x="402" y="575"/>
                </a:lnTo>
                <a:lnTo>
                  <a:pt x="406" y="584"/>
                </a:lnTo>
                <a:lnTo>
                  <a:pt x="410" y="593"/>
                </a:lnTo>
                <a:lnTo>
                  <a:pt x="415" y="601"/>
                </a:lnTo>
                <a:lnTo>
                  <a:pt x="420" y="609"/>
                </a:lnTo>
                <a:lnTo>
                  <a:pt x="425" y="617"/>
                </a:lnTo>
                <a:lnTo>
                  <a:pt x="431" y="624"/>
                </a:lnTo>
                <a:lnTo>
                  <a:pt x="437" y="630"/>
                </a:lnTo>
                <a:lnTo>
                  <a:pt x="444" y="637"/>
                </a:lnTo>
                <a:lnTo>
                  <a:pt x="457" y="648"/>
                </a:lnTo>
                <a:lnTo>
                  <a:pt x="464" y="653"/>
                </a:lnTo>
                <a:lnTo>
                  <a:pt x="471" y="658"/>
                </a:lnTo>
                <a:lnTo>
                  <a:pt x="478" y="662"/>
                </a:lnTo>
                <a:lnTo>
                  <a:pt x="485" y="666"/>
                </a:lnTo>
                <a:lnTo>
                  <a:pt x="493" y="669"/>
                </a:lnTo>
                <a:lnTo>
                  <a:pt x="501" y="672"/>
                </a:lnTo>
                <a:lnTo>
                  <a:pt x="509" y="674"/>
                </a:lnTo>
                <a:lnTo>
                  <a:pt x="517" y="676"/>
                </a:lnTo>
                <a:lnTo>
                  <a:pt x="525" y="678"/>
                </a:lnTo>
                <a:lnTo>
                  <a:pt x="533" y="679"/>
                </a:lnTo>
                <a:lnTo>
                  <a:pt x="542" y="680"/>
                </a:lnTo>
                <a:lnTo>
                  <a:pt x="551" y="680"/>
                </a:lnTo>
                <a:lnTo>
                  <a:pt x="566" y="679"/>
                </a:lnTo>
                <a:lnTo>
                  <a:pt x="574" y="678"/>
                </a:lnTo>
                <a:lnTo>
                  <a:pt x="581" y="677"/>
                </a:lnTo>
                <a:lnTo>
                  <a:pt x="596" y="673"/>
                </a:lnTo>
                <a:lnTo>
                  <a:pt x="609" y="668"/>
                </a:lnTo>
                <a:lnTo>
                  <a:pt x="622" y="662"/>
                </a:lnTo>
                <a:lnTo>
                  <a:pt x="634" y="655"/>
                </a:lnTo>
                <a:lnTo>
                  <a:pt x="645" y="646"/>
                </a:lnTo>
                <a:lnTo>
                  <a:pt x="655" y="636"/>
                </a:lnTo>
                <a:lnTo>
                  <a:pt x="665" y="626"/>
                </a:lnTo>
                <a:lnTo>
                  <a:pt x="673" y="614"/>
                </a:lnTo>
                <a:lnTo>
                  <a:pt x="680" y="602"/>
                </a:lnTo>
                <a:lnTo>
                  <a:pt x="686" y="590"/>
                </a:lnTo>
                <a:lnTo>
                  <a:pt x="688" y="583"/>
                </a:lnTo>
                <a:lnTo>
                  <a:pt x="690" y="577"/>
                </a:lnTo>
                <a:lnTo>
                  <a:pt x="692" y="570"/>
                </a:lnTo>
                <a:lnTo>
                  <a:pt x="694" y="563"/>
                </a:lnTo>
                <a:lnTo>
                  <a:pt x="695" y="556"/>
                </a:lnTo>
                <a:lnTo>
                  <a:pt x="696" y="549"/>
                </a:lnTo>
                <a:lnTo>
                  <a:pt x="697" y="534"/>
                </a:lnTo>
                <a:lnTo>
                  <a:pt x="696" y="526"/>
                </a:lnTo>
                <a:lnTo>
                  <a:pt x="696" y="519"/>
                </a:lnTo>
                <a:lnTo>
                  <a:pt x="694" y="504"/>
                </a:lnTo>
                <a:lnTo>
                  <a:pt x="692" y="497"/>
                </a:lnTo>
                <a:lnTo>
                  <a:pt x="691" y="491"/>
                </a:lnTo>
                <a:lnTo>
                  <a:pt x="686" y="478"/>
                </a:lnTo>
                <a:lnTo>
                  <a:pt x="684" y="471"/>
                </a:lnTo>
                <a:lnTo>
                  <a:pt x="681" y="465"/>
                </a:lnTo>
                <a:lnTo>
                  <a:pt x="674" y="454"/>
                </a:lnTo>
                <a:lnTo>
                  <a:pt x="671" y="448"/>
                </a:lnTo>
                <a:lnTo>
                  <a:pt x="667" y="443"/>
                </a:lnTo>
                <a:lnTo>
                  <a:pt x="658" y="432"/>
                </a:lnTo>
                <a:lnTo>
                  <a:pt x="653" y="428"/>
                </a:lnTo>
                <a:lnTo>
                  <a:pt x="648" y="423"/>
                </a:lnTo>
                <a:lnTo>
                  <a:pt x="643" y="419"/>
                </a:lnTo>
                <a:lnTo>
                  <a:pt x="638" y="415"/>
                </a:lnTo>
                <a:lnTo>
                  <a:pt x="627" y="408"/>
                </a:lnTo>
                <a:lnTo>
                  <a:pt x="615" y="402"/>
                </a:lnTo>
                <a:lnTo>
                  <a:pt x="609" y="400"/>
                </a:lnTo>
                <a:lnTo>
                  <a:pt x="602" y="398"/>
                </a:lnTo>
                <a:lnTo>
                  <a:pt x="596" y="396"/>
                </a:lnTo>
                <a:lnTo>
                  <a:pt x="589" y="395"/>
                </a:lnTo>
                <a:lnTo>
                  <a:pt x="582" y="393"/>
                </a:lnTo>
                <a:lnTo>
                  <a:pt x="575" y="393"/>
                </a:lnTo>
                <a:lnTo>
                  <a:pt x="561" y="392"/>
                </a:lnTo>
                <a:lnTo>
                  <a:pt x="550" y="392"/>
                </a:lnTo>
                <a:lnTo>
                  <a:pt x="538" y="394"/>
                </a:lnTo>
                <a:lnTo>
                  <a:pt x="529" y="396"/>
                </a:lnTo>
                <a:lnTo>
                  <a:pt x="526" y="397"/>
                </a:lnTo>
                <a:lnTo>
                  <a:pt x="523" y="398"/>
                </a:lnTo>
                <a:lnTo>
                  <a:pt x="524" y="388"/>
                </a:lnTo>
                <a:lnTo>
                  <a:pt x="526" y="377"/>
                </a:lnTo>
                <a:lnTo>
                  <a:pt x="528" y="367"/>
                </a:lnTo>
                <a:lnTo>
                  <a:pt x="530" y="356"/>
                </a:lnTo>
                <a:lnTo>
                  <a:pt x="532" y="346"/>
                </a:lnTo>
                <a:lnTo>
                  <a:pt x="535" y="334"/>
                </a:lnTo>
                <a:lnTo>
                  <a:pt x="539" y="323"/>
                </a:lnTo>
                <a:lnTo>
                  <a:pt x="542" y="313"/>
                </a:lnTo>
                <a:lnTo>
                  <a:pt x="551" y="291"/>
                </a:lnTo>
                <a:lnTo>
                  <a:pt x="556" y="281"/>
                </a:lnTo>
                <a:lnTo>
                  <a:pt x="561" y="270"/>
                </a:lnTo>
                <a:lnTo>
                  <a:pt x="566" y="259"/>
                </a:lnTo>
                <a:lnTo>
                  <a:pt x="572" y="248"/>
                </a:lnTo>
                <a:lnTo>
                  <a:pt x="579" y="237"/>
                </a:lnTo>
                <a:lnTo>
                  <a:pt x="585" y="227"/>
                </a:lnTo>
                <a:lnTo>
                  <a:pt x="592" y="216"/>
                </a:lnTo>
                <a:lnTo>
                  <a:pt x="600" y="205"/>
                </a:lnTo>
                <a:lnTo>
                  <a:pt x="615" y="185"/>
                </a:lnTo>
                <a:lnTo>
                  <a:pt x="623" y="175"/>
                </a:lnTo>
                <a:lnTo>
                  <a:pt x="631" y="166"/>
                </a:lnTo>
                <a:lnTo>
                  <a:pt x="648" y="147"/>
                </a:lnTo>
                <a:lnTo>
                  <a:pt x="665" y="129"/>
                </a:lnTo>
                <a:lnTo>
                  <a:pt x="674" y="121"/>
                </a:lnTo>
                <a:lnTo>
                  <a:pt x="684" y="112"/>
                </a:lnTo>
                <a:lnTo>
                  <a:pt x="694" y="104"/>
                </a:lnTo>
                <a:lnTo>
                  <a:pt x="703" y="96"/>
                </a:lnTo>
                <a:lnTo>
                  <a:pt x="724" y="81"/>
                </a:lnTo>
                <a:lnTo>
                  <a:pt x="622" y="0"/>
                </a:lnTo>
                <a:lnTo>
                  <a:pt x="609" y="9"/>
                </a:lnTo>
                <a:lnTo>
                  <a:pt x="597" y="19"/>
                </a:lnTo>
                <a:lnTo>
                  <a:pt x="585" y="29"/>
                </a:lnTo>
                <a:lnTo>
                  <a:pt x="573" y="39"/>
                </a:lnTo>
                <a:lnTo>
                  <a:pt x="561" y="50"/>
                </a:lnTo>
                <a:lnTo>
                  <a:pt x="550" y="62"/>
                </a:lnTo>
                <a:lnTo>
                  <a:pt x="539" y="73"/>
                </a:lnTo>
                <a:lnTo>
                  <a:pt x="528" y="85"/>
                </a:lnTo>
                <a:lnTo>
                  <a:pt x="518" y="98"/>
                </a:lnTo>
                <a:lnTo>
                  <a:pt x="508" y="111"/>
                </a:lnTo>
                <a:lnTo>
                  <a:pt x="488" y="137"/>
                </a:lnTo>
                <a:lnTo>
                  <a:pt x="478" y="151"/>
                </a:lnTo>
                <a:lnTo>
                  <a:pt x="469" y="165"/>
                </a:lnTo>
                <a:lnTo>
                  <a:pt x="460" y="180"/>
                </a:lnTo>
                <a:lnTo>
                  <a:pt x="452" y="195"/>
                </a:lnTo>
                <a:lnTo>
                  <a:pt x="443" y="210"/>
                </a:lnTo>
                <a:lnTo>
                  <a:pt x="436" y="226"/>
                </a:lnTo>
                <a:lnTo>
                  <a:pt x="428" y="242"/>
                </a:lnTo>
                <a:lnTo>
                  <a:pt x="422" y="258"/>
                </a:lnTo>
                <a:lnTo>
                  <a:pt x="410" y="290"/>
                </a:lnTo>
                <a:lnTo>
                  <a:pt x="405" y="306"/>
                </a:lnTo>
                <a:lnTo>
                  <a:pt x="400" y="323"/>
                </a:lnTo>
                <a:lnTo>
                  <a:pt x="396" y="341"/>
                </a:lnTo>
                <a:lnTo>
                  <a:pt x="392" y="358"/>
                </a:lnTo>
                <a:lnTo>
                  <a:pt x="389" y="375"/>
                </a:lnTo>
                <a:lnTo>
                  <a:pt x="386" y="392"/>
                </a:lnTo>
                <a:lnTo>
                  <a:pt x="384" y="409"/>
                </a:lnTo>
                <a:lnTo>
                  <a:pt x="383" y="427"/>
                </a:lnTo>
                <a:lnTo>
                  <a:pt x="381" y="445"/>
                </a:lnTo>
                <a:lnTo>
                  <a:pt x="381" y="4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i-FI"/>
          </a:p>
        </p:txBody>
      </p:sp>
      <p:sp>
        <p:nvSpPr>
          <p:cNvPr id="30" name="Text Placeholder 27"/>
          <p:cNvSpPr>
            <a:spLocks noGrp="1"/>
          </p:cNvSpPr>
          <p:nvPr>
            <p:ph type="body" sz="quarter" idx="33"/>
          </p:nvPr>
        </p:nvSpPr>
        <p:spPr>
          <a:xfrm>
            <a:off x="1127449" y="1628775"/>
            <a:ext cx="4680520" cy="2319609"/>
          </a:xfrm>
        </p:spPr>
        <p:txBody>
          <a:bodyPr wrap="square">
            <a:spAutoFit/>
          </a:bodyPr>
          <a:lstStyle>
            <a:lvl1pPr marL="0" indent="0">
              <a:buFontTx/>
              <a:buNone/>
              <a:defRPr sz="4000" b="1" i="1" spc="0">
                <a:solidFill>
                  <a:schemeClr val="accent1"/>
                </a:solidFill>
                <a:latin typeface="Georgia" panose="02040502050405020303" pitchFamily="18" charset="0"/>
              </a:defRPr>
            </a:lvl1pPr>
            <a:lvl2pPr marL="0" indent="0">
              <a:buFontTx/>
              <a:buNone/>
              <a:defRPr sz="1400" spc="0">
                <a:solidFill>
                  <a:schemeClr val="accent1"/>
                </a:solidFill>
              </a:defRPr>
            </a:lvl2pPr>
            <a:lvl3pPr marL="0" indent="0">
              <a:buFontTx/>
              <a:buNone/>
              <a:defRPr sz="1200" spc="0">
                <a:solidFill>
                  <a:schemeClr val="accent1"/>
                </a:solidFill>
              </a:defRPr>
            </a:lvl3pPr>
            <a:lvl4pPr marL="0" indent="0">
              <a:buFontTx/>
              <a:buNone/>
              <a:defRPr sz="1200" spc="0">
                <a:solidFill>
                  <a:schemeClr val="accent1"/>
                </a:solidFill>
              </a:defRPr>
            </a:lvl4pPr>
            <a:lvl5pPr marL="0" indent="0">
              <a:buFontTx/>
              <a:buNone/>
              <a:defRPr sz="1200" spc="0">
                <a:solidFill>
                  <a:schemeClr val="accent1"/>
                </a:solidFill>
              </a:defRPr>
            </a:lvl5pPr>
            <a:lvl6pPr marL="0" indent="0">
              <a:buFontTx/>
              <a:buNone/>
              <a:defRPr sz="1200">
                <a:solidFill>
                  <a:schemeClr val="accent1"/>
                </a:solidFill>
              </a:defRPr>
            </a:lvl6pPr>
            <a:lvl7pPr marL="0" indent="0">
              <a:buFontTx/>
              <a:buNone/>
              <a:defRPr sz="1200">
                <a:solidFill>
                  <a:schemeClr val="accent1"/>
                </a:solidFill>
              </a:defRPr>
            </a:lvl7pPr>
            <a:lvl8pPr marL="0" indent="0">
              <a:buFontTx/>
              <a:buNone/>
              <a:defRPr sz="1200">
                <a:solidFill>
                  <a:schemeClr val="accent1"/>
                </a:solidFill>
              </a:defRPr>
            </a:lvl8pPr>
            <a:lvl9pPr marL="0" indent="0">
              <a:buFontTx/>
              <a:buNone/>
              <a:defRPr sz="1200">
                <a:solidFill>
                  <a:schemeClr val="accent1"/>
                </a:solidFill>
              </a:defRPr>
            </a:lvl9pPr>
          </a:lstStyle>
          <a:p>
            <a:pPr lvl="0"/>
            <a:r>
              <a:rPr lang="en-US"/>
              <a:t>Click to edit Master text styles</a:t>
            </a:r>
          </a:p>
          <a:p>
            <a:pPr lvl="1"/>
            <a:r>
              <a:rPr lang="en-US"/>
              <a:t>Second level</a:t>
            </a:r>
          </a:p>
        </p:txBody>
      </p:sp>
      <p:sp>
        <p:nvSpPr>
          <p:cNvPr id="8" name="Text Placeholder 27"/>
          <p:cNvSpPr>
            <a:spLocks noGrp="1"/>
          </p:cNvSpPr>
          <p:nvPr>
            <p:ph type="body" sz="quarter" idx="34"/>
          </p:nvPr>
        </p:nvSpPr>
        <p:spPr>
          <a:xfrm>
            <a:off x="6384032" y="1628775"/>
            <a:ext cx="4680520" cy="2319609"/>
          </a:xfrm>
        </p:spPr>
        <p:txBody>
          <a:bodyPr wrap="square">
            <a:spAutoFit/>
          </a:bodyPr>
          <a:lstStyle>
            <a:lvl1pPr marL="0" indent="0">
              <a:buFontTx/>
              <a:buNone/>
              <a:defRPr sz="4000" b="1" i="1" spc="0">
                <a:solidFill>
                  <a:schemeClr val="accent1"/>
                </a:solidFill>
                <a:latin typeface="Georgia" panose="02040502050405020303" pitchFamily="18" charset="0"/>
              </a:defRPr>
            </a:lvl1pPr>
            <a:lvl2pPr marL="0" indent="0">
              <a:buFontTx/>
              <a:buNone/>
              <a:defRPr sz="1400" spc="0">
                <a:solidFill>
                  <a:schemeClr val="accent1"/>
                </a:solidFill>
              </a:defRPr>
            </a:lvl2pPr>
            <a:lvl3pPr marL="0" indent="0">
              <a:buFontTx/>
              <a:buNone/>
              <a:defRPr sz="1200" spc="0">
                <a:solidFill>
                  <a:schemeClr val="accent1"/>
                </a:solidFill>
              </a:defRPr>
            </a:lvl3pPr>
            <a:lvl4pPr marL="0" indent="0">
              <a:buFontTx/>
              <a:buNone/>
              <a:defRPr sz="1200" spc="0">
                <a:solidFill>
                  <a:schemeClr val="accent1"/>
                </a:solidFill>
              </a:defRPr>
            </a:lvl4pPr>
            <a:lvl5pPr marL="0" indent="0">
              <a:buFontTx/>
              <a:buNone/>
              <a:defRPr sz="1200" spc="0">
                <a:solidFill>
                  <a:schemeClr val="accent1"/>
                </a:solidFill>
              </a:defRPr>
            </a:lvl5pPr>
            <a:lvl6pPr marL="0" indent="0">
              <a:buFontTx/>
              <a:buNone/>
              <a:defRPr sz="1200">
                <a:solidFill>
                  <a:schemeClr val="accent1"/>
                </a:solidFill>
              </a:defRPr>
            </a:lvl6pPr>
            <a:lvl7pPr marL="0" indent="0">
              <a:buFontTx/>
              <a:buNone/>
              <a:defRPr sz="1200">
                <a:solidFill>
                  <a:schemeClr val="accent1"/>
                </a:solidFill>
              </a:defRPr>
            </a:lvl7pPr>
            <a:lvl8pPr marL="0" indent="0">
              <a:buFontTx/>
              <a:buNone/>
              <a:defRPr sz="1200">
                <a:solidFill>
                  <a:schemeClr val="accent1"/>
                </a:solidFill>
              </a:defRPr>
            </a:lvl8pPr>
            <a:lvl9pPr marL="0" indent="0">
              <a:buFontTx/>
              <a:buNone/>
              <a:defRPr sz="1200">
                <a:solidFill>
                  <a:schemeClr val="accent1"/>
                </a:solidFill>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2244144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3887" y="3645024"/>
            <a:ext cx="10944225" cy="1584201"/>
          </a:xfrm>
        </p:spPr>
        <p:txBody>
          <a:bodyPr/>
          <a:lstStyle>
            <a:lvl1pPr marL="0" indent="0" algn="ctr">
              <a:buNone/>
              <a:defRPr sz="14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
        <p:nvSpPr>
          <p:cNvPr id="4" name="Date Placeholder 3"/>
          <p:cNvSpPr>
            <a:spLocks noGrp="1"/>
          </p:cNvSpPr>
          <p:nvPr>
            <p:ph type="dt" sz="half" idx="10"/>
          </p:nvPr>
        </p:nvSpPr>
        <p:spPr/>
        <p:txBody>
          <a:bodyPr/>
          <a:lstStyle>
            <a:lvl1pPr>
              <a:defRPr>
                <a:noFill/>
              </a:defRPr>
            </a:lvl1pPr>
          </a:lstStyle>
          <a:p>
            <a:fld id="{1BD24DB0-B303-40FF-8933-585F96642903}" type="datetime4">
              <a:rPr lang="en-GB" smtClean="0"/>
              <a:t>16 February 2023</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CONFIDENTIAL</a:t>
            </a:r>
          </a:p>
        </p:txBody>
      </p:sp>
      <p:sp>
        <p:nvSpPr>
          <p:cNvPr id="6" name="Slide Number Placeholder 5"/>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1" name="Text Placeholder 11"/>
          <p:cNvSpPr>
            <a:spLocks noGrp="1"/>
          </p:cNvSpPr>
          <p:nvPr>
            <p:ph type="body" sz="quarter" idx="14" hasCustomPrompt="1"/>
          </p:nvPr>
        </p:nvSpPr>
        <p:spPr>
          <a:xfrm>
            <a:off x="623889" y="5445224"/>
            <a:ext cx="10944224" cy="432048"/>
          </a:xfrm>
        </p:spPr>
        <p:txBody>
          <a:bodyPr anchor="t" anchorCtr="0"/>
          <a:lstStyle>
            <a:lvl1pPr marL="0" indent="0" algn="ctr">
              <a:lnSpc>
                <a:spcPct val="100000"/>
              </a:lnSpc>
              <a:spcBef>
                <a:spcPts val="200"/>
              </a:spcBef>
              <a:buFontTx/>
              <a:buNone/>
              <a:defRPr sz="1200" b="0" cap="none" baseline="0">
                <a:solidFill>
                  <a:schemeClr val="bg1"/>
                </a:solidFill>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Date Place or other additional info</a:t>
            </a:r>
          </a:p>
        </p:txBody>
      </p:sp>
      <p:pic>
        <p:nvPicPr>
          <p:cNvPr id="10" name="Graphic 9">
            <a:extLst>
              <a:ext uri="{FF2B5EF4-FFF2-40B4-BE49-F238E27FC236}">
                <a16:creationId xmlns:a16="http://schemas.microsoft.com/office/drawing/2014/main" id="{6CD28183-D7B1-43DE-8145-88FA61C7DD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945002" y="634852"/>
            <a:ext cx="2301994" cy="920798"/>
          </a:xfrm>
          <a:prstGeom prst="rect">
            <a:avLst/>
          </a:prstGeom>
        </p:spPr>
      </p:pic>
    </p:spTree>
    <p:extLst>
      <p:ext uri="{BB962C8B-B14F-4D97-AF65-F5344CB8AC3E}">
        <p14:creationId xmlns:p14="http://schemas.microsoft.com/office/powerpoint/2010/main" val="83631452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Quote Nega">
    <p:bg>
      <p:bgPr>
        <a:solidFill>
          <a:schemeClr val="tx1"/>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fld id="{7A7258B6-A5F1-4406-9728-4FC4220DFDE1}" type="datetime4">
              <a:rPr lang="en-GB" smtClean="0"/>
              <a:t>16 February 2023</a:t>
            </a:fld>
            <a:endParaRPr lang="fi-FI"/>
          </a:p>
        </p:txBody>
      </p:sp>
      <p:sp>
        <p:nvSpPr>
          <p:cNvPr id="6" name="Footer Placeholder 5"/>
          <p:cNvSpPr>
            <a:spLocks noGrp="1"/>
          </p:cNvSpPr>
          <p:nvPr>
            <p:ph type="ftr" sz="quarter" idx="11"/>
          </p:nvPr>
        </p:nvSpPr>
        <p:spPr/>
        <p:txBody>
          <a:bodyPr/>
          <a:lstStyle>
            <a:lvl1pPr>
              <a:defRPr>
                <a:solidFill>
                  <a:schemeClr val="bg1"/>
                </a:solidFill>
              </a:defRPr>
            </a:lvl1pPr>
          </a:lstStyle>
          <a:p>
            <a:r>
              <a:rPr lang="fi-FI"/>
              <a:t>CONFIDENTIAL</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C681002B-9E36-49F2-803E-4F1D6FC85B63}" type="slidenum">
              <a:rPr lang="fi-FI" smtClean="0"/>
              <a:pPr/>
              <a:t>‹#›</a:t>
            </a:fld>
            <a:endParaRPr lang="fi-FI"/>
          </a:p>
        </p:txBody>
      </p:sp>
      <p:sp>
        <p:nvSpPr>
          <p:cNvPr id="26" name="Freeform 6"/>
          <p:cNvSpPr>
            <a:spLocks noChangeAspect="1" noEditPoints="1"/>
          </p:cNvSpPr>
          <p:nvPr userDrawn="1"/>
        </p:nvSpPr>
        <p:spPr bwMode="auto">
          <a:xfrm>
            <a:off x="2035649" y="1196752"/>
            <a:ext cx="459951" cy="432000"/>
          </a:xfrm>
          <a:custGeom>
            <a:avLst/>
            <a:gdLst>
              <a:gd name="T0" fmla="*/ 4 w 724"/>
              <a:gd name="T1" fmla="*/ 512 h 680"/>
              <a:gd name="T2" fmla="*/ 18 w 724"/>
              <a:gd name="T3" fmla="*/ 565 h 680"/>
              <a:gd name="T4" fmla="*/ 41 w 724"/>
              <a:gd name="T5" fmla="*/ 609 h 680"/>
              <a:gd name="T6" fmla="*/ 79 w 724"/>
              <a:gd name="T7" fmla="*/ 648 h 680"/>
              <a:gd name="T8" fmla="*/ 115 w 724"/>
              <a:gd name="T9" fmla="*/ 669 h 680"/>
              <a:gd name="T10" fmla="*/ 156 w 724"/>
              <a:gd name="T11" fmla="*/ 679 h 680"/>
              <a:gd name="T12" fmla="*/ 203 w 724"/>
              <a:gd name="T13" fmla="*/ 677 h 680"/>
              <a:gd name="T14" fmla="*/ 254 w 724"/>
              <a:gd name="T15" fmla="*/ 655 h 680"/>
              <a:gd name="T16" fmla="*/ 284 w 724"/>
              <a:gd name="T17" fmla="*/ 626 h 680"/>
              <a:gd name="T18" fmla="*/ 310 w 724"/>
              <a:gd name="T19" fmla="*/ 577 h 680"/>
              <a:gd name="T20" fmla="*/ 316 w 724"/>
              <a:gd name="T21" fmla="*/ 534 h 680"/>
              <a:gd name="T22" fmla="*/ 310 w 724"/>
              <a:gd name="T23" fmla="*/ 491 h 680"/>
              <a:gd name="T24" fmla="*/ 290 w 724"/>
              <a:gd name="T25" fmla="*/ 448 h 680"/>
              <a:gd name="T26" fmla="*/ 262 w 724"/>
              <a:gd name="T27" fmla="*/ 419 h 680"/>
              <a:gd name="T28" fmla="*/ 222 w 724"/>
              <a:gd name="T29" fmla="*/ 398 h 680"/>
              <a:gd name="T30" fmla="*/ 180 w 724"/>
              <a:gd name="T31" fmla="*/ 392 h 680"/>
              <a:gd name="T32" fmla="*/ 143 w 724"/>
              <a:gd name="T33" fmla="*/ 398 h 680"/>
              <a:gd name="T34" fmla="*/ 152 w 724"/>
              <a:gd name="T35" fmla="*/ 346 h 680"/>
              <a:gd name="T36" fmla="*/ 175 w 724"/>
              <a:gd name="T37" fmla="*/ 281 h 680"/>
              <a:gd name="T38" fmla="*/ 205 w 724"/>
              <a:gd name="T39" fmla="*/ 227 h 680"/>
              <a:gd name="T40" fmla="*/ 250 w 724"/>
              <a:gd name="T41" fmla="*/ 166 h 680"/>
              <a:gd name="T42" fmla="*/ 313 w 724"/>
              <a:gd name="T43" fmla="*/ 104 h 680"/>
              <a:gd name="T44" fmla="*/ 217 w 724"/>
              <a:gd name="T45" fmla="*/ 19 h 680"/>
              <a:gd name="T46" fmla="*/ 160 w 724"/>
              <a:gd name="T47" fmla="*/ 73 h 680"/>
              <a:gd name="T48" fmla="*/ 99 w 724"/>
              <a:gd name="T49" fmla="*/ 151 h 680"/>
              <a:gd name="T50" fmla="*/ 56 w 724"/>
              <a:gd name="T51" fmla="*/ 226 h 680"/>
              <a:gd name="T52" fmla="*/ 20 w 724"/>
              <a:gd name="T53" fmla="*/ 323 h 680"/>
              <a:gd name="T54" fmla="*/ 4 w 724"/>
              <a:gd name="T55" fmla="*/ 409 h 680"/>
              <a:gd name="T56" fmla="*/ 381 w 724"/>
              <a:gd name="T57" fmla="*/ 476 h 680"/>
              <a:gd name="T58" fmla="*/ 389 w 724"/>
              <a:gd name="T59" fmla="*/ 535 h 680"/>
              <a:gd name="T60" fmla="*/ 406 w 724"/>
              <a:gd name="T61" fmla="*/ 584 h 680"/>
              <a:gd name="T62" fmla="*/ 431 w 724"/>
              <a:gd name="T63" fmla="*/ 624 h 680"/>
              <a:gd name="T64" fmla="*/ 471 w 724"/>
              <a:gd name="T65" fmla="*/ 658 h 680"/>
              <a:gd name="T66" fmla="*/ 509 w 724"/>
              <a:gd name="T67" fmla="*/ 674 h 680"/>
              <a:gd name="T68" fmla="*/ 551 w 724"/>
              <a:gd name="T69" fmla="*/ 680 h 680"/>
              <a:gd name="T70" fmla="*/ 609 w 724"/>
              <a:gd name="T71" fmla="*/ 668 h 680"/>
              <a:gd name="T72" fmla="*/ 665 w 724"/>
              <a:gd name="T73" fmla="*/ 626 h 680"/>
              <a:gd name="T74" fmla="*/ 690 w 724"/>
              <a:gd name="T75" fmla="*/ 577 h 680"/>
              <a:gd name="T76" fmla="*/ 697 w 724"/>
              <a:gd name="T77" fmla="*/ 534 h 680"/>
              <a:gd name="T78" fmla="*/ 691 w 724"/>
              <a:gd name="T79" fmla="*/ 491 h 680"/>
              <a:gd name="T80" fmla="*/ 671 w 724"/>
              <a:gd name="T81" fmla="*/ 448 h 680"/>
              <a:gd name="T82" fmla="*/ 643 w 724"/>
              <a:gd name="T83" fmla="*/ 419 h 680"/>
              <a:gd name="T84" fmla="*/ 602 w 724"/>
              <a:gd name="T85" fmla="*/ 398 h 680"/>
              <a:gd name="T86" fmla="*/ 561 w 724"/>
              <a:gd name="T87" fmla="*/ 392 h 680"/>
              <a:gd name="T88" fmla="*/ 523 w 724"/>
              <a:gd name="T89" fmla="*/ 398 h 680"/>
              <a:gd name="T90" fmla="*/ 532 w 724"/>
              <a:gd name="T91" fmla="*/ 346 h 680"/>
              <a:gd name="T92" fmla="*/ 556 w 724"/>
              <a:gd name="T93" fmla="*/ 281 h 680"/>
              <a:gd name="T94" fmla="*/ 585 w 724"/>
              <a:gd name="T95" fmla="*/ 227 h 680"/>
              <a:gd name="T96" fmla="*/ 631 w 724"/>
              <a:gd name="T97" fmla="*/ 166 h 680"/>
              <a:gd name="T98" fmla="*/ 694 w 724"/>
              <a:gd name="T99" fmla="*/ 104 h 680"/>
              <a:gd name="T100" fmla="*/ 597 w 724"/>
              <a:gd name="T101" fmla="*/ 19 h 680"/>
              <a:gd name="T102" fmla="*/ 539 w 724"/>
              <a:gd name="T103" fmla="*/ 73 h 680"/>
              <a:gd name="T104" fmla="*/ 478 w 724"/>
              <a:gd name="T105" fmla="*/ 151 h 680"/>
              <a:gd name="T106" fmla="*/ 436 w 724"/>
              <a:gd name="T107" fmla="*/ 226 h 680"/>
              <a:gd name="T108" fmla="*/ 400 w 724"/>
              <a:gd name="T109" fmla="*/ 323 h 680"/>
              <a:gd name="T110" fmla="*/ 384 w 724"/>
              <a:gd name="T111" fmla="*/ 409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4" h="680">
                <a:moveTo>
                  <a:pt x="0" y="463"/>
                </a:moveTo>
                <a:lnTo>
                  <a:pt x="1" y="476"/>
                </a:lnTo>
                <a:lnTo>
                  <a:pt x="1" y="488"/>
                </a:lnTo>
                <a:lnTo>
                  <a:pt x="3" y="501"/>
                </a:lnTo>
                <a:lnTo>
                  <a:pt x="4" y="512"/>
                </a:lnTo>
                <a:lnTo>
                  <a:pt x="6" y="524"/>
                </a:lnTo>
                <a:lnTo>
                  <a:pt x="9" y="535"/>
                </a:lnTo>
                <a:lnTo>
                  <a:pt x="11" y="545"/>
                </a:lnTo>
                <a:lnTo>
                  <a:pt x="14" y="556"/>
                </a:lnTo>
                <a:lnTo>
                  <a:pt x="18" y="565"/>
                </a:lnTo>
                <a:lnTo>
                  <a:pt x="22" y="575"/>
                </a:lnTo>
                <a:lnTo>
                  <a:pt x="26" y="584"/>
                </a:lnTo>
                <a:lnTo>
                  <a:pt x="30" y="593"/>
                </a:lnTo>
                <a:lnTo>
                  <a:pt x="35" y="601"/>
                </a:lnTo>
                <a:lnTo>
                  <a:pt x="41" y="609"/>
                </a:lnTo>
                <a:lnTo>
                  <a:pt x="46" y="617"/>
                </a:lnTo>
                <a:lnTo>
                  <a:pt x="52" y="624"/>
                </a:lnTo>
                <a:lnTo>
                  <a:pt x="59" y="630"/>
                </a:lnTo>
                <a:lnTo>
                  <a:pt x="65" y="637"/>
                </a:lnTo>
                <a:lnTo>
                  <a:pt x="79" y="648"/>
                </a:lnTo>
                <a:lnTo>
                  <a:pt x="86" y="653"/>
                </a:lnTo>
                <a:lnTo>
                  <a:pt x="93" y="658"/>
                </a:lnTo>
                <a:lnTo>
                  <a:pt x="100" y="662"/>
                </a:lnTo>
                <a:lnTo>
                  <a:pt x="108" y="666"/>
                </a:lnTo>
                <a:lnTo>
                  <a:pt x="115" y="669"/>
                </a:lnTo>
                <a:lnTo>
                  <a:pt x="123" y="672"/>
                </a:lnTo>
                <a:lnTo>
                  <a:pt x="131" y="674"/>
                </a:lnTo>
                <a:lnTo>
                  <a:pt x="139" y="676"/>
                </a:lnTo>
                <a:lnTo>
                  <a:pt x="147" y="678"/>
                </a:lnTo>
                <a:lnTo>
                  <a:pt x="156" y="679"/>
                </a:lnTo>
                <a:lnTo>
                  <a:pt x="164" y="680"/>
                </a:lnTo>
                <a:lnTo>
                  <a:pt x="173" y="680"/>
                </a:lnTo>
                <a:lnTo>
                  <a:pt x="188" y="679"/>
                </a:lnTo>
                <a:lnTo>
                  <a:pt x="196" y="678"/>
                </a:lnTo>
                <a:lnTo>
                  <a:pt x="203" y="677"/>
                </a:lnTo>
                <a:lnTo>
                  <a:pt x="217" y="673"/>
                </a:lnTo>
                <a:lnTo>
                  <a:pt x="230" y="668"/>
                </a:lnTo>
                <a:lnTo>
                  <a:pt x="236" y="665"/>
                </a:lnTo>
                <a:lnTo>
                  <a:pt x="242" y="662"/>
                </a:lnTo>
                <a:lnTo>
                  <a:pt x="254" y="655"/>
                </a:lnTo>
                <a:lnTo>
                  <a:pt x="265" y="646"/>
                </a:lnTo>
                <a:lnTo>
                  <a:pt x="270" y="642"/>
                </a:lnTo>
                <a:lnTo>
                  <a:pt x="275" y="636"/>
                </a:lnTo>
                <a:lnTo>
                  <a:pt x="280" y="631"/>
                </a:lnTo>
                <a:lnTo>
                  <a:pt x="284" y="626"/>
                </a:lnTo>
                <a:lnTo>
                  <a:pt x="292" y="614"/>
                </a:lnTo>
                <a:lnTo>
                  <a:pt x="299" y="602"/>
                </a:lnTo>
                <a:lnTo>
                  <a:pt x="305" y="590"/>
                </a:lnTo>
                <a:lnTo>
                  <a:pt x="307" y="583"/>
                </a:lnTo>
                <a:lnTo>
                  <a:pt x="310" y="577"/>
                </a:lnTo>
                <a:lnTo>
                  <a:pt x="311" y="570"/>
                </a:lnTo>
                <a:lnTo>
                  <a:pt x="313" y="563"/>
                </a:lnTo>
                <a:lnTo>
                  <a:pt x="314" y="556"/>
                </a:lnTo>
                <a:lnTo>
                  <a:pt x="315" y="549"/>
                </a:lnTo>
                <a:lnTo>
                  <a:pt x="316" y="534"/>
                </a:lnTo>
                <a:lnTo>
                  <a:pt x="316" y="526"/>
                </a:lnTo>
                <a:lnTo>
                  <a:pt x="315" y="519"/>
                </a:lnTo>
                <a:lnTo>
                  <a:pt x="313" y="504"/>
                </a:lnTo>
                <a:lnTo>
                  <a:pt x="312" y="497"/>
                </a:lnTo>
                <a:lnTo>
                  <a:pt x="310" y="491"/>
                </a:lnTo>
                <a:lnTo>
                  <a:pt x="306" y="478"/>
                </a:lnTo>
                <a:lnTo>
                  <a:pt x="303" y="471"/>
                </a:lnTo>
                <a:lnTo>
                  <a:pt x="300" y="465"/>
                </a:lnTo>
                <a:lnTo>
                  <a:pt x="294" y="454"/>
                </a:lnTo>
                <a:lnTo>
                  <a:pt x="290" y="448"/>
                </a:lnTo>
                <a:lnTo>
                  <a:pt x="286" y="443"/>
                </a:lnTo>
                <a:lnTo>
                  <a:pt x="277" y="432"/>
                </a:lnTo>
                <a:lnTo>
                  <a:pt x="272" y="428"/>
                </a:lnTo>
                <a:lnTo>
                  <a:pt x="268" y="423"/>
                </a:lnTo>
                <a:lnTo>
                  <a:pt x="262" y="419"/>
                </a:lnTo>
                <a:lnTo>
                  <a:pt x="257" y="415"/>
                </a:lnTo>
                <a:lnTo>
                  <a:pt x="246" y="408"/>
                </a:lnTo>
                <a:lnTo>
                  <a:pt x="234" y="402"/>
                </a:lnTo>
                <a:lnTo>
                  <a:pt x="228" y="400"/>
                </a:lnTo>
                <a:lnTo>
                  <a:pt x="222" y="398"/>
                </a:lnTo>
                <a:lnTo>
                  <a:pt x="215" y="396"/>
                </a:lnTo>
                <a:lnTo>
                  <a:pt x="209" y="395"/>
                </a:lnTo>
                <a:lnTo>
                  <a:pt x="202" y="393"/>
                </a:lnTo>
                <a:lnTo>
                  <a:pt x="195" y="393"/>
                </a:lnTo>
                <a:lnTo>
                  <a:pt x="180" y="392"/>
                </a:lnTo>
                <a:lnTo>
                  <a:pt x="170" y="392"/>
                </a:lnTo>
                <a:lnTo>
                  <a:pt x="159" y="394"/>
                </a:lnTo>
                <a:lnTo>
                  <a:pt x="149" y="396"/>
                </a:lnTo>
                <a:lnTo>
                  <a:pt x="145" y="397"/>
                </a:lnTo>
                <a:lnTo>
                  <a:pt x="143" y="398"/>
                </a:lnTo>
                <a:lnTo>
                  <a:pt x="144" y="388"/>
                </a:lnTo>
                <a:lnTo>
                  <a:pt x="145" y="377"/>
                </a:lnTo>
                <a:lnTo>
                  <a:pt x="147" y="367"/>
                </a:lnTo>
                <a:lnTo>
                  <a:pt x="149" y="356"/>
                </a:lnTo>
                <a:lnTo>
                  <a:pt x="152" y="346"/>
                </a:lnTo>
                <a:lnTo>
                  <a:pt x="155" y="334"/>
                </a:lnTo>
                <a:lnTo>
                  <a:pt x="158" y="323"/>
                </a:lnTo>
                <a:lnTo>
                  <a:pt x="162" y="313"/>
                </a:lnTo>
                <a:lnTo>
                  <a:pt x="170" y="291"/>
                </a:lnTo>
                <a:lnTo>
                  <a:pt x="175" y="281"/>
                </a:lnTo>
                <a:lnTo>
                  <a:pt x="180" y="270"/>
                </a:lnTo>
                <a:lnTo>
                  <a:pt x="186" y="259"/>
                </a:lnTo>
                <a:lnTo>
                  <a:pt x="192" y="248"/>
                </a:lnTo>
                <a:lnTo>
                  <a:pt x="198" y="237"/>
                </a:lnTo>
                <a:lnTo>
                  <a:pt x="205" y="227"/>
                </a:lnTo>
                <a:lnTo>
                  <a:pt x="212" y="216"/>
                </a:lnTo>
                <a:lnTo>
                  <a:pt x="219" y="205"/>
                </a:lnTo>
                <a:lnTo>
                  <a:pt x="234" y="185"/>
                </a:lnTo>
                <a:lnTo>
                  <a:pt x="242" y="175"/>
                </a:lnTo>
                <a:lnTo>
                  <a:pt x="250" y="166"/>
                </a:lnTo>
                <a:lnTo>
                  <a:pt x="267" y="147"/>
                </a:lnTo>
                <a:lnTo>
                  <a:pt x="285" y="129"/>
                </a:lnTo>
                <a:lnTo>
                  <a:pt x="294" y="121"/>
                </a:lnTo>
                <a:lnTo>
                  <a:pt x="303" y="112"/>
                </a:lnTo>
                <a:lnTo>
                  <a:pt x="313" y="104"/>
                </a:lnTo>
                <a:lnTo>
                  <a:pt x="323" y="96"/>
                </a:lnTo>
                <a:lnTo>
                  <a:pt x="343" y="81"/>
                </a:lnTo>
                <a:lnTo>
                  <a:pt x="241" y="0"/>
                </a:lnTo>
                <a:lnTo>
                  <a:pt x="229" y="9"/>
                </a:lnTo>
                <a:lnTo>
                  <a:pt x="217" y="19"/>
                </a:lnTo>
                <a:lnTo>
                  <a:pt x="205" y="29"/>
                </a:lnTo>
                <a:lnTo>
                  <a:pt x="193" y="39"/>
                </a:lnTo>
                <a:lnTo>
                  <a:pt x="182" y="50"/>
                </a:lnTo>
                <a:lnTo>
                  <a:pt x="171" y="62"/>
                </a:lnTo>
                <a:lnTo>
                  <a:pt x="160" y="73"/>
                </a:lnTo>
                <a:lnTo>
                  <a:pt x="149" y="85"/>
                </a:lnTo>
                <a:lnTo>
                  <a:pt x="139" y="98"/>
                </a:lnTo>
                <a:lnTo>
                  <a:pt x="128" y="111"/>
                </a:lnTo>
                <a:lnTo>
                  <a:pt x="109" y="137"/>
                </a:lnTo>
                <a:lnTo>
                  <a:pt x="99" y="151"/>
                </a:lnTo>
                <a:lnTo>
                  <a:pt x="90" y="165"/>
                </a:lnTo>
                <a:lnTo>
                  <a:pt x="81" y="180"/>
                </a:lnTo>
                <a:lnTo>
                  <a:pt x="72" y="195"/>
                </a:lnTo>
                <a:lnTo>
                  <a:pt x="64" y="210"/>
                </a:lnTo>
                <a:lnTo>
                  <a:pt x="56" y="226"/>
                </a:lnTo>
                <a:lnTo>
                  <a:pt x="42" y="258"/>
                </a:lnTo>
                <a:lnTo>
                  <a:pt x="35" y="274"/>
                </a:lnTo>
                <a:lnTo>
                  <a:pt x="30" y="290"/>
                </a:lnTo>
                <a:lnTo>
                  <a:pt x="24" y="306"/>
                </a:lnTo>
                <a:lnTo>
                  <a:pt x="20" y="323"/>
                </a:lnTo>
                <a:lnTo>
                  <a:pt x="15" y="341"/>
                </a:lnTo>
                <a:lnTo>
                  <a:pt x="12" y="358"/>
                </a:lnTo>
                <a:lnTo>
                  <a:pt x="8" y="375"/>
                </a:lnTo>
                <a:lnTo>
                  <a:pt x="6" y="392"/>
                </a:lnTo>
                <a:lnTo>
                  <a:pt x="4" y="409"/>
                </a:lnTo>
                <a:lnTo>
                  <a:pt x="2" y="427"/>
                </a:lnTo>
                <a:lnTo>
                  <a:pt x="1" y="445"/>
                </a:lnTo>
                <a:lnTo>
                  <a:pt x="0" y="463"/>
                </a:lnTo>
                <a:close/>
                <a:moveTo>
                  <a:pt x="381" y="463"/>
                </a:moveTo>
                <a:lnTo>
                  <a:pt x="381" y="476"/>
                </a:lnTo>
                <a:lnTo>
                  <a:pt x="382" y="488"/>
                </a:lnTo>
                <a:lnTo>
                  <a:pt x="383" y="501"/>
                </a:lnTo>
                <a:lnTo>
                  <a:pt x="385" y="512"/>
                </a:lnTo>
                <a:lnTo>
                  <a:pt x="387" y="524"/>
                </a:lnTo>
                <a:lnTo>
                  <a:pt x="389" y="535"/>
                </a:lnTo>
                <a:lnTo>
                  <a:pt x="391" y="545"/>
                </a:lnTo>
                <a:lnTo>
                  <a:pt x="394" y="556"/>
                </a:lnTo>
                <a:lnTo>
                  <a:pt x="398" y="565"/>
                </a:lnTo>
                <a:lnTo>
                  <a:pt x="402" y="575"/>
                </a:lnTo>
                <a:lnTo>
                  <a:pt x="406" y="584"/>
                </a:lnTo>
                <a:lnTo>
                  <a:pt x="410" y="593"/>
                </a:lnTo>
                <a:lnTo>
                  <a:pt x="415" y="601"/>
                </a:lnTo>
                <a:lnTo>
                  <a:pt x="420" y="609"/>
                </a:lnTo>
                <a:lnTo>
                  <a:pt x="425" y="617"/>
                </a:lnTo>
                <a:lnTo>
                  <a:pt x="431" y="624"/>
                </a:lnTo>
                <a:lnTo>
                  <a:pt x="437" y="630"/>
                </a:lnTo>
                <a:lnTo>
                  <a:pt x="444" y="637"/>
                </a:lnTo>
                <a:lnTo>
                  <a:pt x="457" y="648"/>
                </a:lnTo>
                <a:lnTo>
                  <a:pt x="464" y="653"/>
                </a:lnTo>
                <a:lnTo>
                  <a:pt x="471" y="658"/>
                </a:lnTo>
                <a:lnTo>
                  <a:pt x="478" y="662"/>
                </a:lnTo>
                <a:lnTo>
                  <a:pt x="485" y="666"/>
                </a:lnTo>
                <a:lnTo>
                  <a:pt x="493" y="669"/>
                </a:lnTo>
                <a:lnTo>
                  <a:pt x="501" y="672"/>
                </a:lnTo>
                <a:lnTo>
                  <a:pt x="509" y="674"/>
                </a:lnTo>
                <a:lnTo>
                  <a:pt x="517" y="676"/>
                </a:lnTo>
                <a:lnTo>
                  <a:pt x="525" y="678"/>
                </a:lnTo>
                <a:lnTo>
                  <a:pt x="533" y="679"/>
                </a:lnTo>
                <a:lnTo>
                  <a:pt x="542" y="680"/>
                </a:lnTo>
                <a:lnTo>
                  <a:pt x="551" y="680"/>
                </a:lnTo>
                <a:lnTo>
                  <a:pt x="566" y="679"/>
                </a:lnTo>
                <a:lnTo>
                  <a:pt x="574" y="678"/>
                </a:lnTo>
                <a:lnTo>
                  <a:pt x="581" y="677"/>
                </a:lnTo>
                <a:lnTo>
                  <a:pt x="596" y="673"/>
                </a:lnTo>
                <a:lnTo>
                  <a:pt x="609" y="668"/>
                </a:lnTo>
                <a:lnTo>
                  <a:pt x="622" y="662"/>
                </a:lnTo>
                <a:lnTo>
                  <a:pt x="634" y="655"/>
                </a:lnTo>
                <a:lnTo>
                  <a:pt x="645" y="646"/>
                </a:lnTo>
                <a:lnTo>
                  <a:pt x="655" y="636"/>
                </a:lnTo>
                <a:lnTo>
                  <a:pt x="665" y="626"/>
                </a:lnTo>
                <a:lnTo>
                  <a:pt x="673" y="614"/>
                </a:lnTo>
                <a:lnTo>
                  <a:pt x="680" y="602"/>
                </a:lnTo>
                <a:lnTo>
                  <a:pt x="686" y="590"/>
                </a:lnTo>
                <a:lnTo>
                  <a:pt x="688" y="583"/>
                </a:lnTo>
                <a:lnTo>
                  <a:pt x="690" y="577"/>
                </a:lnTo>
                <a:lnTo>
                  <a:pt x="692" y="570"/>
                </a:lnTo>
                <a:lnTo>
                  <a:pt x="694" y="563"/>
                </a:lnTo>
                <a:lnTo>
                  <a:pt x="695" y="556"/>
                </a:lnTo>
                <a:lnTo>
                  <a:pt x="696" y="549"/>
                </a:lnTo>
                <a:lnTo>
                  <a:pt x="697" y="534"/>
                </a:lnTo>
                <a:lnTo>
                  <a:pt x="696" y="526"/>
                </a:lnTo>
                <a:lnTo>
                  <a:pt x="696" y="519"/>
                </a:lnTo>
                <a:lnTo>
                  <a:pt x="694" y="504"/>
                </a:lnTo>
                <a:lnTo>
                  <a:pt x="692" y="497"/>
                </a:lnTo>
                <a:lnTo>
                  <a:pt x="691" y="491"/>
                </a:lnTo>
                <a:lnTo>
                  <a:pt x="686" y="478"/>
                </a:lnTo>
                <a:lnTo>
                  <a:pt x="684" y="471"/>
                </a:lnTo>
                <a:lnTo>
                  <a:pt x="681" y="465"/>
                </a:lnTo>
                <a:lnTo>
                  <a:pt x="674" y="454"/>
                </a:lnTo>
                <a:lnTo>
                  <a:pt x="671" y="448"/>
                </a:lnTo>
                <a:lnTo>
                  <a:pt x="667" y="443"/>
                </a:lnTo>
                <a:lnTo>
                  <a:pt x="658" y="432"/>
                </a:lnTo>
                <a:lnTo>
                  <a:pt x="653" y="428"/>
                </a:lnTo>
                <a:lnTo>
                  <a:pt x="648" y="423"/>
                </a:lnTo>
                <a:lnTo>
                  <a:pt x="643" y="419"/>
                </a:lnTo>
                <a:lnTo>
                  <a:pt x="638" y="415"/>
                </a:lnTo>
                <a:lnTo>
                  <a:pt x="627" y="408"/>
                </a:lnTo>
                <a:lnTo>
                  <a:pt x="615" y="402"/>
                </a:lnTo>
                <a:lnTo>
                  <a:pt x="609" y="400"/>
                </a:lnTo>
                <a:lnTo>
                  <a:pt x="602" y="398"/>
                </a:lnTo>
                <a:lnTo>
                  <a:pt x="596" y="396"/>
                </a:lnTo>
                <a:lnTo>
                  <a:pt x="589" y="395"/>
                </a:lnTo>
                <a:lnTo>
                  <a:pt x="582" y="393"/>
                </a:lnTo>
                <a:lnTo>
                  <a:pt x="575" y="393"/>
                </a:lnTo>
                <a:lnTo>
                  <a:pt x="561" y="392"/>
                </a:lnTo>
                <a:lnTo>
                  <a:pt x="550" y="392"/>
                </a:lnTo>
                <a:lnTo>
                  <a:pt x="538" y="394"/>
                </a:lnTo>
                <a:lnTo>
                  <a:pt x="529" y="396"/>
                </a:lnTo>
                <a:lnTo>
                  <a:pt x="526" y="397"/>
                </a:lnTo>
                <a:lnTo>
                  <a:pt x="523" y="398"/>
                </a:lnTo>
                <a:lnTo>
                  <a:pt x="524" y="388"/>
                </a:lnTo>
                <a:lnTo>
                  <a:pt x="526" y="377"/>
                </a:lnTo>
                <a:lnTo>
                  <a:pt x="528" y="367"/>
                </a:lnTo>
                <a:lnTo>
                  <a:pt x="530" y="356"/>
                </a:lnTo>
                <a:lnTo>
                  <a:pt x="532" y="346"/>
                </a:lnTo>
                <a:lnTo>
                  <a:pt x="535" y="334"/>
                </a:lnTo>
                <a:lnTo>
                  <a:pt x="539" y="323"/>
                </a:lnTo>
                <a:lnTo>
                  <a:pt x="542" y="313"/>
                </a:lnTo>
                <a:lnTo>
                  <a:pt x="551" y="291"/>
                </a:lnTo>
                <a:lnTo>
                  <a:pt x="556" y="281"/>
                </a:lnTo>
                <a:lnTo>
                  <a:pt x="561" y="270"/>
                </a:lnTo>
                <a:lnTo>
                  <a:pt x="566" y="259"/>
                </a:lnTo>
                <a:lnTo>
                  <a:pt x="572" y="248"/>
                </a:lnTo>
                <a:lnTo>
                  <a:pt x="579" y="237"/>
                </a:lnTo>
                <a:lnTo>
                  <a:pt x="585" y="227"/>
                </a:lnTo>
                <a:lnTo>
                  <a:pt x="592" y="216"/>
                </a:lnTo>
                <a:lnTo>
                  <a:pt x="600" y="205"/>
                </a:lnTo>
                <a:lnTo>
                  <a:pt x="615" y="185"/>
                </a:lnTo>
                <a:lnTo>
                  <a:pt x="623" y="175"/>
                </a:lnTo>
                <a:lnTo>
                  <a:pt x="631" y="166"/>
                </a:lnTo>
                <a:lnTo>
                  <a:pt x="648" y="147"/>
                </a:lnTo>
                <a:lnTo>
                  <a:pt x="665" y="129"/>
                </a:lnTo>
                <a:lnTo>
                  <a:pt x="674" y="121"/>
                </a:lnTo>
                <a:lnTo>
                  <a:pt x="684" y="112"/>
                </a:lnTo>
                <a:lnTo>
                  <a:pt x="694" y="104"/>
                </a:lnTo>
                <a:lnTo>
                  <a:pt x="703" y="96"/>
                </a:lnTo>
                <a:lnTo>
                  <a:pt x="724" y="81"/>
                </a:lnTo>
                <a:lnTo>
                  <a:pt x="622" y="0"/>
                </a:lnTo>
                <a:lnTo>
                  <a:pt x="609" y="9"/>
                </a:lnTo>
                <a:lnTo>
                  <a:pt x="597" y="19"/>
                </a:lnTo>
                <a:lnTo>
                  <a:pt x="585" y="29"/>
                </a:lnTo>
                <a:lnTo>
                  <a:pt x="573" y="39"/>
                </a:lnTo>
                <a:lnTo>
                  <a:pt x="561" y="50"/>
                </a:lnTo>
                <a:lnTo>
                  <a:pt x="550" y="62"/>
                </a:lnTo>
                <a:lnTo>
                  <a:pt x="539" y="73"/>
                </a:lnTo>
                <a:lnTo>
                  <a:pt x="528" y="85"/>
                </a:lnTo>
                <a:lnTo>
                  <a:pt x="518" y="98"/>
                </a:lnTo>
                <a:lnTo>
                  <a:pt x="508" y="111"/>
                </a:lnTo>
                <a:lnTo>
                  <a:pt x="488" y="137"/>
                </a:lnTo>
                <a:lnTo>
                  <a:pt x="478" y="151"/>
                </a:lnTo>
                <a:lnTo>
                  <a:pt x="469" y="165"/>
                </a:lnTo>
                <a:lnTo>
                  <a:pt x="460" y="180"/>
                </a:lnTo>
                <a:lnTo>
                  <a:pt x="452" y="195"/>
                </a:lnTo>
                <a:lnTo>
                  <a:pt x="443" y="210"/>
                </a:lnTo>
                <a:lnTo>
                  <a:pt x="436" y="226"/>
                </a:lnTo>
                <a:lnTo>
                  <a:pt x="428" y="242"/>
                </a:lnTo>
                <a:lnTo>
                  <a:pt x="422" y="258"/>
                </a:lnTo>
                <a:lnTo>
                  <a:pt x="410" y="290"/>
                </a:lnTo>
                <a:lnTo>
                  <a:pt x="405" y="306"/>
                </a:lnTo>
                <a:lnTo>
                  <a:pt x="400" y="323"/>
                </a:lnTo>
                <a:lnTo>
                  <a:pt x="396" y="341"/>
                </a:lnTo>
                <a:lnTo>
                  <a:pt x="392" y="358"/>
                </a:lnTo>
                <a:lnTo>
                  <a:pt x="389" y="375"/>
                </a:lnTo>
                <a:lnTo>
                  <a:pt x="386" y="392"/>
                </a:lnTo>
                <a:lnTo>
                  <a:pt x="384" y="409"/>
                </a:lnTo>
                <a:lnTo>
                  <a:pt x="383" y="427"/>
                </a:lnTo>
                <a:lnTo>
                  <a:pt x="381" y="445"/>
                </a:lnTo>
                <a:lnTo>
                  <a:pt x="381" y="4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30" name="Text Placeholder 27"/>
          <p:cNvSpPr>
            <a:spLocks noGrp="1"/>
          </p:cNvSpPr>
          <p:nvPr>
            <p:ph type="body" sz="quarter" idx="33"/>
          </p:nvPr>
        </p:nvSpPr>
        <p:spPr>
          <a:xfrm>
            <a:off x="2566988" y="1628775"/>
            <a:ext cx="7058025" cy="1642501"/>
          </a:xfrm>
        </p:spPr>
        <p:txBody>
          <a:bodyPr>
            <a:spAutoFit/>
          </a:bodyPr>
          <a:lstStyle>
            <a:lvl1pPr marL="0" indent="0">
              <a:buFontTx/>
              <a:buNone/>
              <a:defRPr sz="4000" b="1" i="1" spc="0">
                <a:solidFill>
                  <a:schemeClr val="bg1"/>
                </a:solidFill>
                <a:latin typeface="Georgia" panose="02040502050405020303" pitchFamily="18" charset="0"/>
              </a:defRPr>
            </a:lvl1pPr>
            <a:lvl2pPr marL="0" indent="0">
              <a:buFontTx/>
              <a:buNone/>
              <a:defRPr sz="1400" spc="0">
                <a:solidFill>
                  <a:schemeClr val="bg1"/>
                </a:solidFill>
              </a:defRPr>
            </a:lvl2pPr>
            <a:lvl3pPr marL="0" indent="0">
              <a:buFontTx/>
              <a:buNone/>
              <a:defRPr sz="1200" spc="0">
                <a:solidFill>
                  <a:schemeClr val="accent1"/>
                </a:solidFill>
              </a:defRPr>
            </a:lvl3pPr>
            <a:lvl4pPr marL="0" indent="0">
              <a:buFontTx/>
              <a:buNone/>
              <a:defRPr sz="1200" spc="0">
                <a:solidFill>
                  <a:schemeClr val="accent1"/>
                </a:solidFill>
              </a:defRPr>
            </a:lvl4pPr>
            <a:lvl5pPr marL="0" indent="0">
              <a:buFontTx/>
              <a:buNone/>
              <a:defRPr sz="1200" spc="0">
                <a:solidFill>
                  <a:schemeClr val="accent1"/>
                </a:solidFill>
              </a:defRPr>
            </a:lvl5pPr>
            <a:lvl6pPr marL="0" indent="0">
              <a:buFontTx/>
              <a:buNone/>
              <a:defRPr sz="1200">
                <a:solidFill>
                  <a:schemeClr val="accent1"/>
                </a:solidFill>
              </a:defRPr>
            </a:lvl6pPr>
            <a:lvl7pPr marL="0" indent="0">
              <a:buFontTx/>
              <a:buNone/>
              <a:defRPr sz="1200">
                <a:solidFill>
                  <a:schemeClr val="accent1"/>
                </a:solidFill>
              </a:defRPr>
            </a:lvl7pPr>
            <a:lvl8pPr marL="0" indent="0">
              <a:buFontTx/>
              <a:buNone/>
              <a:defRPr sz="1200">
                <a:solidFill>
                  <a:schemeClr val="accent1"/>
                </a:solidFill>
              </a:defRPr>
            </a:lvl8pPr>
            <a:lvl9pPr marL="0" indent="0">
              <a:buFontTx/>
              <a:buNone/>
              <a:defRPr sz="1200">
                <a:solidFill>
                  <a:schemeClr val="accent1"/>
                </a:solidFill>
              </a:defRPr>
            </a:lvl9pPr>
          </a:lstStyle>
          <a:p>
            <a:pPr lvl="0"/>
            <a:r>
              <a:rPr lang="en-US"/>
              <a:t>Click to edit Master text styles</a:t>
            </a:r>
          </a:p>
          <a:p>
            <a:pPr lvl="1"/>
            <a:r>
              <a:rPr lang="en-US"/>
              <a:t>Second level</a:t>
            </a:r>
          </a:p>
        </p:txBody>
      </p:sp>
      <p:pic>
        <p:nvPicPr>
          <p:cNvPr id="12" name="Graphic 11">
            <a:extLst>
              <a:ext uri="{FF2B5EF4-FFF2-40B4-BE49-F238E27FC236}">
                <a16:creationId xmlns:a16="http://schemas.microsoft.com/office/drawing/2014/main" id="{3BFCA489-B333-486F-A75F-7B2F2E4128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48432" y="405903"/>
            <a:ext cx="1620176" cy="648072"/>
          </a:xfrm>
          <a:prstGeom prst="rect">
            <a:avLst/>
          </a:prstGeom>
        </p:spPr>
      </p:pic>
    </p:spTree>
    <p:extLst>
      <p:ext uri="{BB962C8B-B14F-4D97-AF65-F5344CB8AC3E}">
        <p14:creationId xmlns:p14="http://schemas.microsoft.com/office/powerpoint/2010/main" val="328199679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Nega 2">
    <p:bg>
      <p:bgPr>
        <a:solidFill>
          <a:schemeClr val="tx1"/>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solidFill>
                  <a:schemeClr val="bg1"/>
                </a:solidFill>
              </a:defRPr>
            </a:lvl1pPr>
          </a:lstStyle>
          <a:p>
            <a:fld id="{25B2C2C0-71A7-4589-ACBB-A4152289C972}" type="datetime4">
              <a:rPr lang="en-GB" smtClean="0"/>
              <a:t>16 February 2023</a:t>
            </a:fld>
            <a:endParaRPr lang="fi-FI"/>
          </a:p>
        </p:txBody>
      </p:sp>
      <p:sp>
        <p:nvSpPr>
          <p:cNvPr id="6" name="Footer Placeholder 5"/>
          <p:cNvSpPr>
            <a:spLocks noGrp="1"/>
          </p:cNvSpPr>
          <p:nvPr>
            <p:ph type="ftr" sz="quarter" idx="11"/>
          </p:nvPr>
        </p:nvSpPr>
        <p:spPr/>
        <p:txBody>
          <a:bodyPr/>
          <a:lstStyle>
            <a:lvl1pPr>
              <a:defRPr>
                <a:solidFill>
                  <a:schemeClr val="bg1"/>
                </a:solidFill>
              </a:defRPr>
            </a:lvl1pPr>
          </a:lstStyle>
          <a:p>
            <a:r>
              <a:rPr lang="fi-FI"/>
              <a:t>CONFIDENTIAL</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C681002B-9E36-49F2-803E-4F1D6FC85B63}" type="slidenum">
              <a:rPr lang="fi-FI" smtClean="0"/>
              <a:pPr/>
              <a:t>‹#›</a:t>
            </a:fld>
            <a:endParaRPr lang="fi-FI"/>
          </a:p>
        </p:txBody>
      </p:sp>
      <p:sp>
        <p:nvSpPr>
          <p:cNvPr id="26" name="Freeform 6"/>
          <p:cNvSpPr>
            <a:spLocks noChangeAspect="1" noEditPoints="1"/>
          </p:cNvSpPr>
          <p:nvPr userDrawn="1"/>
        </p:nvSpPr>
        <p:spPr bwMode="auto">
          <a:xfrm>
            <a:off x="623888" y="1196752"/>
            <a:ext cx="459951" cy="432000"/>
          </a:xfrm>
          <a:custGeom>
            <a:avLst/>
            <a:gdLst>
              <a:gd name="T0" fmla="*/ 4 w 724"/>
              <a:gd name="T1" fmla="*/ 512 h 680"/>
              <a:gd name="T2" fmla="*/ 18 w 724"/>
              <a:gd name="T3" fmla="*/ 565 h 680"/>
              <a:gd name="T4" fmla="*/ 41 w 724"/>
              <a:gd name="T5" fmla="*/ 609 h 680"/>
              <a:gd name="T6" fmla="*/ 79 w 724"/>
              <a:gd name="T7" fmla="*/ 648 h 680"/>
              <a:gd name="T8" fmla="*/ 115 w 724"/>
              <a:gd name="T9" fmla="*/ 669 h 680"/>
              <a:gd name="T10" fmla="*/ 156 w 724"/>
              <a:gd name="T11" fmla="*/ 679 h 680"/>
              <a:gd name="T12" fmla="*/ 203 w 724"/>
              <a:gd name="T13" fmla="*/ 677 h 680"/>
              <a:gd name="T14" fmla="*/ 254 w 724"/>
              <a:gd name="T15" fmla="*/ 655 h 680"/>
              <a:gd name="T16" fmla="*/ 284 w 724"/>
              <a:gd name="T17" fmla="*/ 626 h 680"/>
              <a:gd name="T18" fmla="*/ 310 w 724"/>
              <a:gd name="T19" fmla="*/ 577 h 680"/>
              <a:gd name="T20" fmla="*/ 316 w 724"/>
              <a:gd name="T21" fmla="*/ 534 h 680"/>
              <a:gd name="T22" fmla="*/ 310 w 724"/>
              <a:gd name="T23" fmla="*/ 491 h 680"/>
              <a:gd name="T24" fmla="*/ 290 w 724"/>
              <a:gd name="T25" fmla="*/ 448 h 680"/>
              <a:gd name="T26" fmla="*/ 262 w 724"/>
              <a:gd name="T27" fmla="*/ 419 h 680"/>
              <a:gd name="T28" fmla="*/ 222 w 724"/>
              <a:gd name="T29" fmla="*/ 398 h 680"/>
              <a:gd name="T30" fmla="*/ 180 w 724"/>
              <a:gd name="T31" fmla="*/ 392 h 680"/>
              <a:gd name="T32" fmla="*/ 143 w 724"/>
              <a:gd name="T33" fmla="*/ 398 h 680"/>
              <a:gd name="T34" fmla="*/ 152 w 724"/>
              <a:gd name="T35" fmla="*/ 346 h 680"/>
              <a:gd name="T36" fmla="*/ 175 w 724"/>
              <a:gd name="T37" fmla="*/ 281 h 680"/>
              <a:gd name="T38" fmla="*/ 205 w 724"/>
              <a:gd name="T39" fmla="*/ 227 h 680"/>
              <a:gd name="T40" fmla="*/ 250 w 724"/>
              <a:gd name="T41" fmla="*/ 166 h 680"/>
              <a:gd name="T42" fmla="*/ 313 w 724"/>
              <a:gd name="T43" fmla="*/ 104 h 680"/>
              <a:gd name="T44" fmla="*/ 217 w 724"/>
              <a:gd name="T45" fmla="*/ 19 h 680"/>
              <a:gd name="T46" fmla="*/ 160 w 724"/>
              <a:gd name="T47" fmla="*/ 73 h 680"/>
              <a:gd name="T48" fmla="*/ 99 w 724"/>
              <a:gd name="T49" fmla="*/ 151 h 680"/>
              <a:gd name="T50" fmla="*/ 56 w 724"/>
              <a:gd name="T51" fmla="*/ 226 h 680"/>
              <a:gd name="T52" fmla="*/ 20 w 724"/>
              <a:gd name="T53" fmla="*/ 323 h 680"/>
              <a:gd name="T54" fmla="*/ 4 w 724"/>
              <a:gd name="T55" fmla="*/ 409 h 680"/>
              <a:gd name="T56" fmla="*/ 381 w 724"/>
              <a:gd name="T57" fmla="*/ 476 h 680"/>
              <a:gd name="T58" fmla="*/ 389 w 724"/>
              <a:gd name="T59" fmla="*/ 535 h 680"/>
              <a:gd name="T60" fmla="*/ 406 w 724"/>
              <a:gd name="T61" fmla="*/ 584 h 680"/>
              <a:gd name="T62" fmla="*/ 431 w 724"/>
              <a:gd name="T63" fmla="*/ 624 h 680"/>
              <a:gd name="T64" fmla="*/ 471 w 724"/>
              <a:gd name="T65" fmla="*/ 658 h 680"/>
              <a:gd name="T66" fmla="*/ 509 w 724"/>
              <a:gd name="T67" fmla="*/ 674 h 680"/>
              <a:gd name="T68" fmla="*/ 551 w 724"/>
              <a:gd name="T69" fmla="*/ 680 h 680"/>
              <a:gd name="T70" fmla="*/ 609 w 724"/>
              <a:gd name="T71" fmla="*/ 668 h 680"/>
              <a:gd name="T72" fmla="*/ 665 w 724"/>
              <a:gd name="T73" fmla="*/ 626 h 680"/>
              <a:gd name="T74" fmla="*/ 690 w 724"/>
              <a:gd name="T75" fmla="*/ 577 h 680"/>
              <a:gd name="T76" fmla="*/ 697 w 724"/>
              <a:gd name="T77" fmla="*/ 534 h 680"/>
              <a:gd name="T78" fmla="*/ 691 w 724"/>
              <a:gd name="T79" fmla="*/ 491 h 680"/>
              <a:gd name="T80" fmla="*/ 671 w 724"/>
              <a:gd name="T81" fmla="*/ 448 h 680"/>
              <a:gd name="T82" fmla="*/ 643 w 724"/>
              <a:gd name="T83" fmla="*/ 419 h 680"/>
              <a:gd name="T84" fmla="*/ 602 w 724"/>
              <a:gd name="T85" fmla="*/ 398 h 680"/>
              <a:gd name="T86" fmla="*/ 561 w 724"/>
              <a:gd name="T87" fmla="*/ 392 h 680"/>
              <a:gd name="T88" fmla="*/ 523 w 724"/>
              <a:gd name="T89" fmla="*/ 398 h 680"/>
              <a:gd name="T90" fmla="*/ 532 w 724"/>
              <a:gd name="T91" fmla="*/ 346 h 680"/>
              <a:gd name="T92" fmla="*/ 556 w 724"/>
              <a:gd name="T93" fmla="*/ 281 h 680"/>
              <a:gd name="T94" fmla="*/ 585 w 724"/>
              <a:gd name="T95" fmla="*/ 227 h 680"/>
              <a:gd name="T96" fmla="*/ 631 w 724"/>
              <a:gd name="T97" fmla="*/ 166 h 680"/>
              <a:gd name="T98" fmla="*/ 694 w 724"/>
              <a:gd name="T99" fmla="*/ 104 h 680"/>
              <a:gd name="T100" fmla="*/ 597 w 724"/>
              <a:gd name="T101" fmla="*/ 19 h 680"/>
              <a:gd name="T102" fmla="*/ 539 w 724"/>
              <a:gd name="T103" fmla="*/ 73 h 680"/>
              <a:gd name="T104" fmla="*/ 478 w 724"/>
              <a:gd name="T105" fmla="*/ 151 h 680"/>
              <a:gd name="T106" fmla="*/ 436 w 724"/>
              <a:gd name="T107" fmla="*/ 226 h 680"/>
              <a:gd name="T108" fmla="*/ 400 w 724"/>
              <a:gd name="T109" fmla="*/ 323 h 680"/>
              <a:gd name="T110" fmla="*/ 384 w 724"/>
              <a:gd name="T111" fmla="*/ 409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4" h="680">
                <a:moveTo>
                  <a:pt x="0" y="463"/>
                </a:moveTo>
                <a:lnTo>
                  <a:pt x="1" y="476"/>
                </a:lnTo>
                <a:lnTo>
                  <a:pt x="1" y="488"/>
                </a:lnTo>
                <a:lnTo>
                  <a:pt x="3" y="501"/>
                </a:lnTo>
                <a:lnTo>
                  <a:pt x="4" y="512"/>
                </a:lnTo>
                <a:lnTo>
                  <a:pt x="6" y="524"/>
                </a:lnTo>
                <a:lnTo>
                  <a:pt x="9" y="535"/>
                </a:lnTo>
                <a:lnTo>
                  <a:pt x="11" y="545"/>
                </a:lnTo>
                <a:lnTo>
                  <a:pt x="14" y="556"/>
                </a:lnTo>
                <a:lnTo>
                  <a:pt x="18" y="565"/>
                </a:lnTo>
                <a:lnTo>
                  <a:pt x="22" y="575"/>
                </a:lnTo>
                <a:lnTo>
                  <a:pt x="26" y="584"/>
                </a:lnTo>
                <a:lnTo>
                  <a:pt x="30" y="593"/>
                </a:lnTo>
                <a:lnTo>
                  <a:pt x="35" y="601"/>
                </a:lnTo>
                <a:lnTo>
                  <a:pt x="41" y="609"/>
                </a:lnTo>
                <a:lnTo>
                  <a:pt x="46" y="617"/>
                </a:lnTo>
                <a:lnTo>
                  <a:pt x="52" y="624"/>
                </a:lnTo>
                <a:lnTo>
                  <a:pt x="59" y="630"/>
                </a:lnTo>
                <a:lnTo>
                  <a:pt x="65" y="637"/>
                </a:lnTo>
                <a:lnTo>
                  <a:pt x="79" y="648"/>
                </a:lnTo>
                <a:lnTo>
                  <a:pt x="86" y="653"/>
                </a:lnTo>
                <a:lnTo>
                  <a:pt x="93" y="658"/>
                </a:lnTo>
                <a:lnTo>
                  <a:pt x="100" y="662"/>
                </a:lnTo>
                <a:lnTo>
                  <a:pt x="108" y="666"/>
                </a:lnTo>
                <a:lnTo>
                  <a:pt x="115" y="669"/>
                </a:lnTo>
                <a:lnTo>
                  <a:pt x="123" y="672"/>
                </a:lnTo>
                <a:lnTo>
                  <a:pt x="131" y="674"/>
                </a:lnTo>
                <a:lnTo>
                  <a:pt x="139" y="676"/>
                </a:lnTo>
                <a:lnTo>
                  <a:pt x="147" y="678"/>
                </a:lnTo>
                <a:lnTo>
                  <a:pt x="156" y="679"/>
                </a:lnTo>
                <a:lnTo>
                  <a:pt x="164" y="680"/>
                </a:lnTo>
                <a:lnTo>
                  <a:pt x="173" y="680"/>
                </a:lnTo>
                <a:lnTo>
                  <a:pt x="188" y="679"/>
                </a:lnTo>
                <a:lnTo>
                  <a:pt x="196" y="678"/>
                </a:lnTo>
                <a:lnTo>
                  <a:pt x="203" y="677"/>
                </a:lnTo>
                <a:lnTo>
                  <a:pt x="217" y="673"/>
                </a:lnTo>
                <a:lnTo>
                  <a:pt x="230" y="668"/>
                </a:lnTo>
                <a:lnTo>
                  <a:pt x="236" y="665"/>
                </a:lnTo>
                <a:lnTo>
                  <a:pt x="242" y="662"/>
                </a:lnTo>
                <a:lnTo>
                  <a:pt x="254" y="655"/>
                </a:lnTo>
                <a:lnTo>
                  <a:pt x="265" y="646"/>
                </a:lnTo>
                <a:lnTo>
                  <a:pt x="270" y="642"/>
                </a:lnTo>
                <a:lnTo>
                  <a:pt x="275" y="636"/>
                </a:lnTo>
                <a:lnTo>
                  <a:pt x="280" y="631"/>
                </a:lnTo>
                <a:lnTo>
                  <a:pt x="284" y="626"/>
                </a:lnTo>
                <a:lnTo>
                  <a:pt x="292" y="614"/>
                </a:lnTo>
                <a:lnTo>
                  <a:pt x="299" y="602"/>
                </a:lnTo>
                <a:lnTo>
                  <a:pt x="305" y="590"/>
                </a:lnTo>
                <a:lnTo>
                  <a:pt x="307" y="583"/>
                </a:lnTo>
                <a:lnTo>
                  <a:pt x="310" y="577"/>
                </a:lnTo>
                <a:lnTo>
                  <a:pt x="311" y="570"/>
                </a:lnTo>
                <a:lnTo>
                  <a:pt x="313" y="563"/>
                </a:lnTo>
                <a:lnTo>
                  <a:pt x="314" y="556"/>
                </a:lnTo>
                <a:lnTo>
                  <a:pt x="315" y="549"/>
                </a:lnTo>
                <a:lnTo>
                  <a:pt x="316" y="534"/>
                </a:lnTo>
                <a:lnTo>
                  <a:pt x="316" y="526"/>
                </a:lnTo>
                <a:lnTo>
                  <a:pt x="315" y="519"/>
                </a:lnTo>
                <a:lnTo>
                  <a:pt x="313" y="504"/>
                </a:lnTo>
                <a:lnTo>
                  <a:pt x="312" y="497"/>
                </a:lnTo>
                <a:lnTo>
                  <a:pt x="310" y="491"/>
                </a:lnTo>
                <a:lnTo>
                  <a:pt x="306" y="478"/>
                </a:lnTo>
                <a:lnTo>
                  <a:pt x="303" y="471"/>
                </a:lnTo>
                <a:lnTo>
                  <a:pt x="300" y="465"/>
                </a:lnTo>
                <a:lnTo>
                  <a:pt x="294" y="454"/>
                </a:lnTo>
                <a:lnTo>
                  <a:pt x="290" y="448"/>
                </a:lnTo>
                <a:lnTo>
                  <a:pt x="286" y="443"/>
                </a:lnTo>
                <a:lnTo>
                  <a:pt x="277" y="432"/>
                </a:lnTo>
                <a:lnTo>
                  <a:pt x="272" y="428"/>
                </a:lnTo>
                <a:lnTo>
                  <a:pt x="268" y="423"/>
                </a:lnTo>
                <a:lnTo>
                  <a:pt x="262" y="419"/>
                </a:lnTo>
                <a:lnTo>
                  <a:pt x="257" y="415"/>
                </a:lnTo>
                <a:lnTo>
                  <a:pt x="246" y="408"/>
                </a:lnTo>
                <a:lnTo>
                  <a:pt x="234" y="402"/>
                </a:lnTo>
                <a:lnTo>
                  <a:pt x="228" y="400"/>
                </a:lnTo>
                <a:lnTo>
                  <a:pt x="222" y="398"/>
                </a:lnTo>
                <a:lnTo>
                  <a:pt x="215" y="396"/>
                </a:lnTo>
                <a:lnTo>
                  <a:pt x="209" y="395"/>
                </a:lnTo>
                <a:lnTo>
                  <a:pt x="202" y="393"/>
                </a:lnTo>
                <a:lnTo>
                  <a:pt x="195" y="393"/>
                </a:lnTo>
                <a:lnTo>
                  <a:pt x="180" y="392"/>
                </a:lnTo>
                <a:lnTo>
                  <a:pt x="170" y="392"/>
                </a:lnTo>
                <a:lnTo>
                  <a:pt x="159" y="394"/>
                </a:lnTo>
                <a:lnTo>
                  <a:pt x="149" y="396"/>
                </a:lnTo>
                <a:lnTo>
                  <a:pt x="145" y="397"/>
                </a:lnTo>
                <a:lnTo>
                  <a:pt x="143" y="398"/>
                </a:lnTo>
                <a:lnTo>
                  <a:pt x="144" y="388"/>
                </a:lnTo>
                <a:lnTo>
                  <a:pt x="145" y="377"/>
                </a:lnTo>
                <a:lnTo>
                  <a:pt x="147" y="367"/>
                </a:lnTo>
                <a:lnTo>
                  <a:pt x="149" y="356"/>
                </a:lnTo>
                <a:lnTo>
                  <a:pt x="152" y="346"/>
                </a:lnTo>
                <a:lnTo>
                  <a:pt x="155" y="334"/>
                </a:lnTo>
                <a:lnTo>
                  <a:pt x="158" y="323"/>
                </a:lnTo>
                <a:lnTo>
                  <a:pt x="162" y="313"/>
                </a:lnTo>
                <a:lnTo>
                  <a:pt x="170" y="291"/>
                </a:lnTo>
                <a:lnTo>
                  <a:pt x="175" y="281"/>
                </a:lnTo>
                <a:lnTo>
                  <a:pt x="180" y="270"/>
                </a:lnTo>
                <a:lnTo>
                  <a:pt x="186" y="259"/>
                </a:lnTo>
                <a:lnTo>
                  <a:pt x="192" y="248"/>
                </a:lnTo>
                <a:lnTo>
                  <a:pt x="198" y="237"/>
                </a:lnTo>
                <a:lnTo>
                  <a:pt x="205" y="227"/>
                </a:lnTo>
                <a:lnTo>
                  <a:pt x="212" y="216"/>
                </a:lnTo>
                <a:lnTo>
                  <a:pt x="219" y="205"/>
                </a:lnTo>
                <a:lnTo>
                  <a:pt x="234" y="185"/>
                </a:lnTo>
                <a:lnTo>
                  <a:pt x="242" y="175"/>
                </a:lnTo>
                <a:lnTo>
                  <a:pt x="250" y="166"/>
                </a:lnTo>
                <a:lnTo>
                  <a:pt x="267" y="147"/>
                </a:lnTo>
                <a:lnTo>
                  <a:pt x="285" y="129"/>
                </a:lnTo>
                <a:lnTo>
                  <a:pt x="294" y="121"/>
                </a:lnTo>
                <a:lnTo>
                  <a:pt x="303" y="112"/>
                </a:lnTo>
                <a:lnTo>
                  <a:pt x="313" y="104"/>
                </a:lnTo>
                <a:lnTo>
                  <a:pt x="323" y="96"/>
                </a:lnTo>
                <a:lnTo>
                  <a:pt x="343" y="81"/>
                </a:lnTo>
                <a:lnTo>
                  <a:pt x="241" y="0"/>
                </a:lnTo>
                <a:lnTo>
                  <a:pt x="229" y="9"/>
                </a:lnTo>
                <a:lnTo>
                  <a:pt x="217" y="19"/>
                </a:lnTo>
                <a:lnTo>
                  <a:pt x="205" y="29"/>
                </a:lnTo>
                <a:lnTo>
                  <a:pt x="193" y="39"/>
                </a:lnTo>
                <a:lnTo>
                  <a:pt x="182" y="50"/>
                </a:lnTo>
                <a:lnTo>
                  <a:pt x="171" y="62"/>
                </a:lnTo>
                <a:lnTo>
                  <a:pt x="160" y="73"/>
                </a:lnTo>
                <a:lnTo>
                  <a:pt x="149" y="85"/>
                </a:lnTo>
                <a:lnTo>
                  <a:pt x="139" y="98"/>
                </a:lnTo>
                <a:lnTo>
                  <a:pt x="128" y="111"/>
                </a:lnTo>
                <a:lnTo>
                  <a:pt x="109" y="137"/>
                </a:lnTo>
                <a:lnTo>
                  <a:pt x="99" y="151"/>
                </a:lnTo>
                <a:lnTo>
                  <a:pt x="90" y="165"/>
                </a:lnTo>
                <a:lnTo>
                  <a:pt x="81" y="180"/>
                </a:lnTo>
                <a:lnTo>
                  <a:pt x="72" y="195"/>
                </a:lnTo>
                <a:lnTo>
                  <a:pt x="64" y="210"/>
                </a:lnTo>
                <a:lnTo>
                  <a:pt x="56" y="226"/>
                </a:lnTo>
                <a:lnTo>
                  <a:pt x="42" y="258"/>
                </a:lnTo>
                <a:lnTo>
                  <a:pt x="35" y="274"/>
                </a:lnTo>
                <a:lnTo>
                  <a:pt x="30" y="290"/>
                </a:lnTo>
                <a:lnTo>
                  <a:pt x="24" y="306"/>
                </a:lnTo>
                <a:lnTo>
                  <a:pt x="20" y="323"/>
                </a:lnTo>
                <a:lnTo>
                  <a:pt x="15" y="341"/>
                </a:lnTo>
                <a:lnTo>
                  <a:pt x="12" y="358"/>
                </a:lnTo>
                <a:lnTo>
                  <a:pt x="8" y="375"/>
                </a:lnTo>
                <a:lnTo>
                  <a:pt x="6" y="392"/>
                </a:lnTo>
                <a:lnTo>
                  <a:pt x="4" y="409"/>
                </a:lnTo>
                <a:lnTo>
                  <a:pt x="2" y="427"/>
                </a:lnTo>
                <a:lnTo>
                  <a:pt x="1" y="445"/>
                </a:lnTo>
                <a:lnTo>
                  <a:pt x="0" y="463"/>
                </a:lnTo>
                <a:close/>
                <a:moveTo>
                  <a:pt x="381" y="463"/>
                </a:moveTo>
                <a:lnTo>
                  <a:pt x="381" y="476"/>
                </a:lnTo>
                <a:lnTo>
                  <a:pt x="382" y="488"/>
                </a:lnTo>
                <a:lnTo>
                  <a:pt x="383" y="501"/>
                </a:lnTo>
                <a:lnTo>
                  <a:pt x="385" y="512"/>
                </a:lnTo>
                <a:lnTo>
                  <a:pt x="387" y="524"/>
                </a:lnTo>
                <a:lnTo>
                  <a:pt x="389" y="535"/>
                </a:lnTo>
                <a:lnTo>
                  <a:pt x="391" y="545"/>
                </a:lnTo>
                <a:lnTo>
                  <a:pt x="394" y="556"/>
                </a:lnTo>
                <a:lnTo>
                  <a:pt x="398" y="565"/>
                </a:lnTo>
                <a:lnTo>
                  <a:pt x="402" y="575"/>
                </a:lnTo>
                <a:lnTo>
                  <a:pt x="406" y="584"/>
                </a:lnTo>
                <a:lnTo>
                  <a:pt x="410" y="593"/>
                </a:lnTo>
                <a:lnTo>
                  <a:pt x="415" y="601"/>
                </a:lnTo>
                <a:lnTo>
                  <a:pt x="420" y="609"/>
                </a:lnTo>
                <a:lnTo>
                  <a:pt x="425" y="617"/>
                </a:lnTo>
                <a:lnTo>
                  <a:pt x="431" y="624"/>
                </a:lnTo>
                <a:lnTo>
                  <a:pt x="437" y="630"/>
                </a:lnTo>
                <a:lnTo>
                  <a:pt x="444" y="637"/>
                </a:lnTo>
                <a:lnTo>
                  <a:pt x="457" y="648"/>
                </a:lnTo>
                <a:lnTo>
                  <a:pt x="464" y="653"/>
                </a:lnTo>
                <a:lnTo>
                  <a:pt x="471" y="658"/>
                </a:lnTo>
                <a:lnTo>
                  <a:pt x="478" y="662"/>
                </a:lnTo>
                <a:lnTo>
                  <a:pt x="485" y="666"/>
                </a:lnTo>
                <a:lnTo>
                  <a:pt x="493" y="669"/>
                </a:lnTo>
                <a:lnTo>
                  <a:pt x="501" y="672"/>
                </a:lnTo>
                <a:lnTo>
                  <a:pt x="509" y="674"/>
                </a:lnTo>
                <a:lnTo>
                  <a:pt x="517" y="676"/>
                </a:lnTo>
                <a:lnTo>
                  <a:pt x="525" y="678"/>
                </a:lnTo>
                <a:lnTo>
                  <a:pt x="533" y="679"/>
                </a:lnTo>
                <a:lnTo>
                  <a:pt x="542" y="680"/>
                </a:lnTo>
                <a:lnTo>
                  <a:pt x="551" y="680"/>
                </a:lnTo>
                <a:lnTo>
                  <a:pt x="566" y="679"/>
                </a:lnTo>
                <a:lnTo>
                  <a:pt x="574" y="678"/>
                </a:lnTo>
                <a:lnTo>
                  <a:pt x="581" y="677"/>
                </a:lnTo>
                <a:lnTo>
                  <a:pt x="596" y="673"/>
                </a:lnTo>
                <a:lnTo>
                  <a:pt x="609" y="668"/>
                </a:lnTo>
                <a:lnTo>
                  <a:pt x="622" y="662"/>
                </a:lnTo>
                <a:lnTo>
                  <a:pt x="634" y="655"/>
                </a:lnTo>
                <a:lnTo>
                  <a:pt x="645" y="646"/>
                </a:lnTo>
                <a:lnTo>
                  <a:pt x="655" y="636"/>
                </a:lnTo>
                <a:lnTo>
                  <a:pt x="665" y="626"/>
                </a:lnTo>
                <a:lnTo>
                  <a:pt x="673" y="614"/>
                </a:lnTo>
                <a:lnTo>
                  <a:pt x="680" y="602"/>
                </a:lnTo>
                <a:lnTo>
                  <a:pt x="686" y="590"/>
                </a:lnTo>
                <a:lnTo>
                  <a:pt x="688" y="583"/>
                </a:lnTo>
                <a:lnTo>
                  <a:pt x="690" y="577"/>
                </a:lnTo>
                <a:lnTo>
                  <a:pt x="692" y="570"/>
                </a:lnTo>
                <a:lnTo>
                  <a:pt x="694" y="563"/>
                </a:lnTo>
                <a:lnTo>
                  <a:pt x="695" y="556"/>
                </a:lnTo>
                <a:lnTo>
                  <a:pt x="696" y="549"/>
                </a:lnTo>
                <a:lnTo>
                  <a:pt x="697" y="534"/>
                </a:lnTo>
                <a:lnTo>
                  <a:pt x="696" y="526"/>
                </a:lnTo>
                <a:lnTo>
                  <a:pt x="696" y="519"/>
                </a:lnTo>
                <a:lnTo>
                  <a:pt x="694" y="504"/>
                </a:lnTo>
                <a:lnTo>
                  <a:pt x="692" y="497"/>
                </a:lnTo>
                <a:lnTo>
                  <a:pt x="691" y="491"/>
                </a:lnTo>
                <a:lnTo>
                  <a:pt x="686" y="478"/>
                </a:lnTo>
                <a:lnTo>
                  <a:pt x="684" y="471"/>
                </a:lnTo>
                <a:lnTo>
                  <a:pt x="681" y="465"/>
                </a:lnTo>
                <a:lnTo>
                  <a:pt x="674" y="454"/>
                </a:lnTo>
                <a:lnTo>
                  <a:pt x="671" y="448"/>
                </a:lnTo>
                <a:lnTo>
                  <a:pt x="667" y="443"/>
                </a:lnTo>
                <a:lnTo>
                  <a:pt x="658" y="432"/>
                </a:lnTo>
                <a:lnTo>
                  <a:pt x="653" y="428"/>
                </a:lnTo>
                <a:lnTo>
                  <a:pt x="648" y="423"/>
                </a:lnTo>
                <a:lnTo>
                  <a:pt x="643" y="419"/>
                </a:lnTo>
                <a:lnTo>
                  <a:pt x="638" y="415"/>
                </a:lnTo>
                <a:lnTo>
                  <a:pt x="627" y="408"/>
                </a:lnTo>
                <a:lnTo>
                  <a:pt x="615" y="402"/>
                </a:lnTo>
                <a:lnTo>
                  <a:pt x="609" y="400"/>
                </a:lnTo>
                <a:lnTo>
                  <a:pt x="602" y="398"/>
                </a:lnTo>
                <a:lnTo>
                  <a:pt x="596" y="396"/>
                </a:lnTo>
                <a:lnTo>
                  <a:pt x="589" y="395"/>
                </a:lnTo>
                <a:lnTo>
                  <a:pt x="582" y="393"/>
                </a:lnTo>
                <a:lnTo>
                  <a:pt x="575" y="393"/>
                </a:lnTo>
                <a:lnTo>
                  <a:pt x="561" y="392"/>
                </a:lnTo>
                <a:lnTo>
                  <a:pt x="550" y="392"/>
                </a:lnTo>
                <a:lnTo>
                  <a:pt x="538" y="394"/>
                </a:lnTo>
                <a:lnTo>
                  <a:pt x="529" y="396"/>
                </a:lnTo>
                <a:lnTo>
                  <a:pt x="526" y="397"/>
                </a:lnTo>
                <a:lnTo>
                  <a:pt x="523" y="398"/>
                </a:lnTo>
                <a:lnTo>
                  <a:pt x="524" y="388"/>
                </a:lnTo>
                <a:lnTo>
                  <a:pt x="526" y="377"/>
                </a:lnTo>
                <a:lnTo>
                  <a:pt x="528" y="367"/>
                </a:lnTo>
                <a:lnTo>
                  <a:pt x="530" y="356"/>
                </a:lnTo>
                <a:lnTo>
                  <a:pt x="532" y="346"/>
                </a:lnTo>
                <a:lnTo>
                  <a:pt x="535" y="334"/>
                </a:lnTo>
                <a:lnTo>
                  <a:pt x="539" y="323"/>
                </a:lnTo>
                <a:lnTo>
                  <a:pt x="542" y="313"/>
                </a:lnTo>
                <a:lnTo>
                  <a:pt x="551" y="291"/>
                </a:lnTo>
                <a:lnTo>
                  <a:pt x="556" y="281"/>
                </a:lnTo>
                <a:lnTo>
                  <a:pt x="561" y="270"/>
                </a:lnTo>
                <a:lnTo>
                  <a:pt x="566" y="259"/>
                </a:lnTo>
                <a:lnTo>
                  <a:pt x="572" y="248"/>
                </a:lnTo>
                <a:lnTo>
                  <a:pt x="579" y="237"/>
                </a:lnTo>
                <a:lnTo>
                  <a:pt x="585" y="227"/>
                </a:lnTo>
                <a:lnTo>
                  <a:pt x="592" y="216"/>
                </a:lnTo>
                <a:lnTo>
                  <a:pt x="600" y="205"/>
                </a:lnTo>
                <a:lnTo>
                  <a:pt x="615" y="185"/>
                </a:lnTo>
                <a:lnTo>
                  <a:pt x="623" y="175"/>
                </a:lnTo>
                <a:lnTo>
                  <a:pt x="631" y="166"/>
                </a:lnTo>
                <a:lnTo>
                  <a:pt x="648" y="147"/>
                </a:lnTo>
                <a:lnTo>
                  <a:pt x="665" y="129"/>
                </a:lnTo>
                <a:lnTo>
                  <a:pt x="674" y="121"/>
                </a:lnTo>
                <a:lnTo>
                  <a:pt x="684" y="112"/>
                </a:lnTo>
                <a:lnTo>
                  <a:pt x="694" y="104"/>
                </a:lnTo>
                <a:lnTo>
                  <a:pt x="703" y="96"/>
                </a:lnTo>
                <a:lnTo>
                  <a:pt x="724" y="81"/>
                </a:lnTo>
                <a:lnTo>
                  <a:pt x="622" y="0"/>
                </a:lnTo>
                <a:lnTo>
                  <a:pt x="609" y="9"/>
                </a:lnTo>
                <a:lnTo>
                  <a:pt x="597" y="19"/>
                </a:lnTo>
                <a:lnTo>
                  <a:pt x="585" y="29"/>
                </a:lnTo>
                <a:lnTo>
                  <a:pt x="573" y="39"/>
                </a:lnTo>
                <a:lnTo>
                  <a:pt x="561" y="50"/>
                </a:lnTo>
                <a:lnTo>
                  <a:pt x="550" y="62"/>
                </a:lnTo>
                <a:lnTo>
                  <a:pt x="539" y="73"/>
                </a:lnTo>
                <a:lnTo>
                  <a:pt x="528" y="85"/>
                </a:lnTo>
                <a:lnTo>
                  <a:pt x="518" y="98"/>
                </a:lnTo>
                <a:lnTo>
                  <a:pt x="508" y="111"/>
                </a:lnTo>
                <a:lnTo>
                  <a:pt x="488" y="137"/>
                </a:lnTo>
                <a:lnTo>
                  <a:pt x="478" y="151"/>
                </a:lnTo>
                <a:lnTo>
                  <a:pt x="469" y="165"/>
                </a:lnTo>
                <a:lnTo>
                  <a:pt x="460" y="180"/>
                </a:lnTo>
                <a:lnTo>
                  <a:pt x="452" y="195"/>
                </a:lnTo>
                <a:lnTo>
                  <a:pt x="443" y="210"/>
                </a:lnTo>
                <a:lnTo>
                  <a:pt x="436" y="226"/>
                </a:lnTo>
                <a:lnTo>
                  <a:pt x="428" y="242"/>
                </a:lnTo>
                <a:lnTo>
                  <a:pt x="422" y="258"/>
                </a:lnTo>
                <a:lnTo>
                  <a:pt x="410" y="290"/>
                </a:lnTo>
                <a:lnTo>
                  <a:pt x="405" y="306"/>
                </a:lnTo>
                <a:lnTo>
                  <a:pt x="400" y="323"/>
                </a:lnTo>
                <a:lnTo>
                  <a:pt x="396" y="341"/>
                </a:lnTo>
                <a:lnTo>
                  <a:pt x="392" y="358"/>
                </a:lnTo>
                <a:lnTo>
                  <a:pt x="389" y="375"/>
                </a:lnTo>
                <a:lnTo>
                  <a:pt x="386" y="392"/>
                </a:lnTo>
                <a:lnTo>
                  <a:pt x="384" y="409"/>
                </a:lnTo>
                <a:lnTo>
                  <a:pt x="383" y="427"/>
                </a:lnTo>
                <a:lnTo>
                  <a:pt x="381" y="445"/>
                </a:lnTo>
                <a:lnTo>
                  <a:pt x="381" y="4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30" name="Text Placeholder 27"/>
          <p:cNvSpPr>
            <a:spLocks noGrp="1"/>
          </p:cNvSpPr>
          <p:nvPr>
            <p:ph type="body" sz="quarter" idx="33"/>
          </p:nvPr>
        </p:nvSpPr>
        <p:spPr>
          <a:xfrm>
            <a:off x="1127449" y="1628775"/>
            <a:ext cx="4680520" cy="2319609"/>
          </a:xfrm>
        </p:spPr>
        <p:txBody>
          <a:bodyPr wrap="square">
            <a:spAutoFit/>
          </a:bodyPr>
          <a:lstStyle>
            <a:lvl1pPr marL="0" indent="0">
              <a:buFontTx/>
              <a:buNone/>
              <a:defRPr sz="4000" b="1" i="1" spc="0">
                <a:solidFill>
                  <a:schemeClr val="bg1"/>
                </a:solidFill>
                <a:latin typeface="Georgia" panose="02040502050405020303" pitchFamily="18" charset="0"/>
              </a:defRPr>
            </a:lvl1pPr>
            <a:lvl2pPr marL="0" indent="0">
              <a:buFontTx/>
              <a:buNone/>
              <a:defRPr sz="1400" spc="0">
                <a:solidFill>
                  <a:schemeClr val="bg1"/>
                </a:solidFill>
              </a:defRPr>
            </a:lvl2pPr>
            <a:lvl3pPr marL="0" indent="0">
              <a:buFontTx/>
              <a:buNone/>
              <a:defRPr sz="1200" spc="0">
                <a:solidFill>
                  <a:schemeClr val="accent1"/>
                </a:solidFill>
              </a:defRPr>
            </a:lvl3pPr>
            <a:lvl4pPr marL="0" indent="0">
              <a:buFontTx/>
              <a:buNone/>
              <a:defRPr sz="1200" spc="0">
                <a:solidFill>
                  <a:schemeClr val="accent1"/>
                </a:solidFill>
              </a:defRPr>
            </a:lvl4pPr>
            <a:lvl5pPr marL="0" indent="0">
              <a:buFontTx/>
              <a:buNone/>
              <a:defRPr sz="1200" spc="0">
                <a:solidFill>
                  <a:schemeClr val="accent1"/>
                </a:solidFill>
              </a:defRPr>
            </a:lvl5pPr>
            <a:lvl6pPr marL="0" indent="0">
              <a:buFontTx/>
              <a:buNone/>
              <a:defRPr sz="1200">
                <a:solidFill>
                  <a:schemeClr val="accent1"/>
                </a:solidFill>
              </a:defRPr>
            </a:lvl6pPr>
            <a:lvl7pPr marL="0" indent="0">
              <a:buFontTx/>
              <a:buNone/>
              <a:defRPr sz="1200">
                <a:solidFill>
                  <a:schemeClr val="accent1"/>
                </a:solidFill>
              </a:defRPr>
            </a:lvl7pPr>
            <a:lvl8pPr marL="0" indent="0">
              <a:buFontTx/>
              <a:buNone/>
              <a:defRPr sz="1200">
                <a:solidFill>
                  <a:schemeClr val="accent1"/>
                </a:solidFill>
              </a:defRPr>
            </a:lvl8pPr>
            <a:lvl9pPr marL="0" indent="0">
              <a:buFontTx/>
              <a:buNone/>
              <a:defRPr sz="1200">
                <a:solidFill>
                  <a:schemeClr val="accent1"/>
                </a:solidFill>
              </a:defRPr>
            </a:lvl9pPr>
          </a:lstStyle>
          <a:p>
            <a:pPr lvl="0"/>
            <a:r>
              <a:rPr lang="en-US"/>
              <a:t>Click to edit Master text styles</a:t>
            </a:r>
          </a:p>
          <a:p>
            <a:pPr lvl="1"/>
            <a:r>
              <a:rPr lang="en-US"/>
              <a:t>Second level</a:t>
            </a:r>
          </a:p>
        </p:txBody>
      </p:sp>
      <p:sp>
        <p:nvSpPr>
          <p:cNvPr id="12" name="Text Placeholder 27"/>
          <p:cNvSpPr>
            <a:spLocks noGrp="1"/>
          </p:cNvSpPr>
          <p:nvPr>
            <p:ph type="body" sz="quarter" idx="34"/>
          </p:nvPr>
        </p:nvSpPr>
        <p:spPr>
          <a:xfrm>
            <a:off x="6384032" y="1628775"/>
            <a:ext cx="4680520" cy="2319609"/>
          </a:xfrm>
        </p:spPr>
        <p:txBody>
          <a:bodyPr wrap="square">
            <a:spAutoFit/>
          </a:bodyPr>
          <a:lstStyle>
            <a:lvl1pPr marL="0" indent="0">
              <a:buFontTx/>
              <a:buNone/>
              <a:defRPr sz="4000" b="1" i="1" spc="0">
                <a:solidFill>
                  <a:schemeClr val="bg1"/>
                </a:solidFill>
                <a:latin typeface="Georgia" panose="02040502050405020303" pitchFamily="18" charset="0"/>
              </a:defRPr>
            </a:lvl1pPr>
            <a:lvl2pPr marL="0" indent="0">
              <a:buFontTx/>
              <a:buNone/>
              <a:defRPr sz="1400" spc="0">
                <a:solidFill>
                  <a:schemeClr val="bg1"/>
                </a:solidFill>
              </a:defRPr>
            </a:lvl2pPr>
            <a:lvl3pPr marL="0" indent="0">
              <a:buFontTx/>
              <a:buNone/>
              <a:defRPr sz="1200" spc="0">
                <a:solidFill>
                  <a:schemeClr val="accent1"/>
                </a:solidFill>
              </a:defRPr>
            </a:lvl3pPr>
            <a:lvl4pPr marL="0" indent="0">
              <a:buFontTx/>
              <a:buNone/>
              <a:defRPr sz="1200" spc="0">
                <a:solidFill>
                  <a:schemeClr val="accent1"/>
                </a:solidFill>
              </a:defRPr>
            </a:lvl4pPr>
            <a:lvl5pPr marL="0" indent="0">
              <a:buFontTx/>
              <a:buNone/>
              <a:defRPr sz="1200" spc="0">
                <a:solidFill>
                  <a:schemeClr val="accent1"/>
                </a:solidFill>
              </a:defRPr>
            </a:lvl5pPr>
            <a:lvl6pPr marL="0" indent="0">
              <a:buFontTx/>
              <a:buNone/>
              <a:defRPr sz="1200">
                <a:solidFill>
                  <a:schemeClr val="accent1"/>
                </a:solidFill>
              </a:defRPr>
            </a:lvl6pPr>
            <a:lvl7pPr marL="0" indent="0">
              <a:buFontTx/>
              <a:buNone/>
              <a:defRPr sz="1200">
                <a:solidFill>
                  <a:schemeClr val="accent1"/>
                </a:solidFill>
              </a:defRPr>
            </a:lvl7pPr>
            <a:lvl8pPr marL="0" indent="0">
              <a:buFontTx/>
              <a:buNone/>
              <a:defRPr sz="1200">
                <a:solidFill>
                  <a:schemeClr val="accent1"/>
                </a:solidFill>
              </a:defRPr>
            </a:lvl8pPr>
            <a:lvl9pPr marL="0" indent="0">
              <a:buFontTx/>
              <a:buNone/>
              <a:defRPr sz="1200">
                <a:solidFill>
                  <a:schemeClr val="accent1"/>
                </a:solidFill>
              </a:defRPr>
            </a:lvl9pPr>
          </a:lstStyle>
          <a:p>
            <a:pPr lvl="0"/>
            <a:r>
              <a:rPr lang="en-US"/>
              <a:t>Click to edit Master text styles</a:t>
            </a:r>
          </a:p>
          <a:p>
            <a:pPr lvl="1"/>
            <a:r>
              <a:rPr lang="en-US"/>
              <a:t>Second level</a:t>
            </a:r>
          </a:p>
        </p:txBody>
      </p:sp>
      <p:pic>
        <p:nvPicPr>
          <p:cNvPr id="13" name="Graphic 12">
            <a:extLst>
              <a:ext uri="{FF2B5EF4-FFF2-40B4-BE49-F238E27FC236}">
                <a16:creationId xmlns:a16="http://schemas.microsoft.com/office/drawing/2014/main" id="{E34E41E5-853F-46F4-9AAA-066A0D44763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48432" y="405903"/>
            <a:ext cx="1620176" cy="648072"/>
          </a:xfrm>
          <a:prstGeom prst="rect">
            <a:avLst/>
          </a:prstGeom>
        </p:spPr>
      </p:pic>
    </p:spTree>
    <p:extLst>
      <p:ext uri="{BB962C8B-B14F-4D97-AF65-F5344CB8AC3E}">
        <p14:creationId xmlns:p14="http://schemas.microsoft.com/office/powerpoint/2010/main" val="4775041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dirty="0"/>
          </a:p>
        </p:txBody>
      </p:sp>
      <p:sp>
        <p:nvSpPr>
          <p:cNvPr id="3" name="Content Placeholder 2"/>
          <p:cNvSpPr>
            <a:spLocks noGrp="1"/>
          </p:cNvSpPr>
          <p:nvPr>
            <p:ph sz="half" idx="1"/>
          </p:nvPr>
        </p:nvSpPr>
        <p:spPr>
          <a:xfrm>
            <a:off x="623887" y="1628775"/>
            <a:ext cx="5904161" cy="4392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5" name="Date Placeholder 4"/>
          <p:cNvSpPr>
            <a:spLocks noGrp="1"/>
          </p:cNvSpPr>
          <p:nvPr>
            <p:ph type="dt" sz="half" idx="10"/>
          </p:nvPr>
        </p:nvSpPr>
        <p:spPr/>
        <p:txBody>
          <a:bodyPr/>
          <a:lstStyle/>
          <a:p>
            <a:fld id="{D9DBA22B-0FD3-49AF-8A1B-2160CE98DE0A}"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1" name="Picture Placeholder 10"/>
          <p:cNvSpPr>
            <a:spLocks noGrp="1"/>
          </p:cNvSpPr>
          <p:nvPr>
            <p:ph type="pic" sz="quarter" idx="28"/>
          </p:nvPr>
        </p:nvSpPr>
        <p:spPr>
          <a:xfrm>
            <a:off x="7175500" y="1628775"/>
            <a:ext cx="4392613" cy="4392613"/>
          </a:xfrm>
          <a:solidFill>
            <a:schemeClr val="bg2"/>
          </a:solidFill>
        </p:spPr>
        <p:txBody>
          <a:bodyPr/>
          <a:lstStyle>
            <a:lvl1pPr marL="0" indent="0">
              <a:buFontTx/>
              <a:buNone/>
              <a:defRPr sz="1200"/>
            </a:lvl1pPr>
          </a:lstStyle>
          <a:p>
            <a:r>
              <a:rPr lang="en-US"/>
              <a:t>Click icon to add picture</a:t>
            </a:r>
            <a:endParaRPr lang="fi-FI"/>
          </a:p>
        </p:txBody>
      </p:sp>
      <p:sp>
        <p:nvSpPr>
          <p:cNvPr id="10"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58732250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dirty="0"/>
          </a:p>
        </p:txBody>
      </p:sp>
      <p:sp>
        <p:nvSpPr>
          <p:cNvPr id="3" name="Content Placeholder 2"/>
          <p:cNvSpPr>
            <a:spLocks noGrp="1"/>
          </p:cNvSpPr>
          <p:nvPr>
            <p:ph sz="half" idx="1"/>
          </p:nvPr>
        </p:nvSpPr>
        <p:spPr>
          <a:xfrm>
            <a:off x="5663953" y="1628775"/>
            <a:ext cx="5904160" cy="43926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5" name="Date Placeholder 4"/>
          <p:cNvSpPr>
            <a:spLocks noGrp="1"/>
          </p:cNvSpPr>
          <p:nvPr>
            <p:ph type="dt" sz="half" idx="10"/>
          </p:nvPr>
        </p:nvSpPr>
        <p:spPr/>
        <p:txBody>
          <a:bodyPr/>
          <a:lstStyle/>
          <a:p>
            <a:fld id="{2104BE73-111E-4B14-AADC-3B9EE71FAC03}"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1" name="Picture Placeholder 10"/>
          <p:cNvSpPr>
            <a:spLocks noGrp="1"/>
          </p:cNvSpPr>
          <p:nvPr>
            <p:ph type="pic" sz="quarter" idx="28"/>
          </p:nvPr>
        </p:nvSpPr>
        <p:spPr>
          <a:xfrm>
            <a:off x="623888" y="1628775"/>
            <a:ext cx="4392613" cy="4392613"/>
          </a:xfrm>
          <a:solidFill>
            <a:schemeClr val="bg2"/>
          </a:solidFill>
        </p:spPr>
        <p:txBody>
          <a:bodyPr/>
          <a:lstStyle>
            <a:lvl1pPr marL="0" indent="0">
              <a:buFontTx/>
              <a:buNone/>
              <a:defRPr sz="1200"/>
            </a:lvl1pPr>
          </a:lstStyle>
          <a:p>
            <a:r>
              <a:rPr lang="en-US"/>
              <a:t>Click icon to add picture</a:t>
            </a:r>
            <a:endParaRPr lang="fi-FI"/>
          </a:p>
        </p:txBody>
      </p:sp>
      <p:sp>
        <p:nvSpPr>
          <p:cNvPr id="12"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421006468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18 p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3888" y="1628775"/>
            <a:ext cx="5184776" cy="576089"/>
          </a:xfrm>
        </p:spPr>
        <p:txBody>
          <a:bodyPr anchor="t" anchorCtr="0"/>
          <a:lstStyle>
            <a:lvl1pPr marL="0" indent="0">
              <a:buNone/>
              <a:defRPr sz="16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3888" y="2204865"/>
            <a:ext cx="5184775" cy="3816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5" name="Text Placeholder 4"/>
          <p:cNvSpPr>
            <a:spLocks noGrp="1"/>
          </p:cNvSpPr>
          <p:nvPr>
            <p:ph type="body" sz="quarter" idx="3"/>
          </p:nvPr>
        </p:nvSpPr>
        <p:spPr>
          <a:xfrm>
            <a:off x="6383337" y="1628775"/>
            <a:ext cx="5184776" cy="576089"/>
          </a:xfrm>
        </p:spPr>
        <p:txBody>
          <a:bodyPr anchor="t" anchorCtr="0"/>
          <a:lstStyle>
            <a:lvl1pPr marL="0" indent="0">
              <a:buNone/>
              <a:defRPr sz="16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83337" y="2204864"/>
            <a:ext cx="5184775" cy="3816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7" name="Date Placeholder 6"/>
          <p:cNvSpPr>
            <a:spLocks noGrp="1"/>
          </p:cNvSpPr>
          <p:nvPr>
            <p:ph type="dt" sz="half" idx="10"/>
          </p:nvPr>
        </p:nvSpPr>
        <p:spPr/>
        <p:txBody>
          <a:bodyPr/>
          <a:lstStyle/>
          <a:p>
            <a:fld id="{CFF10BC2-ECD6-4A60-B4D0-5D177CA75114}" type="datetime4">
              <a:rPr lang="en-GB" smtClean="0"/>
              <a:t>16 February 2023</a:t>
            </a:fld>
            <a:endParaRPr lang="fi-FI"/>
          </a:p>
        </p:txBody>
      </p:sp>
      <p:sp>
        <p:nvSpPr>
          <p:cNvPr id="8" name="Footer Placeholder 7"/>
          <p:cNvSpPr>
            <a:spLocks noGrp="1"/>
          </p:cNvSpPr>
          <p:nvPr>
            <p:ph type="ftr" sz="quarter" idx="11"/>
          </p:nvPr>
        </p:nvSpPr>
        <p:spPr/>
        <p:txBody>
          <a:bodyPr/>
          <a:lstStyle/>
          <a:p>
            <a:r>
              <a:rPr lang="fi-FI"/>
              <a:t>CONFIDENTIAL</a:t>
            </a:r>
          </a:p>
        </p:txBody>
      </p:sp>
      <p:sp>
        <p:nvSpPr>
          <p:cNvPr id="9" name="Slide Number Placeholder 8"/>
          <p:cNvSpPr>
            <a:spLocks noGrp="1"/>
          </p:cNvSpPr>
          <p:nvPr>
            <p:ph type="sldNum" sz="quarter" idx="12"/>
          </p:nvPr>
        </p:nvSpPr>
        <p:spPr/>
        <p:txBody>
          <a:bodyPr/>
          <a:lstStyle/>
          <a:p>
            <a:fld id="{C681002B-9E36-49F2-803E-4F1D6FC85B63}" type="slidenum">
              <a:rPr lang="fi-FI" smtClean="0"/>
              <a:t>‹#›</a:t>
            </a:fld>
            <a:endParaRPr lang="fi-FI"/>
          </a:p>
        </p:txBody>
      </p:sp>
      <p:sp>
        <p:nvSpPr>
          <p:cNvPr id="10" name="Title 9"/>
          <p:cNvSpPr>
            <a:spLocks noGrp="1"/>
          </p:cNvSpPr>
          <p:nvPr>
            <p:ph type="title"/>
          </p:nvPr>
        </p:nvSpPr>
        <p:spPr/>
        <p:txBody>
          <a:bodyPr/>
          <a:lstStyle/>
          <a:p>
            <a:r>
              <a:rPr lang="en-US"/>
              <a:t>Click to edit Master title style</a:t>
            </a:r>
            <a:endParaRPr lang="fi-FI"/>
          </a:p>
        </p:txBody>
      </p:sp>
      <p:sp>
        <p:nvSpPr>
          <p:cNvPr id="11"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2"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308482332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11 p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3888" y="1628775"/>
            <a:ext cx="5184776" cy="576089"/>
          </a:xfrm>
        </p:spPr>
        <p:txBody>
          <a:bodyPr anchor="t" anchorCtr="0">
            <a:normAutofit/>
          </a:bodyPr>
          <a:lstStyle>
            <a:lvl1pPr marL="0" indent="0">
              <a:buNone/>
              <a:defRPr sz="12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3888" y="2204865"/>
            <a:ext cx="5184775" cy="3816524"/>
          </a:xfrm>
        </p:spPr>
        <p:txBody>
          <a:bodyPr>
            <a:normAutofit/>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5" name="Text Placeholder 4"/>
          <p:cNvSpPr>
            <a:spLocks noGrp="1"/>
          </p:cNvSpPr>
          <p:nvPr>
            <p:ph type="body" sz="quarter" idx="3"/>
          </p:nvPr>
        </p:nvSpPr>
        <p:spPr>
          <a:xfrm>
            <a:off x="6383337" y="1628775"/>
            <a:ext cx="5184776" cy="576089"/>
          </a:xfrm>
        </p:spPr>
        <p:txBody>
          <a:bodyPr anchor="t" anchorCtr="0">
            <a:normAutofit/>
          </a:bodyPr>
          <a:lstStyle>
            <a:lvl1pPr marL="0" indent="0">
              <a:buNone/>
              <a:defRPr sz="12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83337" y="2204864"/>
            <a:ext cx="5184775" cy="3816524"/>
          </a:xfrm>
        </p:spPr>
        <p:txBody>
          <a:bodyPr>
            <a:normAutofit/>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7" name="Date Placeholder 6"/>
          <p:cNvSpPr>
            <a:spLocks noGrp="1"/>
          </p:cNvSpPr>
          <p:nvPr>
            <p:ph type="dt" sz="half" idx="10"/>
          </p:nvPr>
        </p:nvSpPr>
        <p:spPr/>
        <p:txBody>
          <a:bodyPr/>
          <a:lstStyle/>
          <a:p>
            <a:fld id="{9ED41288-BE79-4319-93BB-C10AED727793}" type="datetime4">
              <a:rPr lang="en-GB" smtClean="0"/>
              <a:t>16 February 2023</a:t>
            </a:fld>
            <a:endParaRPr lang="fi-FI"/>
          </a:p>
        </p:txBody>
      </p:sp>
      <p:sp>
        <p:nvSpPr>
          <p:cNvPr id="8" name="Footer Placeholder 7"/>
          <p:cNvSpPr>
            <a:spLocks noGrp="1"/>
          </p:cNvSpPr>
          <p:nvPr>
            <p:ph type="ftr" sz="quarter" idx="11"/>
          </p:nvPr>
        </p:nvSpPr>
        <p:spPr/>
        <p:txBody>
          <a:bodyPr/>
          <a:lstStyle/>
          <a:p>
            <a:r>
              <a:rPr lang="fi-FI"/>
              <a:t>CONFIDENTIAL</a:t>
            </a:r>
          </a:p>
        </p:txBody>
      </p:sp>
      <p:sp>
        <p:nvSpPr>
          <p:cNvPr id="9" name="Slide Number Placeholder 8"/>
          <p:cNvSpPr>
            <a:spLocks noGrp="1"/>
          </p:cNvSpPr>
          <p:nvPr>
            <p:ph type="sldNum" sz="quarter" idx="12"/>
          </p:nvPr>
        </p:nvSpPr>
        <p:spPr/>
        <p:txBody>
          <a:bodyPr/>
          <a:lstStyle/>
          <a:p>
            <a:fld id="{C681002B-9E36-49F2-803E-4F1D6FC85B63}" type="slidenum">
              <a:rPr lang="fi-FI" smtClean="0"/>
              <a:t>‹#›</a:t>
            </a:fld>
            <a:endParaRPr lang="fi-FI"/>
          </a:p>
        </p:txBody>
      </p:sp>
      <p:sp>
        <p:nvSpPr>
          <p:cNvPr id="10" name="Title 9"/>
          <p:cNvSpPr>
            <a:spLocks noGrp="1"/>
          </p:cNvSpPr>
          <p:nvPr>
            <p:ph type="title"/>
          </p:nvPr>
        </p:nvSpPr>
        <p:spPr/>
        <p:txBody>
          <a:bodyPr/>
          <a:lstStyle/>
          <a:p>
            <a:r>
              <a:rPr lang="en-US"/>
              <a:t>Click to edit Master title style</a:t>
            </a:r>
            <a:endParaRPr lang="fi-FI"/>
          </a:p>
        </p:txBody>
      </p:sp>
      <p:sp>
        <p:nvSpPr>
          <p:cNvPr id="11"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2"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16645964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A4B0BC1D-67A6-45DE-8708-84BF133A2B8D}"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7" name="Picture Placeholder 10"/>
          <p:cNvSpPr>
            <a:spLocks noGrp="1"/>
          </p:cNvSpPr>
          <p:nvPr>
            <p:ph type="pic" sz="quarter" idx="30"/>
          </p:nvPr>
        </p:nvSpPr>
        <p:spPr>
          <a:xfrm>
            <a:off x="615737" y="1124744"/>
            <a:ext cx="3464138" cy="3024982"/>
          </a:xfrm>
          <a:solidFill>
            <a:schemeClr val="bg2"/>
          </a:solidFill>
        </p:spPr>
        <p:txBody>
          <a:bodyPr/>
          <a:lstStyle>
            <a:lvl1pPr marL="0" indent="0">
              <a:buFontTx/>
              <a:buNone/>
              <a:defRPr sz="1200"/>
            </a:lvl1pPr>
          </a:lstStyle>
          <a:p>
            <a:r>
              <a:rPr lang="en-US"/>
              <a:t>Click icon to add picture</a:t>
            </a:r>
            <a:endParaRPr lang="fi-FI"/>
          </a:p>
        </p:txBody>
      </p:sp>
      <p:sp>
        <p:nvSpPr>
          <p:cNvPr id="23" name="Text Placeholder 22"/>
          <p:cNvSpPr>
            <a:spLocks noGrp="1"/>
          </p:cNvSpPr>
          <p:nvPr>
            <p:ph type="body" sz="quarter" idx="31" hasCustomPrompt="1"/>
          </p:nvPr>
        </p:nvSpPr>
        <p:spPr>
          <a:xfrm>
            <a:off x="623889" y="4293096"/>
            <a:ext cx="3455986" cy="1728292"/>
          </a:xfrm>
        </p:spPr>
        <p:txBody>
          <a:bodyPr/>
          <a:lstStyle>
            <a:lvl1pPr marL="0" indent="0">
              <a:buFontTx/>
              <a:buNone/>
              <a:defRPr sz="1800" b="1" baseline="0"/>
            </a:lvl1pPr>
            <a:lvl2pPr marL="0" indent="0">
              <a:buFontTx/>
              <a:buNone/>
              <a:defRPr sz="14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Your Name and Details</a:t>
            </a:r>
          </a:p>
          <a:p>
            <a:pPr lvl="1"/>
            <a:r>
              <a:rPr lang="en-US" dirty="0"/>
              <a:t>Second level</a:t>
            </a:r>
          </a:p>
          <a:p>
            <a:pPr lvl="2"/>
            <a:r>
              <a:rPr lang="en-US" dirty="0"/>
              <a:t>Third level</a:t>
            </a:r>
          </a:p>
        </p:txBody>
      </p:sp>
      <p:sp>
        <p:nvSpPr>
          <p:cNvPr id="26" name="Freeform 6"/>
          <p:cNvSpPr>
            <a:spLocks noChangeAspect="1" noEditPoints="1"/>
          </p:cNvSpPr>
          <p:nvPr userDrawn="1"/>
        </p:nvSpPr>
        <p:spPr bwMode="auto">
          <a:xfrm>
            <a:off x="8165629" y="1124744"/>
            <a:ext cx="306635" cy="288000"/>
          </a:xfrm>
          <a:custGeom>
            <a:avLst/>
            <a:gdLst>
              <a:gd name="T0" fmla="*/ 4 w 724"/>
              <a:gd name="T1" fmla="*/ 512 h 680"/>
              <a:gd name="T2" fmla="*/ 18 w 724"/>
              <a:gd name="T3" fmla="*/ 565 h 680"/>
              <a:gd name="T4" fmla="*/ 41 w 724"/>
              <a:gd name="T5" fmla="*/ 609 h 680"/>
              <a:gd name="T6" fmla="*/ 79 w 724"/>
              <a:gd name="T7" fmla="*/ 648 h 680"/>
              <a:gd name="T8" fmla="*/ 115 w 724"/>
              <a:gd name="T9" fmla="*/ 669 h 680"/>
              <a:gd name="T10" fmla="*/ 156 w 724"/>
              <a:gd name="T11" fmla="*/ 679 h 680"/>
              <a:gd name="T12" fmla="*/ 203 w 724"/>
              <a:gd name="T13" fmla="*/ 677 h 680"/>
              <a:gd name="T14" fmla="*/ 254 w 724"/>
              <a:gd name="T15" fmla="*/ 655 h 680"/>
              <a:gd name="T16" fmla="*/ 284 w 724"/>
              <a:gd name="T17" fmla="*/ 626 h 680"/>
              <a:gd name="T18" fmla="*/ 310 w 724"/>
              <a:gd name="T19" fmla="*/ 577 h 680"/>
              <a:gd name="T20" fmla="*/ 316 w 724"/>
              <a:gd name="T21" fmla="*/ 534 h 680"/>
              <a:gd name="T22" fmla="*/ 310 w 724"/>
              <a:gd name="T23" fmla="*/ 491 h 680"/>
              <a:gd name="T24" fmla="*/ 290 w 724"/>
              <a:gd name="T25" fmla="*/ 448 h 680"/>
              <a:gd name="T26" fmla="*/ 262 w 724"/>
              <a:gd name="T27" fmla="*/ 419 h 680"/>
              <a:gd name="T28" fmla="*/ 222 w 724"/>
              <a:gd name="T29" fmla="*/ 398 h 680"/>
              <a:gd name="T30" fmla="*/ 180 w 724"/>
              <a:gd name="T31" fmla="*/ 392 h 680"/>
              <a:gd name="T32" fmla="*/ 143 w 724"/>
              <a:gd name="T33" fmla="*/ 398 h 680"/>
              <a:gd name="T34" fmla="*/ 152 w 724"/>
              <a:gd name="T35" fmla="*/ 346 h 680"/>
              <a:gd name="T36" fmla="*/ 175 w 724"/>
              <a:gd name="T37" fmla="*/ 281 h 680"/>
              <a:gd name="T38" fmla="*/ 205 w 724"/>
              <a:gd name="T39" fmla="*/ 227 h 680"/>
              <a:gd name="T40" fmla="*/ 250 w 724"/>
              <a:gd name="T41" fmla="*/ 166 h 680"/>
              <a:gd name="T42" fmla="*/ 313 w 724"/>
              <a:gd name="T43" fmla="*/ 104 h 680"/>
              <a:gd name="T44" fmla="*/ 217 w 724"/>
              <a:gd name="T45" fmla="*/ 19 h 680"/>
              <a:gd name="T46" fmla="*/ 160 w 724"/>
              <a:gd name="T47" fmla="*/ 73 h 680"/>
              <a:gd name="T48" fmla="*/ 99 w 724"/>
              <a:gd name="T49" fmla="*/ 151 h 680"/>
              <a:gd name="T50" fmla="*/ 56 w 724"/>
              <a:gd name="T51" fmla="*/ 226 h 680"/>
              <a:gd name="T52" fmla="*/ 20 w 724"/>
              <a:gd name="T53" fmla="*/ 323 h 680"/>
              <a:gd name="T54" fmla="*/ 4 w 724"/>
              <a:gd name="T55" fmla="*/ 409 h 680"/>
              <a:gd name="T56" fmla="*/ 381 w 724"/>
              <a:gd name="T57" fmla="*/ 476 h 680"/>
              <a:gd name="T58" fmla="*/ 389 w 724"/>
              <a:gd name="T59" fmla="*/ 535 h 680"/>
              <a:gd name="T60" fmla="*/ 406 w 724"/>
              <a:gd name="T61" fmla="*/ 584 h 680"/>
              <a:gd name="T62" fmla="*/ 431 w 724"/>
              <a:gd name="T63" fmla="*/ 624 h 680"/>
              <a:gd name="T64" fmla="*/ 471 w 724"/>
              <a:gd name="T65" fmla="*/ 658 h 680"/>
              <a:gd name="T66" fmla="*/ 509 w 724"/>
              <a:gd name="T67" fmla="*/ 674 h 680"/>
              <a:gd name="T68" fmla="*/ 551 w 724"/>
              <a:gd name="T69" fmla="*/ 680 h 680"/>
              <a:gd name="T70" fmla="*/ 609 w 724"/>
              <a:gd name="T71" fmla="*/ 668 h 680"/>
              <a:gd name="T72" fmla="*/ 665 w 724"/>
              <a:gd name="T73" fmla="*/ 626 h 680"/>
              <a:gd name="T74" fmla="*/ 690 w 724"/>
              <a:gd name="T75" fmla="*/ 577 h 680"/>
              <a:gd name="T76" fmla="*/ 697 w 724"/>
              <a:gd name="T77" fmla="*/ 534 h 680"/>
              <a:gd name="T78" fmla="*/ 691 w 724"/>
              <a:gd name="T79" fmla="*/ 491 h 680"/>
              <a:gd name="T80" fmla="*/ 671 w 724"/>
              <a:gd name="T81" fmla="*/ 448 h 680"/>
              <a:gd name="T82" fmla="*/ 643 w 724"/>
              <a:gd name="T83" fmla="*/ 419 h 680"/>
              <a:gd name="T84" fmla="*/ 602 w 724"/>
              <a:gd name="T85" fmla="*/ 398 h 680"/>
              <a:gd name="T86" fmla="*/ 561 w 724"/>
              <a:gd name="T87" fmla="*/ 392 h 680"/>
              <a:gd name="T88" fmla="*/ 523 w 724"/>
              <a:gd name="T89" fmla="*/ 398 h 680"/>
              <a:gd name="T90" fmla="*/ 532 w 724"/>
              <a:gd name="T91" fmla="*/ 346 h 680"/>
              <a:gd name="T92" fmla="*/ 556 w 724"/>
              <a:gd name="T93" fmla="*/ 281 h 680"/>
              <a:gd name="T94" fmla="*/ 585 w 724"/>
              <a:gd name="T95" fmla="*/ 227 h 680"/>
              <a:gd name="T96" fmla="*/ 631 w 724"/>
              <a:gd name="T97" fmla="*/ 166 h 680"/>
              <a:gd name="T98" fmla="*/ 694 w 724"/>
              <a:gd name="T99" fmla="*/ 104 h 680"/>
              <a:gd name="T100" fmla="*/ 597 w 724"/>
              <a:gd name="T101" fmla="*/ 19 h 680"/>
              <a:gd name="T102" fmla="*/ 539 w 724"/>
              <a:gd name="T103" fmla="*/ 73 h 680"/>
              <a:gd name="T104" fmla="*/ 478 w 724"/>
              <a:gd name="T105" fmla="*/ 151 h 680"/>
              <a:gd name="T106" fmla="*/ 436 w 724"/>
              <a:gd name="T107" fmla="*/ 226 h 680"/>
              <a:gd name="T108" fmla="*/ 400 w 724"/>
              <a:gd name="T109" fmla="*/ 323 h 680"/>
              <a:gd name="T110" fmla="*/ 384 w 724"/>
              <a:gd name="T111" fmla="*/ 409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4" h="680">
                <a:moveTo>
                  <a:pt x="0" y="463"/>
                </a:moveTo>
                <a:lnTo>
                  <a:pt x="1" y="476"/>
                </a:lnTo>
                <a:lnTo>
                  <a:pt x="1" y="488"/>
                </a:lnTo>
                <a:lnTo>
                  <a:pt x="3" y="501"/>
                </a:lnTo>
                <a:lnTo>
                  <a:pt x="4" y="512"/>
                </a:lnTo>
                <a:lnTo>
                  <a:pt x="6" y="524"/>
                </a:lnTo>
                <a:lnTo>
                  <a:pt x="9" y="535"/>
                </a:lnTo>
                <a:lnTo>
                  <a:pt x="11" y="545"/>
                </a:lnTo>
                <a:lnTo>
                  <a:pt x="14" y="556"/>
                </a:lnTo>
                <a:lnTo>
                  <a:pt x="18" y="565"/>
                </a:lnTo>
                <a:lnTo>
                  <a:pt x="22" y="575"/>
                </a:lnTo>
                <a:lnTo>
                  <a:pt x="26" y="584"/>
                </a:lnTo>
                <a:lnTo>
                  <a:pt x="30" y="593"/>
                </a:lnTo>
                <a:lnTo>
                  <a:pt x="35" y="601"/>
                </a:lnTo>
                <a:lnTo>
                  <a:pt x="41" y="609"/>
                </a:lnTo>
                <a:lnTo>
                  <a:pt x="46" y="617"/>
                </a:lnTo>
                <a:lnTo>
                  <a:pt x="52" y="624"/>
                </a:lnTo>
                <a:lnTo>
                  <a:pt x="59" y="630"/>
                </a:lnTo>
                <a:lnTo>
                  <a:pt x="65" y="637"/>
                </a:lnTo>
                <a:lnTo>
                  <a:pt x="79" y="648"/>
                </a:lnTo>
                <a:lnTo>
                  <a:pt x="86" y="653"/>
                </a:lnTo>
                <a:lnTo>
                  <a:pt x="93" y="658"/>
                </a:lnTo>
                <a:lnTo>
                  <a:pt x="100" y="662"/>
                </a:lnTo>
                <a:lnTo>
                  <a:pt x="108" y="666"/>
                </a:lnTo>
                <a:lnTo>
                  <a:pt x="115" y="669"/>
                </a:lnTo>
                <a:lnTo>
                  <a:pt x="123" y="672"/>
                </a:lnTo>
                <a:lnTo>
                  <a:pt x="131" y="674"/>
                </a:lnTo>
                <a:lnTo>
                  <a:pt x="139" y="676"/>
                </a:lnTo>
                <a:lnTo>
                  <a:pt x="147" y="678"/>
                </a:lnTo>
                <a:lnTo>
                  <a:pt x="156" y="679"/>
                </a:lnTo>
                <a:lnTo>
                  <a:pt x="164" y="680"/>
                </a:lnTo>
                <a:lnTo>
                  <a:pt x="173" y="680"/>
                </a:lnTo>
                <a:lnTo>
                  <a:pt x="188" y="679"/>
                </a:lnTo>
                <a:lnTo>
                  <a:pt x="196" y="678"/>
                </a:lnTo>
                <a:lnTo>
                  <a:pt x="203" y="677"/>
                </a:lnTo>
                <a:lnTo>
                  <a:pt x="217" y="673"/>
                </a:lnTo>
                <a:lnTo>
                  <a:pt x="230" y="668"/>
                </a:lnTo>
                <a:lnTo>
                  <a:pt x="236" y="665"/>
                </a:lnTo>
                <a:lnTo>
                  <a:pt x="242" y="662"/>
                </a:lnTo>
                <a:lnTo>
                  <a:pt x="254" y="655"/>
                </a:lnTo>
                <a:lnTo>
                  <a:pt x="265" y="646"/>
                </a:lnTo>
                <a:lnTo>
                  <a:pt x="270" y="642"/>
                </a:lnTo>
                <a:lnTo>
                  <a:pt x="275" y="636"/>
                </a:lnTo>
                <a:lnTo>
                  <a:pt x="280" y="631"/>
                </a:lnTo>
                <a:lnTo>
                  <a:pt x="284" y="626"/>
                </a:lnTo>
                <a:lnTo>
                  <a:pt x="292" y="614"/>
                </a:lnTo>
                <a:lnTo>
                  <a:pt x="299" y="602"/>
                </a:lnTo>
                <a:lnTo>
                  <a:pt x="305" y="590"/>
                </a:lnTo>
                <a:lnTo>
                  <a:pt x="307" y="583"/>
                </a:lnTo>
                <a:lnTo>
                  <a:pt x="310" y="577"/>
                </a:lnTo>
                <a:lnTo>
                  <a:pt x="311" y="570"/>
                </a:lnTo>
                <a:lnTo>
                  <a:pt x="313" y="563"/>
                </a:lnTo>
                <a:lnTo>
                  <a:pt x="314" y="556"/>
                </a:lnTo>
                <a:lnTo>
                  <a:pt x="315" y="549"/>
                </a:lnTo>
                <a:lnTo>
                  <a:pt x="316" y="534"/>
                </a:lnTo>
                <a:lnTo>
                  <a:pt x="316" y="526"/>
                </a:lnTo>
                <a:lnTo>
                  <a:pt x="315" y="519"/>
                </a:lnTo>
                <a:lnTo>
                  <a:pt x="313" y="504"/>
                </a:lnTo>
                <a:lnTo>
                  <a:pt x="312" y="497"/>
                </a:lnTo>
                <a:lnTo>
                  <a:pt x="310" y="491"/>
                </a:lnTo>
                <a:lnTo>
                  <a:pt x="306" y="478"/>
                </a:lnTo>
                <a:lnTo>
                  <a:pt x="303" y="471"/>
                </a:lnTo>
                <a:lnTo>
                  <a:pt x="300" y="465"/>
                </a:lnTo>
                <a:lnTo>
                  <a:pt x="294" y="454"/>
                </a:lnTo>
                <a:lnTo>
                  <a:pt x="290" y="448"/>
                </a:lnTo>
                <a:lnTo>
                  <a:pt x="286" y="443"/>
                </a:lnTo>
                <a:lnTo>
                  <a:pt x="277" y="432"/>
                </a:lnTo>
                <a:lnTo>
                  <a:pt x="272" y="428"/>
                </a:lnTo>
                <a:lnTo>
                  <a:pt x="268" y="423"/>
                </a:lnTo>
                <a:lnTo>
                  <a:pt x="262" y="419"/>
                </a:lnTo>
                <a:lnTo>
                  <a:pt x="257" y="415"/>
                </a:lnTo>
                <a:lnTo>
                  <a:pt x="246" y="408"/>
                </a:lnTo>
                <a:lnTo>
                  <a:pt x="234" y="402"/>
                </a:lnTo>
                <a:lnTo>
                  <a:pt x="228" y="400"/>
                </a:lnTo>
                <a:lnTo>
                  <a:pt x="222" y="398"/>
                </a:lnTo>
                <a:lnTo>
                  <a:pt x="215" y="396"/>
                </a:lnTo>
                <a:lnTo>
                  <a:pt x="209" y="395"/>
                </a:lnTo>
                <a:lnTo>
                  <a:pt x="202" y="393"/>
                </a:lnTo>
                <a:lnTo>
                  <a:pt x="195" y="393"/>
                </a:lnTo>
                <a:lnTo>
                  <a:pt x="180" y="392"/>
                </a:lnTo>
                <a:lnTo>
                  <a:pt x="170" y="392"/>
                </a:lnTo>
                <a:lnTo>
                  <a:pt x="159" y="394"/>
                </a:lnTo>
                <a:lnTo>
                  <a:pt x="149" y="396"/>
                </a:lnTo>
                <a:lnTo>
                  <a:pt x="145" y="397"/>
                </a:lnTo>
                <a:lnTo>
                  <a:pt x="143" y="398"/>
                </a:lnTo>
                <a:lnTo>
                  <a:pt x="144" y="388"/>
                </a:lnTo>
                <a:lnTo>
                  <a:pt x="145" y="377"/>
                </a:lnTo>
                <a:lnTo>
                  <a:pt x="147" y="367"/>
                </a:lnTo>
                <a:lnTo>
                  <a:pt x="149" y="356"/>
                </a:lnTo>
                <a:lnTo>
                  <a:pt x="152" y="346"/>
                </a:lnTo>
                <a:lnTo>
                  <a:pt x="155" y="334"/>
                </a:lnTo>
                <a:lnTo>
                  <a:pt x="158" y="323"/>
                </a:lnTo>
                <a:lnTo>
                  <a:pt x="162" y="313"/>
                </a:lnTo>
                <a:lnTo>
                  <a:pt x="170" y="291"/>
                </a:lnTo>
                <a:lnTo>
                  <a:pt x="175" y="281"/>
                </a:lnTo>
                <a:lnTo>
                  <a:pt x="180" y="270"/>
                </a:lnTo>
                <a:lnTo>
                  <a:pt x="186" y="259"/>
                </a:lnTo>
                <a:lnTo>
                  <a:pt x="192" y="248"/>
                </a:lnTo>
                <a:lnTo>
                  <a:pt x="198" y="237"/>
                </a:lnTo>
                <a:lnTo>
                  <a:pt x="205" y="227"/>
                </a:lnTo>
                <a:lnTo>
                  <a:pt x="212" y="216"/>
                </a:lnTo>
                <a:lnTo>
                  <a:pt x="219" y="205"/>
                </a:lnTo>
                <a:lnTo>
                  <a:pt x="234" y="185"/>
                </a:lnTo>
                <a:lnTo>
                  <a:pt x="242" y="175"/>
                </a:lnTo>
                <a:lnTo>
                  <a:pt x="250" y="166"/>
                </a:lnTo>
                <a:lnTo>
                  <a:pt x="267" y="147"/>
                </a:lnTo>
                <a:lnTo>
                  <a:pt x="285" y="129"/>
                </a:lnTo>
                <a:lnTo>
                  <a:pt x="294" y="121"/>
                </a:lnTo>
                <a:lnTo>
                  <a:pt x="303" y="112"/>
                </a:lnTo>
                <a:lnTo>
                  <a:pt x="313" y="104"/>
                </a:lnTo>
                <a:lnTo>
                  <a:pt x="323" y="96"/>
                </a:lnTo>
                <a:lnTo>
                  <a:pt x="343" y="81"/>
                </a:lnTo>
                <a:lnTo>
                  <a:pt x="241" y="0"/>
                </a:lnTo>
                <a:lnTo>
                  <a:pt x="229" y="9"/>
                </a:lnTo>
                <a:lnTo>
                  <a:pt x="217" y="19"/>
                </a:lnTo>
                <a:lnTo>
                  <a:pt x="205" y="29"/>
                </a:lnTo>
                <a:lnTo>
                  <a:pt x="193" y="39"/>
                </a:lnTo>
                <a:lnTo>
                  <a:pt x="182" y="50"/>
                </a:lnTo>
                <a:lnTo>
                  <a:pt x="171" y="62"/>
                </a:lnTo>
                <a:lnTo>
                  <a:pt x="160" y="73"/>
                </a:lnTo>
                <a:lnTo>
                  <a:pt x="149" y="85"/>
                </a:lnTo>
                <a:lnTo>
                  <a:pt x="139" y="98"/>
                </a:lnTo>
                <a:lnTo>
                  <a:pt x="128" y="111"/>
                </a:lnTo>
                <a:lnTo>
                  <a:pt x="109" y="137"/>
                </a:lnTo>
                <a:lnTo>
                  <a:pt x="99" y="151"/>
                </a:lnTo>
                <a:lnTo>
                  <a:pt x="90" y="165"/>
                </a:lnTo>
                <a:lnTo>
                  <a:pt x="81" y="180"/>
                </a:lnTo>
                <a:lnTo>
                  <a:pt x="72" y="195"/>
                </a:lnTo>
                <a:lnTo>
                  <a:pt x="64" y="210"/>
                </a:lnTo>
                <a:lnTo>
                  <a:pt x="56" y="226"/>
                </a:lnTo>
                <a:lnTo>
                  <a:pt x="42" y="258"/>
                </a:lnTo>
                <a:lnTo>
                  <a:pt x="35" y="274"/>
                </a:lnTo>
                <a:lnTo>
                  <a:pt x="30" y="290"/>
                </a:lnTo>
                <a:lnTo>
                  <a:pt x="24" y="306"/>
                </a:lnTo>
                <a:lnTo>
                  <a:pt x="20" y="323"/>
                </a:lnTo>
                <a:lnTo>
                  <a:pt x="15" y="341"/>
                </a:lnTo>
                <a:lnTo>
                  <a:pt x="12" y="358"/>
                </a:lnTo>
                <a:lnTo>
                  <a:pt x="8" y="375"/>
                </a:lnTo>
                <a:lnTo>
                  <a:pt x="6" y="392"/>
                </a:lnTo>
                <a:lnTo>
                  <a:pt x="4" y="409"/>
                </a:lnTo>
                <a:lnTo>
                  <a:pt x="2" y="427"/>
                </a:lnTo>
                <a:lnTo>
                  <a:pt x="1" y="445"/>
                </a:lnTo>
                <a:lnTo>
                  <a:pt x="0" y="463"/>
                </a:lnTo>
                <a:close/>
                <a:moveTo>
                  <a:pt x="381" y="463"/>
                </a:moveTo>
                <a:lnTo>
                  <a:pt x="381" y="476"/>
                </a:lnTo>
                <a:lnTo>
                  <a:pt x="382" y="488"/>
                </a:lnTo>
                <a:lnTo>
                  <a:pt x="383" y="501"/>
                </a:lnTo>
                <a:lnTo>
                  <a:pt x="385" y="512"/>
                </a:lnTo>
                <a:lnTo>
                  <a:pt x="387" y="524"/>
                </a:lnTo>
                <a:lnTo>
                  <a:pt x="389" y="535"/>
                </a:lnTo>
                <a:lnTo>
                  <a:pt x="391" y="545"/>
                </a:lnTo>
                <a:lnTo>
                  <a:pt x="394" y="556"/>
                </a:lnTo>
                <a:lnTo>
                  <a:pt x="398" y="565"/>
                </a:lnTo>
                <a:lnTo>
                  <a:pt x="402" y="575"/>
                </a:lnTo>
                <a:lnTo>
                  <a:pt x="406" y="584"/>
                </a:lnTo>
                <a:lnTo>
                  <a:pt x="410" y="593"/>
                </a:lnTo>
                <a:lnTo>
                  <a:pt x="415" y="601"/>
                </a:lnTo>
                <a:lnTo>
                  <a:pt x="420" y="609"/>
                </a:lnTo>
                <a:lnTo>
                  <a:pt x="425" y="617"/>
                </a:lnTo>
                <a:lnTo>
                  <a:pt x="431" y="624"/>
                </a:lnTo>
                <a:lnTo>
                  <a:pt x="437" y="630"/>
                </a:lnTo>
                <a:lnTo>
                  <a:pt x="444" y="637"/>
                </a:lnTo>
                <a:lnTo>
                  <a:pt x="457" y="648"/>
                </a:lnTo>
                <a:lnTo>
                  <a:pt x="464" y="653"/>
                </a:lnTo>
                <a:lnTo>
                  <a:pt x="471" y="658"/>
                </a:lnTo>
                <a:lnTo>
                  <a:pt x="478" y="662"/>
                </a:lnTo>
                <a:lnTo>
                  <a:pt x="485" y="666"/>
                </a:lnTo>
                <a:lnTo>
                  <a:pt x="493" y="669"/>
                </a:lnTo>
                <a:lnTo>
                  <a:pt x="501" y="672"/>
                </a:lnTo>
                <a:lnTo>
                  <a:pt x="509" y="674"/>
                </a:lnTo>
                <a:lnTo>
                  <a:pt x="517" y="676"/>
                </a:lnTo>
                <a:lnTo>
                  <a:pt x="525" y="678"/>
                </a:lnTo>
                <a:lnTo>
                  <a:pt x="533" y="679"/>
                </a:lnTo>
                <a:lnTo>
                  <a:pt x="542" y="680"/>
                </a:lnTo>
                <a:lnTo>
                  <a:pt x="551" y="680"/>
                </a:lnTo>
                <a:lnTo>
                  <a:pt x="566" y="679"/>
                </a:lnTo>
                <a:lnTo>
                  <a:pt x="574" y="678"/>
                </a:lnTo>
                <a:lnTo>
                  <a:pt x="581" y="677"/>
                </a:lnTo>
                <a:lnTo>
                  <a:pt x="596" y="673"/>
                </a:lnTo>
                <a:lnTo>
                  <a:pt x="609" y="668"/>
                </a:lnTo>
                <a:lnTo>
                  <a:pt x="622" y="662"/>
                </a:lnTo>
                <a:lnTo>
                  <a:pt x="634" y="655"/>
                </a:lnTo>
                <a:lnTo>
                  <a:pt x="645" y="646"/>
                </a:lnTo>
                <a:lnTo>
                  <a:pt x="655" y="636"/>
                </a:lnTo>
                <a:lnTo>
                  <a:pt x="665" y="626"/>
                </a:lnTo>
                <a:lnTo>
                  <a:pt x="673" y="614"/>
                </a:lnTo>
                <a:lnTo>
                  <a:pt x="680" y="602"/>
                </a:lnTo>
                <a:lnTo>
                  <a:pt x="686" y="590"/>
                </a:lnTo>
                <a:lnTo>
                  <a:pt x="688" y="583"/>
                </a:lnTo>
                <a:lnTo>
                  <a:pt x="690" y="577"/>
                </a:lnTo>
                <a:lnTo>
                  <a:pt x="692" y="570"/>
                </a:lnTo>
                <a:lnTo>
                  <a:pt x="694" y="563"/>
                </a:lnTo>
                <a:lnTo>
                  <a:pt x="695" y="556"/>
                </a:lnTo>
                <a:lnTo>
                  <a:pt x="696" y="549"/>
                </a:lnTo>
                <a:lnTo>
                  <a:pt x="697" y="534"/>
                </a:lnTo>
                <a:lnTo>
                  <a:pt x="696" y="526"/>
                </a:lnTo>
                <a:lnTo>
                  <a:pt x="696" y="519"/>
                </a:lnTo>
                <a:lnTo>
                  <a:pt x="694" y="504"/>
                </a:lnTo>
                <a:lnTo>
                  <a:pt x="692" y="497"/>
                </a:lnTo>
                <a:lnTo>
                  <a:pt x="691" y="491"/>
                </a:lnTo>
                <a:lnTo>
                  <a:pt x="686" y="478"/>
                </a:lnTo>
                <a:lnTo>
                  <a:pt x="684" y="471"/>
                </a:lnTo>
                <a:lnTo>
                  <a:pt x="681" y="465"/>
                </a:lnTo>
                <a:lnTo>
                  <a:pt x="674" y="454"/>
                </a:lnTo>
                <a:lnTo>
                  <a:pt x="671" y="448"/>
                </a:lnTo>
                <a:lnTo>
                  <a:pt x="667" y="443"/>
                </a:lnTo>
                <a:lnTo>
                  <a:pt x="658" y="432"/>
                </a:lnTo>
                <a:lnTo>
                  <a:pt x="653" y="428"/>
                </a:lnTo>
                <a:lnTo>
                  <a:pt x="648" y="423"/>
                </a:lnTo>
                <a:lnTo>
                  <a:pt x="643" y="419"/>
                </a:lnTo>
                <a:lnTo>
                  <a:pt x="638" y="415"/>
                </a:lnTo>
                <a:lnTo>
                  <a:pt x="627" y="408"/>
                </a:lnTo>
                <a:lnTo>
                  <a:pt x="615" y="402"/>
                </a:lnTo>
                <a:lnTo>
                  <a:pt x="609" y="400"/>
                </a:lnTo>
                <a:lnTo>
                  <a:pt x="602" y="398"/>
                </a:lnTo>
                <a:lnTo>
                  <a:pt x="596" y="396"/>
                </a:lnTo>
                <a:lnTo>
                  <a:pt x="589" y="395"/>
                </a:lnTo>
                <a:lnTo>
                  <a:pt x="582" y="393"/>
                </a:lnTo>
                <a:lnTo>
                  <a:pt x="575" y="393"/>
                </a:lnTo>
                <a:lnTo>
                  <a:pt x="561" y="392"/>
                </a:lnTo>
                <a:lnTo>
                  <a:pt x="550" y="392"/>
                </a:lnTo>
                <a:lnTo>
                  <a:pt x="538" y="394"/>
                </a:lnTo>
                <a:lnTo>
                  <a:pt x="529" y="396"/>
                </a:lnTo>
                <a:lnTo>
                  <a:pt x="526" y="397"/>
                </a:lnTo>
                <a:lnTo>
                  <a:pt x="523" y="398"/>
                </a:lnTo>
                <a:lnTo>
                  <a:pt x="524" y="388"/>
                </a:lnTo>
                <a:lnTo>
                  <a:pt x="526" y="377"/>
                </a:lnTo>
                <a:lnTo>
                  <a:pt x="528" y="367"/>
                </a:lnTo>
                <a:lnTo>
                  <a:pt x="530" y="356"/>
                </a:lnTo>
                <a:lnTo>
                  <a:pt x="532" y="346"/>
                </a:lnTo>
                <a:lnTo>
                  <a:pt x="535" y="334"/>
                </a:lnTo>
                <a:lnTo>
                  <a:pt x="539" y="323"/>
                </a:lnTo>
                <a:lnTo>
                  <a:pt x="542" y="313"/>
                </a:lnTo>
                <a:lnTo>
                  <a:pt x="551" y="291"/>
                </a:lnTo>
                <a:lnTo>
                  <a:pt x="556" y="281"/>
                </a:lnTo>
                <a:lnTo>
                  <a:pt x="561" y="270"/>
                </a:lnTo>
                <a:lnTo>
                  <a:pt x="566" y="259"/>
                </a:lnTo>
                <a:lnTo>
                  <a:pt x="572" y="248"/>
                </a:lnTo>
                <a:lnTo>
                  <a:pt x="579" y="237"/>
                </a:lnTo>
                <a:lnTo>
                  <a:pt x="585" y="227"/>
                </a:lnTo>
                <a:lnTo>
                  <a:pt x="592" y="216"/>
                </a:lnTo>
                <a:lnTo>
                  <a:pt x="600" y="205"/>
                </a:lnTo>
                <a:lnTo>
                  <a:pt x="615" y="185"/>
                </a:lnTo>
                <a:lnTo>
                  <a:pt x="623" y="175"/>
                </a:lnTo>
                <a:lnTo>
                  <a:pt x="631" y="166"/>
                </a:lnTo>
                <a:lnTo>
                  <a:pt x="648" y="147"/>
                </a:lnTo>
                <a:lnTo>
                  <a:pt x="665" y="129"/>
                </a:lnTo>
                <a:lnTo>
                  <a:pt x="674" y="121"/>
                </a:lnTo>
                <a:lnTo>
                  <a:pt x="684" y="112"/>
                </a:lnTo>
                <a:lnTo>
                  <a:pt x="694" y="104"/>
                </a:lnTo>
                <a:lnTo>
                  <a:pt x="703" y="96"/>
                </a:lnTo>
                <a:lnTo>
                  <a:pt x="724" y="81"/>
                </a:lnTo>
                <a:lnTo>
                  <a:pt x="622" y="0"/>
                </a:lnTo>
                <a:lnTo>
                  <a:pt x="609" y="9"/>
                </a:lnTo>
                <a:lnTo>
                  <a:pt x="597" y="19"/>
                </a:lnTo>
                <a:lnTo>
                  <a:pt x="585" y="29"/>
                </a:lnTo>
                <a:lnTo>
                  <a:pt x="573" y="39"/>
                </a:lnTo>
                <a:lnTo>
                  <a:pt x="561" y="50"/>
                </a:lnTo>
                <a:lnTo>
                  <a:pt x="550" y="62"/>
                </a:lnTo>
                <a:lnTo>
                  <a:pt x="539" y="73"/>
                </a:lnTo>
                <a:lnTo>
                  <a:pt x="528" y="85"/>
                </a:lnTo>
                <a:lnTo>
                  <a:pt x="518" y="98"/>
                </a:lnTo>
                <a:lnTo>
                  <a:pt x="508" y="111"/>
                </a:lnTo>
                <a:lnTo>
                  <a:pt x="488" y="137"/>
                </a:lnTo>
                <a:lnTo>
                  <a:pt x="478" y="151"/>
                </a:lnTo>
                <a:lnTo>
                  <a:pt x="469" y="165"/>
                </a:lnTo>
                <a:lnTo>
                  <a:pt x="460" y="180"/>
                </a:lnTo>
                <a:lnTo>
                  <a:pt x="452" y="195"/>
                </a:lnTo>
                <a:lnTo>
                  <a:pt x="443" y="210"/>
                </a:lnTo>
                <a:lnTo>
                  <a:pt x="436" y="226"/>
                </a:lnTo>
                <a:lnTo>
                  <a:pt x="428" y="242"/>
                </a:lnTo>
                <a:lnTo>
                  <a:pt x="422" y="258"/>
                </a:lnTo>
                <a:lnTo>
                  <a:pt x="410" y="290"/>
                </a:lnTo>
                <a:lnTo>
                  <a:pt x="405" y="306"/>
                </a:lnTo>
                <a:lnTo>
                  <a:pt x="400" y="323"/>
                </a:lnTo>
                <a:lnTo>
                  <a:pt x="396" y="341"/>
                </a:lnTo>
                <a:lnTo>
                  <a:pt x="392" y="358"/>
                </a:lnTo>
                <a:lnTo>
                  <a:pt x="389" y="375"/>
                </a:lnTo>
                <a:lnTo>
                  <a:pt x="386" y="392"/>
                </a:lnTo>
                <a:lnTo>
                  <a:pt x="384" y="409"/>
                </a:lnTo>
                <a:lnTo>
                  <a:pt x="383" y="427"/>
                </a:lnTo>
                <a:lnTo>
                  <a:pt x="381" y="445"/>
                </a:lnTo>
                <a:lnTo>
                  <a:pt x="381" y="4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i-FI"/>
          </a:p>
        </p:txBody>
      </p:sp>
      <p:sp>
        <p:nvSpPr>
          <p:cNvPr id="28" name="Text Placeholder 27"/>
          <p:cNvSpPr>
            <a:spLocks noGrp="1"/>
          </p:cNvSpPr>
          <p:nvPr>
            <p:ph type="body" sz="quarter" idx="32"/>
          </p:nvPr>
        </p:nvSpPr>
        <p:spPr>
          <a:xfrm>
            <a:off x="4367213" y="1124743"/>
            <a:ext cx="3457575" cy="4896645"/>
          </a:xfrm>
        </p:spPr>
        <p:txBody>
          <a:bodyPr/>
          <a:lstStyle>
            <a:lvl1pPr>
              <a:defRPr sz="16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30" name="Text Placeholder 27"/>
          <p:cNvSpPr>
            <a:spLocks noGrp="1"/>
          </p:cNvSpPr>
          <p:nvPr>
            <p:ph type="body" sz="quarter" idx="33"/>
          </p:nvPr>
        </p:nvSpPr>
        <p:spPr>
          <a:xfrm>
            <a:off x="8544272" y="1412875"/>
            <a:ext cx="3023841" cy="4608513"/>
          </a:xfrm>
        </p:spPr>
        <p:txBody>
          <a:bodyPr/>
          <a:lstStyle>
            <a:lvl1pPr marL="0" indent="0">
              <a:buFontTx/>
              <a:buNone/>
              <a:defRPr sz="2000" b="1" i="1" spc="0">
                <a:solidFill>
                  <a:schemeClr val="accent1"/>
                </a:solidFill>
                <a:latin typeface="Georgia" panose="02040502050405020303" pitchFamily="18" charset="0"/>
              </a:defRPr>
            </a:lvl1pPr>
            <a:lvl2pPr marL="0" indent="0">
              <a:buFontTx/>
              <a:buNone/>
              <a:defRPr sz="1400" spc="0">
                <a:solidFill>
                  <a:schemeClr val="accent1"/>
                </a:solidFill>
              </a:defRPr>
            </a:lvl2pPr>
            <a:lvl3pPr marL="0" indent="0">
              <a:buFontTx/>
              <a:buNone/>
              <a:defRPr sz="1200" spc="0">
                <a:solidFill>
                  <a:schemeClr val="accent1"/>
                </a:solidFill>
              </a:defRPr>
            </a:lvl3pPr>
            <a:lvl4pPr marL="0" indent="0">
              <a:buFontTx/>
              <a:buNone/>
              <a:defRPr sz="1200" spc="0">
                <a:solidFill>
                  <a:schemeClr val="accent1"/>
                </a:solidFill>
              </a:defRPr>
            </a:lvl4pPr>
            <a:lvl5pPr marL="0" indent="0">
              <a:buFontTx/>
              <a:buNone/>
              <a:defRPr sz="1200" spc="0">
                <a:solidFill>
                  <a:schemeClr val="accent1"/>
                </a:solidFill>
              </a:defRPr>
            </a:lvl5pPr>
            <a:lvl6pPr marL="0" indent="0">
              <a:buFontTx/>
              <a:buNone/>
              <a:defRPr sz="1200">
                <a:solidFill>
                  <a:schemeClr val="accent1"/>
                </a:solidFill>
              </a:defRPr>
            </a:lvl6pPr>
            <a:lvl7pPr marL="0" indent="0">
              <a:buFontTx/>
              <a:buNone/>
              <a:defRPr sz="1200">
                <a:solidFill>
                  <a:schemeClr val="accent1"/>
                </a:solidFill>
              </a:defRPr>
            </a:lvl7pPr>
            <a:lvl8pPr marL="0" indent="0">
              <a:buFontTx/>
              <a:buNone/>
              <a:defRPr sz="1200">
                <a:solidFill>
                  <a:schemeClr val="accent1"/>
                </a:solidFill>
              </a:defRPr>
            </a:lvl8pPr>
            <a:lvl9pPr marL="0" indent="0">
              <a:buFontTx/>
              <a:buNone/>
              <a:defRPr sz="1200">
                <a:solidFill>
                  <a:schemeClr val="accent1"/>
                </a:solidFill>
              </a:defRPr>
            </a:lvl9pPr>
          </a:lstStyle>
          <a:p>
            <a:pPr lvl="0"/>
            <a:r>
              <a:rPr lang="en-US"/>
              <a:t>Click to edit Master text styles</a:t>
            </a:r>
          </a:p>
          <a:p>
            <a:pPr lvl="1"/>
            <a:r>
              <a:rPr lang="en-US"/>
              <a:t>Second level</a:t>
            </a:r>
          </a:p>
        </p:txBody>
      </p:sp>
      <p:cxnSp>
        <p:nvCxnSpPr>
          <p:cNvPr id="31" name="Straight Connector 30"/>
          <p:cNvCxnSpPr/>
          <p:nvPr userDrawn="1"/>
        </p:nvCxnSpPr>
        <p:spPr>
          <a:xfrm flipV="1">
            <a:off x="8040216" y="1124744"/>
            <a:ext cx="0" cy="4896644"/>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77977207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ice and Conditions Private (E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AF6730D-6264-47B3-8522-204497FF5E3A}"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23" name="Text Placeholder 22"/>
          <p:cNvSpPr>
            <a:spLocks noGrp="1"/>
          </p:cNvSpPr>
          <p:nvPr>
            <p:ph type="body" sz="quarter" idx="31" hasCustomPrompt="1"/>
          </p:nvPr>
        </p:nvSpPr>
        <p:spPr>
          <a:xfrm>
            <a:off x="623889" y="1628776"/>
            <a:ext cx="5184774" cy="2808336"/>
          </a:xfrm>
        </p:spPr>
        <p:txBody>
          <a:bodyPr/>
          <a:lstStyle>
            <a:lvl1pPr marL="0" indent="0">
              <a:buFontTx/>
              <a:buNone/>
              <a:defRPr sz="4000" b="1" baseline="0"/>
            </a:lvl1pPr>
            <a:lvl2pPr marL="0" indent="0">
              <a:buFontTx/>
              <a:buNone/>
              <a:defRPr sz="14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Price and VAT%</a:t>
            </a:r>
          </a:p>
          <a:p>
            <a:pPr lvl="1"/>
            <a:r>
              <a:rPr lang="en-US" dirty="0"/>
              <a:t>Second level</a:t>
            </a:r>
          </a:p>
          <a:p>
            <a:pPr lvl="2"/>
            <a:r>
              <a:rPr lang="en-US" dirty="0"/>
              <a:t>Third level</a:t>
            </a:r>
          </a:p>
        </p:txBody>
      </p:sp>
      <p:sp>
        <p:nvSpPr>
          <p:cNvPr id="2" name="Title 1"/>
          <p:cNvSpPr>
            <a:spLocks noGrp="1"/>
          </p:cNvSpPr>
          <p:nvPr>
            <p:ph type="title"/>
          </p:nvPr>
        </p:nvSpPr>
        <p:spPr/>
        <p:txBody>
          <a:bodyPr/>
          <a:lstStyle/>
          <a:p>
            <a:r>
              <a:rPr lang="en-US"/>
              <a:t>Click to edit Master title style</a:t>
            </a:r>
            <a:endParaRPr lang="fi-FI"/>
          </a:p>
        </p:txBody>
      </p:sp>
      <p:sp>
        <p:nvSpPr>
          <p:cNvPr id="13" name="Text Placeholder 27"/>
          <p:cNvSpPr>
            <a:spLocks noGrp="1"/>
          </p:cNvSpPr>
          <p:nvPr>
            <p:ph type="body" sz="quarter" idx="36" hasCustomPrompt="1"/>
          </p:nvPr>
        </p:nvSpPr>
        <p:spPr>
          <a:xfrm>
            <a:off x="623888" y="4725144"/>
            <a:ext cx="5184775"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Place and date</a:t>
            </a:r>
          </a:p>
        </p:txBody>
      </p:sp>
      <p:sp>
        <p:nvSpPr>
          <p:cNvPr id="14" name="Text Placeholder 27"/>
          <p:cNvSpPr>
            <a:spLocks noGrp="1"/>
          </p:cNvSpPr>
          <p:nvPr>
            <p:ph type="body" sz="quarter" idx="37" hasCustomPrompt="1"/>
          </p:nvPr>
        </p:nvSpPr>
        <p:spPr>
          <a:xfrm>
            <a:off x="623888" y="5589265"/>
            <a:ext cx="5184775"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First name Last name</a:t>
            </a:r>
          </a:p>
        </p:txBody>
      </p:sp>
      <p:sp>
        <p:nvSpPr>
          <p:cNvPr id="4" name="Picture Placeholder 3"/>
          <p:cNvSpPr>
            <a:spLocks noGrp="1"/>
          </p:cNvSpPr>
          <p:nvPr>
            <p:ph type="pic" sz="quarter" idx="39" hasCustomPrompt="1"/>
          </p:nvPr>
        </p:nvSpPr>
        <p:spPr>
          <a:xfrm>
            <a:off x="623888" y="5085184"/>
            <a:ext cx="1943100" cy="432048"/>
          </a:xfrm>
        </p:spPr>
        <p:txBody>
          <a:bodyPr/>
          <a:lstStyle>
            <a:lvl1pPr marL="0" indent="0">
              <a:buFontTx/>
              <a:buNone/>
              <a:defRPr sz="1200"/>
            </a:lvl1pPr>
          </a:lstStyle>
          <a:p>
            <a:r>
              <a:rPr lang="fi-FI" dirty="0"/>
              <a:t>Signature</a:t>
            </a:r>
          </a:p>
        </p:txBody>
      </p:sp>
      <p:cxnSp>
        <p:nvCxnSpPr>
          <p:cNvPr id="10" name="Straight Connector 9"/>
          <p:cNvCxnSpPr/>
          <p:nvPr userDrawn="1"/>
        </p:nvCxnSpPr>
        <p:spPr>
          <a:xfrm>
            <a:off x="623888" y="4581128"/>
            <a:ext cx="51847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
        <p:nvSpPr>
          <p:cNvPr id="3" name="TextBox 2"/>
          <p:cNvSpPr txBox="1"/>
          <p:nvPr userDrawn="1"/>
        </p:nvSpPr>
        <p:spPr>
          <a:xfrm>
            <a:off x="6384032" y="1628775"/>
            <a:ext cx="5184080" cy="3312393"/>
          </a:xfrm>
          <a:prstGeom prst="rect">
            <a:avLst/>
          </a:prstGeom>
          <a:noFill/>
        </p:spPr>
        <p:txBody>
          <a:bodyPr wrap="square" lIns="0" tIns="0" rIns="0" bIns="0" rtlCol="0">
            <a:noAutofit/>
          </a:bodyPr>
          <a:lstStyle/>
          <a:p>
            <a:pPr>
              <a:lnSpc>
                <a:spcPct val="110000"/>
              </a:lnSpc>
              <a:spcBef>
                <a:spcPts val="400"/>
              </a:spcBef>
            </a:pPr>
            <a:r>
              <a:rPr lang="en-US" sz="1200" dirty="0">
                <a:solidFill>
                  <a:srgbClr val="404040"/>
                </a:solidFill>
              </a:rPr>
              <a:t>Prices cover all </a:t>
            </a:r>
            <a:r>
              <a:rPr lang="en-US" sz="1200" dirty="0" err="1">
                <a:solidFill>
                  <a:srgbClr val="404040"/>
                </a:solidFill>
              </a:rPr>
              <a:t>labour</a:t>
            </a:r>
            <a:r>
              <a:rPr lang="en-US" sz="1200" dirty="0">
                <a:solidFill>
                  <a:srgbClr val="404040"/>
                </a:solidFill>
              </a:rPr>
              <a:t> and office costs of the Consultant. </a:t>
            </a:r>
          </a:p>
          <a:p>
            <a:pPr>
              <a:lnSpc>
                <a:spcPct val="110000"/>
              </a:lnSpc>
              <a:spcBef>
                <a:spcPts val="400"/>
              </a:spcBef>
            </a:pPr>
            <a:r>
              <a:rPr lang="en-US" sz="1200" dirty="0">
                <a:solidFill>
                  <a:srgbClr val="404040"/>
                </a:solidFill>
              </a:rPr>
              <a:t>Travel costs are not included and will be invoiced against true costs occurred.</a:t>
            </a:r>
          </a:p>
          <a:p>
            <a:pPr>
              <a:lnSpc>
                <a:spcPct val="110000"/>
              </a:lnSpc>
              <a:spcBef>
                <a:spcPts val="400"/>
              </a:spcBef>
            </a:pPr>
            <a:r>
              <a:rPr lang="en-US" sz="1200" dirty="0">
                <a:solidFill>
                  <a:srgbClr val="404040"/>
                </a:solidFill>
              </a:rPr>
              <a:t>General Conditions for Consulting in Finland KSE 2013 will be applied.</a:t>
            </a:r>
          </a:p>
          <a:p>
            <a:pPr>
              <a:lnSpc>
                <a:spcPct val="110000"/>
              </a:lnSpc>
              <a:spcBef>
                <a:spcPts val="400"/>
              </a:spcBef>
            </a:pPr>
            <a:r>
              <a:rPr lang="en-US" sz="1200" dirty="0">
                <a:solidFill>
                  <a:srgbClr val="404040"/>
                </a:solidFill>
              </a:rPr>
              <a:t>The service shall be provided based on the facts and instructions in the specific assignment considering the circumstances at the time of the assignment in accordance with the respective scope of work. </a:t>
            </a:r>
          </a:p>
          <a:p>
            <a:pPr marL="0" indent="0">
              <a:lnSpc>
                <a:spcPct val="110000"/>
              </a:lnSpc>
              <a:spcBef>
                <a:spcPts val="400"/>
              </a:spcBef>
              <a:buFont typeface="Arial" panose="020B0604020202020204" pitchFamily="34" charset="0"/>
              <a:buNone/>
            </a:pPr>
            <a:r>
              <a:rPr lang="en-US" sz="1200" dirty="0">
                <a:solidFill>
                  <a:srgbClr val="404040"/>
                </a:solidFill>
              </a:rPr>
              <a:t>We assume that all the information provided to us is accurate and complete and that you have verified the correctness of the disclosed information. </a:t>
            </a:r>
          </a:p>
          <a:p>
            <a:pPr marL="0" indent="0">
              <a:lnSpc>
                <a:spcPct val="110000"/>
              </a:lnSpc>
              <a:spcBef>
                <a:spcPts val="400"/>
              </a:spcBef>
              <a:buFont typeface="Arial" panose="020B0604020202020204" pitchFamily="34" charset="0"/>
              <a:buNone/>
            </a:pPr>
            <a:r>
              <a:rPr lang="en-US" sz="1200" dirty="0">
                <a:solidFill>
                  <a:srgbClr val="404040"/>
                </a:solidFill>
              </a:rPr>
              <a:t>The consultant has no liability in regard of advice or documents provided to you if they are used for any other purpose than that which they were originally prepared for. The aggregate amount of the liability to you and any third parties is the amount of the total remuneration of this agreement alone. </a:t>
            </a:r>
          </a:p>
          <a:p>
            <a:pPr marL="0" indent="0">
              <a:lnSpc>
                <a:spcPct val="110000"/>
              </a:lnSpc>
              <a:spcBef>
                <a:spcPts val="400"/>
              </a:spcBef>
              <a:buFont typeface="Arial" panose="020B0604020202020204" pitchFamily="34" charset="0"/>
              <a:buNone/>
            </a:pPr>
            <a:r>
              <a:rPr lang="en-US" sz="1200" dirty="0">
                <a:solidFill>
                  <a:srgbClr val="404040"/>
                </a:solidFill>
              </a:rPr>
              <a:t>Client shall notify of any defects in the delivered work within 1 months upon receiving the work. Otherwise, the work is considered approved and correct.</a:t>
            </a:r>
          </a:p>
        </p:txBody>
      </p:sp>
      <p:sp>
        <p:nvSpPr>
          <p:cNvPr id="17" name="Text Placeholder 27"/>
          <p:cNvSpPr>
            <a:spLocks noGrp="1"/>
          </p:cNvSpPr>
          <p:nvPr>
            <p:ph type="body" sz="quarter" idx="40" hasCustomPrompt="1"/>
          </p:nvPr>
        </p:nvSpPr>
        <p:spPr>
          <a:xfrm>
            <a:off x="6384032" y="5805389"/>
            <a:ext cx="5184081" cy="215999"/>
          </a:xfrm>
        </p:spPr>
        <p:txBody>
          <a:bodyPr/>
          <a:lstStyle>
            <a:lvl1pPr marL="0" indent="0">
              <a:lnSpc>
                <a:spcPct val="100000"/>
              </a:lnSpc>
              <a:buFontTx/>
              <a:buNone/>
              <a:defRPr sz="1200" b="1"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Insert date</a:t>
            </a:r>
          </a:p>
        </p:txBody>
      </p:sp>
      <p:sp>
        <p:nvSpPr>
          <p:cNvPr id="9" name="TextBox 8"/>
          <p:cNvSpPr txBox="1"/>
          <p:nvPr userDrawn="1"/>
        </p:nvSpPr>
        <p:spPr>
          <a:xfrm>
            <a:off x="6384032" y="5589240"/>
            <a:ext cx="5184081" cy="216024"/>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404040"/>
                </a:solidFill>
              </a:rPr>
              <a:t>This proposal is valid until</a:t>
            </a:r>
          </a:p>
        </p:txBody>
      </p:sp>
      <p:sp>
        <p:nvSpPr>
          <p:cNvPr id="18" name="TextBox 17">
            <a:extLst>
              <a:ext uri="{FF2B5EF4-FFF2-40B4-BE49-F238E27FC236}">
                <a16:creationId xmlns:a16="http://schemas.microsoft.com/office/drawing/2014/main" id="{B9A168F2-075B-4E19-8B0A-E2D6344E57DF}"/>
              </a:ext>
            </a:extLst>
          </p:cNvPr>
          <p:cNvSpPr txBox="1"/>
          <p:nvPr userDrawn="1"/>
        </p:nvSpPr>
        <p:spPr>
          <a:xfrm>
            <a:off x="551384" y="5744289"/>
            <a:ext cx="20882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404040"/>
                </a:solidFill>
              </a:rPr>
              <a:t>Gaia Consulting Oy</a:t>
            </a:r>
          </a:p>
        </p:txBody>
      </p:sp>
    </p:spTree>
    <p:extLst>
      <p:ext uri="{BB962C8B-B14F-4D97-AF65-F5344CB8AC3E}">
        <p14:creationId xmlns:p14="http://schemas.microsoft.com/office/powerpoint/2010/main" val="257742154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ice and Conditions Private (FI)">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AF6730D-6264-47B3-8522-204497FF5E3A}"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23" name="Text Placeholder 22"/>
          <p:cNvSpPr>
            <a:spLocks noGrp="1"/>
          </p:cNvSpPr>
          <p:nvPr>
            <p:ph type="body" sz="quarter" idx="31" hasCustomPrompt="1"/>
          </p:nvPr>
        </p:nvSpPr>
        <p:spPr>
          <a:xfrm>
            <a:off x="623889" y="1628776"/>
            <a:ext cx="5184774" cy="2808336"/>
          </a:xfrm>
        </p:spPr>
        <p:txBody>
          <a:bodyPr/>
          <a:lstStyle>
            <a:lvl1pPr marL="0" indent="0">
              <a:buFontTx/>
              <a:buNone/>
              <a:defRPr sz="4000" b="1" baseline="0"/>
            </a:lvl1pPr>
            <a:lvl2pPr marL="0" indent="0">
              <a:buFontTx/>
              <a:buNone/>
              <a:defRPr sz="14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err="1"/>
              <a:t>Hinta</a:t>
            </a:r>
            <a:r>
              <a:rPr lang="en-US" dirty="0"/>
              <a:t> ja ALV%</a:t>
            </a:r>
          </a:p>
          <a:p>
            <a:pPr lvl="1"/>
            <a:r>
              <a:rPr lang="en-US" dirty="0"/>
              <a:t>Second level</a:t>
            </a:r>
          </a:p>
          <a:p>
            <a:pPr lvl="2"/>
            <a:r>
              <a:rPr lang="en-US" dirty="0"/>
              <a:t>Third level</a:t>
            </a:r>
          </a:p>
        </p:txBody>
      </p:sp>
      <p:sp>
        <p:nvSpPr>
          <p:cNvPr id="2" name="Title 1"/>
          <p:cNvSpPr>
            <a:spLocks noGrp="1"/>
          </p:cNvSpPr>
          <p:nvPr>
            <p:ph type="title"/>
          </p:nvPr>
        </p:nvSpPr>
        <p:spPr/>
        <p:txBody>
          <a:bodyPr/>
          <a:lstStyle/>
          <a:p>
            <a:r>
              <a:rPr lang="en-US"/>
              <a:t>Click to edit Master title style</a:t>
            </a:r>
            <a:endParaRPr lang="fi-FI"/>
          </a:p>
        </p:txBody>
      </p:sp>
      <p:sp>
        <p:nvSpPr>
          <p:cNvPr id="13" name="Text Placeholder 27"/>
          <p:cNvSpPr>
            <a:spLocks noGrp="1"/>
          </p:cNvSpPr>
          <p:nvPr>
            <p:ph type="body" sz="quarter" idx="36" hasCustomPrompt="1"/>
          </p:nvPr>
        </p:nvSpPr>
        <p:spPr>
          <a:xfrm>
            <a:off x="623888" y="4725144"/>
            <a:ext cx="5184775"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Place and date</a:t>
            </a:r>
          </a:p>
        </p:txBody>
      </p:sp>
      <p:sp>
        <p:nvSpPr>
          <p:cNvPr id="14" name="Text Placeholder 27"/>
          <p:cNvSpPr>
            <a:spLocks noGrp="1"/>
          </p:cNvSpPr>
          <p:nvPr>
            <p:ph type="body" sz="quarter" idx="37" hasCustomPrompt="1"/>
          </p:nvPr>
        </p:nvSpPr>
        <p:spPr>
          <a:xfrm>
            <a:off x="623888" y="5589265"/>
            <a:ext cx="5184775"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First name Last name</a:t>
            </a:r>
          </a:p>
        </p:txBody>
      </p:sp>
      <p:sp>
        <p:nvSpPr>
          <p:cNvPr id="4" name="Picture Placeholder 3"/>
          <p:cNvSpPr>
            <a:spLocks noGrp="1"/>
          </p:cNvSpPr>
          <p:nvPr>
            <p:ph type="pic" sz="quarter" idx="39" hasCustomPrompt="1"/>
          </p:nvPr>
        </p:nvSpPr>
        <p:spPr>
          <a:xfrm>
            <a:off x="623888" y="5085184"/>
            <a:ext cx="1943100" cy="432048"/>
          </a:xfrm>
        </p:spPr>
        <p:txBody>
          <a:bodyPr/>
          <a:lstStyle>
            <a:lvl1pPr marL="0" indent="0">
              <a:buFontTx/>
              <a:buNone/>
              <a:defRPr sz="1200"/>
            </a:lvl1pPr>
          </a:lstStyle>
          <a:p>
            <a:r>
              <a:rPr lang="fi-FI" dirty="0"/>
              <a:t>Signature</a:t>
            </a:r>
          </a:p>
        </p:txBody>
      </p:sp>
      <p:cxnSp>
        <p:nvCxnSpPr>
          <p:cNvPr id="10" name="Straight Connector 9"/>
          <p:cNvCxnSpPr/>
          <p:nvPr userDrawn="1"/>
        </p:nvCxnSpPr>
        <p:spPr>
          <a:xfrm>
            <a:off x="623888" y="4581128"/>
            <a:ext cx="51847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
        <p:nvSpPr>
          <p:cNvPr id="3" name="TextBox 2"/>
          <p:cNvSpPr txBox="1"/>
          <p:nvPr userDrawn="1"/>
        </p:nvSpPr>
        <p:spPr>
          <a:xfrm>
            <a:off x="6384032" y="1628775"/>
            <a:ext cx="5184080" cy="3312393"/>
          </a:xfrm>
          <a:prstGeom prst="rect">
            <a:avLst/>
          </a:prstGeom>
          <a:noFill/>
        </p:spPr>
        <p:txBody>
          <a:bodyPr wrap="square" lIns="0" tIns="0" rIns="0" bIns="0" rtlCol="0">
            <a:noAutofit/>
          </a:bodyPr>
          <a:lstStyle/>
          <a:p>
            <a:pPr>
              <a:lnSpc>
                <a:spcPct val="110000"/>
              </a:lnSpc>
              <a:spcBef>
                <a:spcPts val="400"/>
              </a:spcBef>
            </a:pPr>
            <a:r>
              <a:rPr lang="fi-FI" sz="1200" dirty="0">
                <a:solidFill>
                  <a:srgbClr val="404040"/>
                </a:solidFill>
              </a:rPr>
              <a:t>Palvelumme perustuu kyseisen toimeksiannon suorittamisen yhteydessä saamiimme tietoihin ja ohjeisiin huomioiden toimeksiannon suorittamisen aikana vallitsevat olosuhteet. </a:t>
            </a:r>
          </a:p>
          <a:p>
            <a:pPr>
              <a:lnSpc>
                <a:spcPct val="110000"/>
              </a:lnSpc>
              <a:spcBef>
                <a:spcPts val="400"/>
              </a:spcBef>
            </a:pPr>
            <a:r>
              <a:rPr lang="fi-FI" sz="1200" dirty="0">
                <a:solidFill>
                  <a:srgbClr val="404040"/>
                </a:solidFill>
              </a:rPr>
              <a:t>Oletamme, että kaikki meille toimitettavat tiedot ovat oikeita ja virheettömiä, ja että asiakas on tarkistanut luovutettujen tietojen oikeellisuuden.</a:t>
            </a:r>
          </a:p>
          <a:p>
            <a:pPr>
              <a:lnSpc>
                <a:spcPct val="110000"/>
              </a:lnSpc>
              <a:spcBef>
                <a:spcPts val="400"/>
              </a:spcBef>
            </a:pPr>
            <a:r>
              <a:rPr lang="fi-FI" sz="1200" dirty="0">
                <a:solidFill>
                  <a:srgbClr val="404040"/>
                </a:solidFill>
              </a:rPr>
              <a:t>Emme ole vastuussa vahingosta, joka aiheutuu annetun neuvonnan tai laadittujen asiakirjojen ja aineistojen käyttämisestä muuhun kuin niiden alkuperäiseen tarkoitukseen. Enimmäisvastuumme teille tai kolmansille osapuolille on rajoitettu tämän sopimuksen perusteella maksettavan kokonaispalkkion suuruuteen. </a:t>
            </a:r>
          </a:p>
          <a:p>
            <a:pPr>
              <a:lnSpc>
                <a:spcPct val="110000"/>
              </a:lnSpc>
              <a:spcBef>
                <a:spcPts val="400"/>
              </a:spcBef>
            </a:pPr>
            <a:r>
              <a:rPr lang="fi-FI" sz="1200" dirty="0">
                <a:solidFill>
                  <a:srgbClr val="404040"/>
                </a:solidFill>
              </a:rPr>
              <a:t>Asiakkaan tulee tehdä ilmoitus kaikista suoritettuun työhön liittyvistä puutteista 1 kuukauden sisällä työn vastaanottamisesta. Muussa tapauksessa työ katsotaan hyväksytyksi ja virheettömäksi.  </a:t>
            </a:r>
          </a:p>
          <a:p>
            <a:pPr>
              <a:lnSpc>
                <a:spcPct val="110000"/>
              </a:lnSpc>
              <a:spcBef>
                <a:spcPts val="400"/>
              </a:spcBef>
            </a:pPr>
            <a:r>
              <a:rPr lang="fi-FI" sz="1200" dirty="0">
                <a:solidFill>
                  <a:srgbClr val="404040"/>
                </a:solidFill>
              </a:rPr>
              <a:t>Sopimisessa noudatetaan konsulttitoiminnan yleisiä sopimusehtoja</a:t>
            </a:r>
            <a:br>
              <a:rPr lang="fi-FI" sz="1200" dirty="0">
                <a:solidFill>
                  <a:srgbClr val="404040"/>
                </a:solidFill>
              </a:rPr>
            </a:br>
            <a:r>
              <a:rPr lang="fi-FI" sz="1200" dirty="0">
                <a:solidFill>
                  <a:srgbClr val="404040"/>
                </a:solidFill>
              </a:rPr>
              <a:t>(KSE 2013).</a:t>
            </a:r>
          </a:p>
        </p:txBody>
      </p:sp>
      <p:sp>
        <p:nvSpPr>
          <p:cNvPr id="17" name="Text Placeholder 27"/>
          <p:cNvSpPr>
            <a:spLocks noGrp="1"/>
          </p:cNvSpPr>
          <p:nvPr>
            <p:ph type="body" sz="quarter" idx="40" hasCustomPrompt="1"/>
          </p:nvPr>
        </p:nvSpPr>
        <p:spPr>
          <a:xfrm>
            <a:off x="6384032" y="5805389"/>
            <a:ext cx="5184081" cy="215999"/>
          </a:xfrm>
        </p:spPr>
        <p:txBody>
          <a:bodyPr/>
          <a:lstStyle>
            <a:lvl1pPr marL="0" indent="0">
              <a:lnSpc>
                <a:spcPct val="100000"/>
              </a:lnSpc>
              <a:buFontTx/>
              <a:buNone/>
              <a:defRPr sz="1200" b="1"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Insert date</a:t>
            </a:r>
          </a:p>
        </p:txBody>
      </p:sp>
      <p:sp>
        <p:nvSpPr>
          <p:cNvPr id="18" name="TextBox 17"/>
          <p:cNvSpPr txBox="1"/>
          <p:nvPr userDrawn="1"/>
        </p:nvSpPr>
        <p:spPr>
          <a:xfrm>
            <a:off x="6384032" y="5589240"/>
            <a:ext cx="5184081" cy="216024"/>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a:solidFill>
                  <a:srgbClr val="404040"/>
                </a:solidFill>
              </a:rPr>
              <a:t>Tarjous</a:t>
            </a:r>
            <a:r>
              <a:rPr lang="en-US" sz="1200" dirty="0">
                <a:solidFill>
                  <a:srgbClr val="404040"/>
                </a:solidFill>
              </a:rPr>
              <a:t> on </a:t>
            </a:r>
            <a:r>
              <a:rPr lang="en-US" sz="1200" dirty="0" err="1">
                <a:solidFill>
                  <a:srgbClr val="404040"/>
                </a:solidFill>
              </a:rPr>
              <a:t>voimassa</a:t>
            </a:r>
            <a:r>
              <a:rPr lang="en-US" sz="1200" dirty="0">
                <a:solidFill>
                  <a:srgbClr val="404040"/>
                </a:solidFill>
              </a:rPr>
              <a:t> </a:t>
            </a:r>
          </a:p>
        </p:txBody>
      </p:sp>
      <p:sp>
        <p:nvSpPr>
          <p:cNvPr id="21" name="TextBox 20">
            <a:extLst>
              <a:ext uri="{FF2B5EF4-FFF2-40B4-BE49-F238E27FC236}">
                <a16:creationId xmlns:a16="http://schemas.microsoft.com/office/drawing/2014/main" id="{79BB1D52-39D6-4D4D-811C-97CAA3DF3ECE}"/>
              </a:ext>
            </a:extLst>
          </p:cNvPr>
          <p:cNvSpPr txBox="1"/>
          <p:nvPr userDrawn="1"/>
        </p:nvSpPr>
        <p:spPr>
          <a:xfrm>
            <a:off x="551384" y="5744289"/>
            <a:ext cx="20882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404040"/>
                </a:solidFill>
              </a:rPr>
              <a:t>Gaia Consulting Oy</a:t>
            </a:r>
          </a:p>
        </p:txBody>
      </p:sp>
    </p:spTree>
    <p:extLst>
      <p:ext uri="{BB962C8B-B14F-4D97-AF65-F5344CB8AC3E}">
        <p14:creationId xmlns:p14="http://schemas.microsoft.com/office/powerpoint/2010/main" val="20015737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ice and Conditions Public (E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AF6730D-6264-47B3-8522-204497FF5E3A}"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23" name="Text Placeholder 22"/>
          <p:cNvSpPr>
            <a:spLocks noGrp="1"/>
          </p:cNvSpPr>
          <p:nvPr>
            <p:ph type="body" sz="quarter" idx="31" hasCustomPrompt="1"/>
          </p:nvPr>
        </p:nvSpPr>
        <p:spPr>
          <a:xfrm>
            <a:off x="623889" y="1628776"/>
            <a:ext cx="5184774" cy="2808336"/>
          </a:xfrm>
        </p:spPr>
        <p:txBody>
          <a:bodyPr/>
          <a:lstStyle>
            <a:lvl1pPr marL="0" indent="0">
              <a:buFontTx/>
              <a:buNone/>
              <a:defRPr sz="4000" b="1" baseline="0"/>
            </a:lvl1pPr>
            <a:lvl2pPr marL="0" indent="0">
              <a:buFontTx/>
              <a:buNone/>
              <a:defRPr sz="14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Price and VAT%</a:t>
            </a:r>
          </a:p>
          <a:p>
            <a:pPr lvl="1"/>
            <a:r>
              <a:rPr lang="en-US" dirty="0"/>
              <a:t>Second level</a:t>
            </a:r>
          </a:p>
          <a:p>
            <a:pPr lvl="2"/>
            <a:r>
              <a:rPr lang="en-US" dirty="0"/>
              <a:t>Third level</a:t>
            </a:r>
          </a:p>
        </p:txBody>
      </p:sp>
      <p:sp>
        <p:nvSpPr>
          <p:cNvPr id="2" name="Title 1"/>
          <p:cNvSpPr>
            <a:spLocks noGrp="1"/>
          </p:cNvSpPr>
          <p:nvPr>
            <p:ph type="title"/>
          </p:nvPr>
        </p:nvSpPr>
        <p:spPr/>
        <p:txBody>
          <a:bodyPr/>
          <a:lstStyle/>
          <a:p>
            <a:r>
              <a:rPr lang="en-US"/>
              <a:t>Click to edit Master title style</a:t>
            </a:r>
            <a:endParaRPr lang="fi-FI"/>
          </a:p>
        </p:txBody>
      </p:sp>
      <p:sp>
        <p:nvSpPr>
          <p:cNvPr id="13" name="Text Placeholder 27"/>
          <p:cNvSpPr>
            <a:spLocks noGrp="1"/>
          </p:cNvSpPr>
          <p:nvPr>
            <p:ph type="body" sz="quarter" idx="36" hasCustomPrompt="1"/>
          </p:nvPr>
        </p:nvSpPr>
        <p:spPr>
          <a:xfrm>
            <a:off x="623888" y="4725144"/>
            <a:ext cx="5184775"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Place and date</a:t>
            </a:r>
          </a:p>
        </p:txBody>
      </p:sp>
      <p:sp>
        <p:nvSpPr>
          <p:cNvPr id="14" name="Text Placeholder 27"/>
          <p:cNvSpPr>
            <a:spLocks noGrp="1"/>
          </p:cNvSpPr>
          <p:nvPr>
            <p:ph type="body" sz="quarter" idx="37" hasCustomPrompt="1"/>
          </p:nvPr>
        </p:nvSpPr>
        <p:spPr>
          <a:xfrm>
            <a:off x="623888" y="5589265"/>
            <a:ext cx="5184775"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First name Last name</a:t>
            </a:r>
          </a:p>
        </p:txBody>
      </p:sp>
      <p:sp>
        <p:nvSpPr>
          <p:cNvPr id="4" name="Picture Placeholder 3"/>
          <p:cNvSpPr>
            <a:spLocks noGrp="1"/>
          </p:cNvSpPr>
          <p:nvPr>
            <p:ph type="pic" sz="quarter" idx="39" hasCustomPrompt="1"/>
          </p:nvPr>
        </p:nvSpPr>
        <p:spPr>
          <a:xfrm>
            <a:off x="623888" y="5085184"/>
            <a:ext cx="1943100" cy="432048"/>
          </a:xfrm>
        </p:spPr>
        <p:txBody>
          <a:bodyPr/>
          <a:lstStyle>
            <a:lvl1pPr marL="0" indent="0">
              <a:buFontTx/>
              <a:buNone/>
              <a:defRPr sz="1200"/>
            </a:lvl1pPr>
          </a:lstStyle>
          <a:p>
            <a:r>
              <a:rPr lang="fi-FI" dirty="0"/>
              <a:t>Signature</a:t>
            </a:r>
          </a:p>
        </p:txBody>
      </p:sp>
      <p:cxnSp>
        <p:nvCxnSpPr>
          <p:cNvPr id="10" name="Straight Connector 9"/>
          <p:cNvCxnSpPr/>
          <p:nvPr userDrawn="1"/>
        </p:nvCxnSpPr>
        <p:spPr>
          <a:xfrm>
            <a:off x="623888" y="4581128"/>
            <a:ext cx="51847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
        <p:nvSpPr>
          <p:cNvPr id="17" name="Text Placeholder 27"/>
          <p:cNvSpPr>
            <a:spLocks noGrp="1"/>
          </p:cNvSpPr>
          <p:nvPr>
            <p:ph type="body" sz="quarter" idx="40" hasCustomPrompt="1"/>
          </p:nvPr>
        </p:nvSpPr>
        <p:spPr>
          <a:xfrm>
            <a:off x="6384032" y="5805389"/>
            <a:ext cx="5184081" cy="215999"/>
          </a:xfrm>
        </p:spPr>
        <p:txBody>
          <a:bodyPr/>
          <a:lstStyle>
            <a:lvl1pPr marL="0" indent="0">
              <a:lnSpc>
                <a:spcPct val="100000"/>
              </a:lnSpc>
              <a:buFontTx/>
              <a:buNone/>
              <a:defRPr sz="1200" b="1"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Insert date</a:t>
            </a:r>
          </a:p>
        </p:txBody>
      </p:sp>
      <p:sp>
        <p:nvSpPr>
          <p:cNvPr id="9" name="TextBox 8"/>
          <p:cNvSpPr txBox="1"/>
          <p:nvPr userDrawn="1"/>
        </p:nvSpPr>
        <p:spPr>
          <a:xfrm>
            <a:off x="6384032" y="5589240"/>
            <a:ext cx="5184081" cy="216024"/>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404040"/>
                </a:solidFill>
              </a:rPr>
              <a:t>This proposal is valid until</a:t>
            </a:r>
          </a:p>
        </p:txBody>
      </p:sp>
      <p:sp>
        <p:nvSpPr>
          <p:cNvPr id="18" name="TextBox 17">
            <a:extLst>
              <a:ext uri="{FF2B5EF4-FFF2-40B4-BE49-F238E27FC236}">
                <a16:creationId xmlns:a16="http://schemas.microsoft.com/office/drawing/2014/main" id="{54D747A2-C724-4365-AB07-4C5D03AB10D3}"/>
              </a:ext>
            </a:extLst>
          </p:cNvPr>
          <p:cNvSpPr txBox="1"/>
          <p:nvPr userDrawn="1"/>
        </p:nvSpPr>
        <p:spPr>
          <a:xfrm>
            <a:off x="551384" y="5744289"/>
            <a:ext cx="20882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404040"/>
                </a:solidFill>
              </a:rPr>
              <a:t>Gaia Consulting Oy</a:t>
            </a:r>
          </a:p>
        </p:txBody>
      </p:sp>
    </p:spTree>
    <p:extLst>
      <p:ext uri="{BB962C8B-B14F-4D97-AF65-F5344CB8AC3E}">
        <p14:creationId xmlns:p14="http://schemas.microsoft.com/office/powerpoint/2010/main" val="321220471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ky">
    <p:bg>
      <p:bgPr>
        <a:solidFill>
          <a:schemeClr val="tx2"/>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0" y="1988840"/>
            <a:ext cx="10200456" cy="4869160"/>
            <a:chOff x="1065835" y="779165"/>
            <a:chExt cx="10200456" cy="4869160"/>
          </a:xfrm>
          <a:solidFill>
            <a:srgbClr val="FFFFFF">
              <a:alpha val="20000"/>
            </a:srgbClr>
          </a:solidFill>
        </p:grpSpPr>
        <p:sp>
          <p:nvSpPr>
            <p:cNvPr id="13" name="Freeform 1951"/>
            <p:cNvSpPr>
              <a:spLocks noEditPoints="1"/>
            </p:cNvSpPr>
            <p:nvPr userDrawn="1"/>
          </p:nvSpPr>
          <p:spPr bwMode="auto">
            <a:xfrm>
              <a:off x="2774729" y="779165"/>
              <a:ext cx="1074738" cy="912813"/>
            </a:xfrm>
            <a:custGeom>
              <a:avLst/>
              <a:gdLst>
                <a:gd name="T0" fmla="*/ 205 w 677"/>
                <a:gd name="T1" fmla="*/ 414 h 575"/>
                <a:gd name="T2" fmla="*/ 622 w 677"/>
                <a:gd name="T3" fmla="*/ 61 h 575"/>
                <a:gd name="T4" fmla="*/ 621 w 677"/>
                <a:gd name="T5" fmla="*/ 79 h 575"/>
                <a:gd name="T6" fmla="*/ 662 w 677"/>
                <a:gd name="T7" fmla="*/ 22 h 575"/>
                <a:gd name="T8" fmla="*/ 625 w 677"/>
                <a:gd name="T9" fmla="*/ 35 h 575"/>
                <a:gd name="T10" fmla="*/ 247 w 677"/>
                <a:gd name="T11" fmla="*/ 334 h 575"/>
                <a:gd name="T12" fmla="*/ 368 w 677"/>
                <a:gd name="T13" fmla="*/ 270 h 575"/>
                <a:gd name="T14" fmla="*/ 560 w 677"/>
                <a:gd name="T15" fmla="*/ 107 h 575"/>
                <a:gd name="T16" fmla="*/ 596 w 677"/>
                <a:gd name="T17" fmla="*/ 48 h 575"/>
                <a:gd name="T18" fmla="*/ 644 w 677"/>
                <a:gd name="T19" fmla="*/ 12 h 575"/>
                <a:gd name="T20" fmla="*/ 677 w 677"/>
                <a:gd name="T21" fmla="*/ 5 h 575"/>
                <a:gd name="T22" fmla="*/ 647 w 677"/>
                <a:gd name="T23" fmla="*/ 65 h 575"/>
                <a:gd name="T24" fmla="*/ 594 w 677"/>
                <a:gd name="T25" fmla="*/ 106 h 575"/>
                <a:gd name="T26" fmla="*/ 457 w 677"/>
                <a:gd name="T27" fmla="*/ 215 h 575"/>
                <a:gd name="T28" fmla="*/ 344 w 677"/>
                <a:gd name="T29" fmla="*/ 296 h 575"/>
                <a:gd name="T30" fmla="*/ 251 w 677"/>
                <a:gd name="T31" fmla="*/ 343 h 575"/>
                <a:gd name="T32" fmla="*/ 332 w 677"/>
                <a:gd name="T33" fmla="*/ 526 h 575"/>
                <a:gd name="T34" fmla="*/ 263 w 677"/>
                <a:gd name="T35" fmla="*/ 415 h 575"/>
                <a:gd name="T36" fmla="*/ 301 w 677"/>
                <a:gd name="T37" fmla="*/ 508 h 575"/>
                <a:gd name="T38" fmla="*/ 307 w 677"/>
                <a:gd name="T39" fmla="*/ 533 h 575"/>
                <a:gd name="T40" fmla="*/ 272 w 677"/>
                <a:gd name="T41" fmla="*/ 469 h 575"/>
                <a:gd name="T42" fmla="*/ 270 w 677"/>
                <a:gd name="T43" fmla="*/ 550 h 575"/>
                <a:gd name="T44" fmla="*/ 242 w 677"/>
                <a:gd name="T45" fmla="*/ 372 h 575"/>
                <a:gd name="T46" fmla="*/ 232 w 677"/>
                <a:gd name="T47" fmla="*/ 495 h 575"/>
                <a:gd name="T48" fmla="*/ 243 w 677"/>
                <a:gd name="T49" fmla="*/ 573 h 575"/>
                <a:gd name="T50" fmla="*/ 230 w 677"/>
                <a:gd name="T51" fmla="*/ 551 h 575"/>
                <a:gd name="T52" fmla="*/ 224 w 677"/>
                <a:gd name="T53" fmla="*/ 425 h 575"/>
                <a:gd name="T54" fmla="*/ 208 w 677"/>
                <a:gd name="T55" fmla="*/ 507 h 575"/>
                <a:gd name="T56" fmla="*/ 180 w 677"/>
                <a:gd name="T57" fmla="*/ 545 h 575"/>
                <a:gd name="T58" fmla="*/ 171 w 677"/>
                <a:gd name="T59" fmla="*/ 544 h 575"/>
                <a:gd name="T60" fmla="*/ 194 w 677"/>
                <a:gd name="T61" fmla="*/ 420 h 575"/>
                <a:gd name="T62" fmla="*/ 68 w 677"/>
                <a:gd name="T63" fmla="*/ 440 h 575"/>
                <a:gd name="T64" fmla="*/ 62 w 677"/>
                <a:gd name="T65" fmla="*/ 433 h 575"/>
                <a:gd name="T66" fmla="*/ 160 w 677"/>
                <a:gd name="T67" fmla="*/ 352 h 575"/>
                <a:gd name="T68" fmla="*/ 71 w 677"/>
                <a:gd name="T69" fmla="*/ 379 h 575"/>
                <a:gd name="T70" fmla="*/ 18 w 677"/>
                <a:gd name="T71" fmla="*/ 405 h 575"/>
                <a:gd name="T72" fmla="*/ 42 w 677"/>
                <a:gd name="T73" fmla="*/ 383 h 575"/>
                <a:gd name="T74" fmla="*/ 128 w 677"/>
                <a:gd name="T75" fmla="*/ 349 h 575"/>
                <a:gd name="T76" fmla="*/ 193 w 677"/>
                <a:gd name="T77" fmla="*/ 326 h 575"/>
                <a:gd name="T78" fmla="*/ 88 w 677"/>
                <a:gd name="T79" fmla="*/ 303 h 575"/>
                <a:gd name="T80" fmla="*/ 1 w 677"/>
                <a:gd name="T81" fmla="*/ 301 h 575"/>
                <a:gd name="T82" fmla="*/ 28 w 677"/>
                <a:gd name="T83" fmla="*/ 291 h 575"/>
                <a:gd name="T84" fmla="*/ 156 w 677"/>
                <a:gd name="T85" fmla="*/ 305 h 575"/>
                <a:gd name="T86" fmla="*/ 101 w 677"/>
                <a:gd name="T87" fmla="*/ 286 h 575"/>
                <a:gd name="T88" fmla="*/ 8 w 677"/>
                <a:gd name="T89" fmla="*/ 276 h 575"/>
                <a:gd name="T90" fmla="*/ 6 w 677"/>
                <a:gd name="T91" fmla="*/ 267 h 575"/>
                <a:gd name="T92" fmla="*/ 112 w 677"/>
                <a:gd name="T93" fmla="*/ 279 h 575"/>
                <a:gd name="T94" fmla="*/ 144 w 677"/>
                <a:gd name="T95" fmla="*/ 276 h 575"/>
                <a:gd name="T96" fmla="*/ 75 w 677"/>
                <a:gd name="T97" fmla="*/ 244 h 575"/>
                <a:gd name="T98" fmla="*/ 37 w 677"/>
                <a:gd name="T99" fmla="*/ 196 h 575"/>
                <a:gd name="T100" fmla="*/ 51 w 677"/>
                <a:gd name="T101" fmla="*/ 204 h 575"/>
                <a:gd name="T102" fmla="*/ 104 w 677"/>
                <a:gd name="T103" fmla="*/ 248 h 575"/>
                <a:gd name="T104" fmla="*/ 68 w 677"/>
                <a:gd name="T105" fmla="*/ 175 h 575"/>
                <a:gd name="T106" fmla="*/ 73 w 677"/>
                <a:gd name="T107" fmla="*/ 167 h 575"/>
                <a:gd name="T108" fmla="*/ 94 w 677"/>
                <a:gd name="T109" fmla="*/ 170 h 575"/>
                <a:gd name="T110" fmla="*/ 161 w 677"/>
                <a:gd name="T111" fmla="*/ 170 h 575"/>
                <a:gd name="T112" fmla="*/ 168 w 677"/>
                <a:gd name="T113" fmla="*/ 164 h 575"/>
                <a:gd name="T114" fmla="*/ 223 w 677"/>
                <a:gd name="T115" fmla="*/ 206 h 575"/>
                <a:gd name="T116" fmla="*/ 238 w 677"/>
                <a:gd name="T117" fmla="*/ 205 h 575"/>
                <a:gd name="T118" fmla="*/ 248 w 677"/>
                <a:gd name="T119" fmla="*/ 207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7" h="575">
                  <a:moveTo>
                    <a:pt x="231" y="362"/>
                  </a:moveTo>
                  <a:lnTo>
                    <a:pt x="225" y="369"/>
                  </a:lnTo>
                  <a:lnTo>
                    <a:pt x="220" y="378"/>
                  </a:lnTo>
                  <a:lnTo>
                    <a:pt x="215" y="386"/>
                  </a:lnTo>
                  <a:lnTo>
                    <a:pt x="211" y="395"/>
                  </a:lnTo>
                  <a:lnTo>
                    <a:pt x="208" y="404"/>
                  </a:lnTo>
                  <a:lnTo>
                    <a:pt x="205" y="414"/>
                  </a:lnTo>
                  <a:lnTo>
                    <a:pt x="203" y="424"/>
                  </a:lnTo>
                  <a:lnTo>
                    <a:pt x="202" y="434"/>
                  </a:lnTo>
                  <a:lnTo>
                    <a:pt x="201" y="444"/>
                  </a:lnTo>
                  <a:lnTo>
                    <a:pt x="201" y="453"/>
                  </a:lnTo>
                  <a:lnTo>
                    <a:pt x="231" y="362"/>
                  </a:lnTo>
                  <a:close/>
                  <a:moveTo>
                    <a:pt x="662" y="22"/>
                  </a:moveTo>
                  <a:lnTo>
                    <a:pt x="622" y="61"/>
                  </a:lnTo>
                  <a:lnTo>
                    <a:pt x="602" y="81"/>
                  </a:lnTo>
                  <a:lnTo>
                    <a:pt x="582" y="100"/>
                  </a:lnTo>
                  <a:lnTo>
                    <a:pt x="589" y="97"/>
                  </a:lnTo>
                  <a:lnTo>
                    <a:pt x="597" y="94"/>
                  </a:lnTo>
                  <a:lnTo>
                    <a:pt x="605" y="90"/>
                  </a:lnTo>
                  <a:lnTo>
                    <a:pt x="613" y="84"/>
                  </a:lnTo>
                  <a:lnTo>
                    <a:pt x="621" y="79"/>
                  </a:lnTo>
                  <a:lnTo>
                    <a:pt x="628" y="72"/>
                  </a:lnTo>
                  <a:lnTo>
                    <a:pt x="635" y="65"/>
                  </a:lnTo>
                  <a:lnTo>
                    <a:pt x="641" y="57"/>
                  </a:lnTo>
                  <a:lnTo>
                    <a:pt x="647" y="49"/>
                  </a:lnTo>
                  <a:lnTo>
                    <a:pt x="653" y="40"/>
                  </a:lnTo>
                  <a:lnTo>
                    <a:pt x="658" y="31"/>
                  </a:lnTo>
                  <a:lnTo>
                    <a:pt x="662" y="22"/>
                  </a:lnTo>
                  <a:close/>
                  <a:moveTo>
                    <a:pt x="577" y="92"/>
                  </a:moveTo>
                  <a:lnTo>
                    <a:pt x="615" y="55"/>
                  </a:lnTo>
                  <a:lnTo>
                    <a:pt x="634" y="36"/>
                  </a:lnTo>
                  <a:lnTo>
                    <a:pt x="653" y="17"/>
                  </a:lnTo>
                  <a:lnTo>
                    <a:pt x="641" y="23"/>
                  </a:lnTo>
                  <a:lnTo>
                    <a:pt x="630" y="31"/>
                  </a:lnTo>
                  <a:lnTo>
                    <a:pt x="625" y="35"/>
                  </a:lnTo>
                  <a:lnTo>
                    <a:pt x="619" y="39"/>
                  </a:lnTo>
                  <a:lnTo>
                    <a:pt x="609" y="48"/>
                  </a:lnTo>
                  <a:lnTo>
                    <a:pt x="600" y="58"/>
                  </a:lnTo>
                  <a:lnTo>
                    <a:pt x="591" y="69"/>
                  </a:lnTo>
                  <a:lnTo>
                    <a:pt x="583" y="80"/>
                  </a:lnTo>
                  <a:lnTo>
                    <a:pt x="577" y="92"/>
                  </a:lnTo>
                  <a:close/>
                  <a:moveTo>
                    <a:pt x="247" y="334"/>
                  </a:moveTo>
                  <a:lnTo>
                    <a:pt x="263" y="327"/>
                  </a:lnTo>
                  <a:lnTo>
                    <a:pt x="278" y="320"/>
                  </a:lnTo>
                  <a:lnTo>
                    <a:pt x="294" y="312"/>
                  </a:lnTo>
                  <a:lnTo>
                    <a:pt x="309" y="304"/>
                  </a:lnTo>
                  <a:lnTo>
                    <a:pt x="324" y="296"/>
                  </a:lnTo>
                  <a:lnTo>
                    <a:pt x="339" y="288"/>
                  </a:lnTo>
                  <a:lnTo>
                    <a:pt x="368" y="270"/>
                  </a:lnTo>
                  <a:lnTo>
                    <a:pt x="396" y="250"/>
                  </a:lnTo>
                  <a:lnTo>
                    <a:pt x="424" y="230"/>
                  </a:lnTo>
                  <a:lnTo>
                    <a:pt x="437" y="219"/>
                  </a:lnTo>
                  <a:lnTo>
                    <a:pt x="450" y="208"/>
                  </a:lnTo>
                  <a:lnTo>
                    <a:pt x="476" y="185"/>
                  </a:lnTo>
                  <a:lnTo>
                    <a:pt x="518" y="146"/>
                  </a:lnTo>
                  <a:lnTo>
                    <a:pt x="560" y="107"/>
                  </a:lnTo>
                  <a:lnTo>
                    <a:pt x="564" y="98"/>
                  </a:lnTo>
                  <a:lnTo>
                    <a:pt x="568" y="89"/>
                  </a:lnTo>
                  <a:lnTo>
                    <a:pt x="573" y="80"/>
                  </a:lnTo>
                  <a:lnTo>
                    <a:pt x="578" y="71"/>
                  </a:lnTo>
                  <a:lnTo>
                    <a:pt x="584" y="63"/>
                  </a:lnTo>
                  <a:lnTo>
                    <a:pt x="590" y="55"/>
                  </a:lnTo>
                  <a:lnTo>
                    <a:pt x="596" y="48"/>
                  </a:lnTo>
                  <a:lnTo>
                    <a:pt x="603" y="41"/>
                  </a:lnTo>
                  <a:lnTo>
                    <a:pt x="611" y="34"/>
                  </a:lnTo>
                  <a:lnTo>
                    <a:pt x="618" y="28"/>
                  </a:lnTo>
                  <a:lnTo>
                    <a:pt x="626" y="22"/>
                  </a:lnTo>
                  <a:lnTo>
                    <a:pt x="631" y="19"/>
                  </a:lnTo>
                  <a:lnTo>
                    <a:pt x="635" y="17"/>
                  </a:lnTo>
                  <a:lnTo>
                    <a:pt x="644" y="12"/>
                  </a:lnTo>
                  <a:lnTo>
                    <a:pt x="653" y="7"/>
                  </a:lnTo>
                  <a:lnTo>
                    <a:pt x="662" y="3"/>
                  </a:lnTo>
                  <a:lnTo>
                    <a:pt x="671" y="0"/>
                  </a:lnTo>
                  <a:lnTo>
                    <a:pt x="674" y="0"/>
                  </a:lnTo>
                  <a:lnTo>
                    <a:pt x="675" y="2"/>
                  </a:lnTo>
                  <a:lnTo>
                    <a:pt x="676" y="3"/>
                  </a:lnTo>
                  <a:lnTo>
                    <a:pt x="677" y="5"/>
                  </a:lnTo>
                  <a:lnTo>
                    <a:pt x="673" y="18"/>
                  </a:lnTo>
                  <a:lnTo>
                    <a:pt x="671" y="24"/>
                  </a:lnTo>
                  <a:lnTo>
                    <a:pt x="668" y="30"/>
                  </a:lnTo>
                  <a:lnTo>
                    <a:pt x="662" y="42"/>
                  </a:lnTo>
                  <a:lnTo>
                    <a:pt x="655" y="54"/>
                  </a:lnTo>
                  <a:lnTo>
                    <a:pt x="651" y="60"/>
                  </a:lnTo>
                  <a:lnTo>
                    <a:pt x="647" y="65"/>
                  </a:lnTo>
                  <a:lnTo>
                    <a:pt x="638" y="75"/>
                  </a:lnTo>
                  <a:lnTo>
                    <a:pt x="634" y="80"/>
                  </a:lnTo>
                  <a:lnTo>
                    <a:pt x="629" y="84"/>
                  </a:lnTo>
                  <a:lnTo>
                    <a:pt x="624" y="88"/>
                  </a:lnTo>
                  <a:lnTo>
                    <a:pt x="618" y="92"/>
                  </a:lnTo>
                  <a:lnTo>
                    <a:pt x="606" y="100"/>
                  </a:lnTo>
                  <a:lnTo>
                    <a:pt x="594" y="106"/>
                  </a:lnTo>
                  <a:lnTo>
                    <a:pt x="588" y="108"/>
                  </a:lnTo>
                  <a:lnTo>
                    <a:pt x="582" y="110"/>
                  </a:lnTo>
                  <a:lnTo>
                    <a:pt x="575" y="112"/>
                  </a:lnTo>
                  <a:lnTo>
                    <a:pt x="568" y="113"/>
                  </a:lnTo>
                  <a:lnTo>
                    <a:pt x="526" y="153"/>
                  </a:lnTo>
                  <a:lnTo>
                    <a:pt x="483" y="192"/>
                  </a:lnTo>
                  <a:lnTo>
                    <a:pt x="457" y="215"/>
                  </a:lnTo>
                  <a:lnTo>
                    <a:pt x="443" y="226"/>
                  </a:lnTo>
                  <a:lnTo>
                    <a:pt x="430" y="237"/>
                  </a:lnTo>
                  <a:lnTo>
                    <a:pt x="402" y="258"/>
                  </a:lnTo>
                  <a:lnTo>
                    <a:pt x="388" y="268"/>
                  </a:lnTo>
                  <a:lnTo>
                    <a:pt x="373" y="278"/>
                  </a:lnTo>
                  <a:lnTo>
                    <a:pt x="358" y="287"/>
                  </a:lnTo>
                  <a:lnTo>
                    <a:pt x="344" y="296"/>
                  </a:lnTo>
                  <a:lnTo>
                    <a:pt x="329" y="304"/>
                  </a:lnTo>
                  <a:lnTo>
                    <a:pt x="313" y="313"/>
                  </a:lnTo>
                  <a:lnTo>
                    <a:pt x="298" y="321"/>
                  </a:lnTo>
                  <a:lnTo>
                    <a:pt x="282" y="328"/>
                  </a:lnTo>
                  <a:lnTo>
                    <a:pt x="267" y="336"/>
                  </a:lnTo>
                  <a:lnTo>
                    <a:pt x="259" y="339"/>
                  </a:lnTo>
                  <a:lnTo>
                    <a:pt x="251" y="343"/>
                  </a:lnTo>
                  <a:lnTo>
                    <a:pt x="251" y="346"/>
                  </a:lnTo>
                  <a:lnTo>
                    <a:pt x="336" y="519"/>
                  </a:lnTo>
                  <a:lnTo>
                    <a:pt x="337" y="521"/>
                  </a:lnTo>
                  <a:lnTo>
                    <a:pt x="336" y="523"/>
                  </a:lnTo>
                  <a:lnTo>
                    <a:pt x="335" y="524"/>
                  </a:lnTo>
                  <a:lnTo>
                    <a:pt x="334" y="525"/>
                  </a:lnTo>
                  <a:lnTo>
                    <a:pt x="332" y="526"/>
                  </a:lnTo>
                  <a:lnTo>
                    <a:pt x="330" y="526"/>
                  </a:lnTo>
                  <a:lnTo>
                    <a:pt x="329" y="525"/>
                  </a:lnTo>
                  <a:lnTo>
                    <a:pt x="327" y="523"/>
                  </a:lnTo>
                  <a:lnTo>
                    <a:pt x="255" y="375"/>
                  </a:lnTo>
                  <a:lnTo>
                    <a:pt x="257" y="385"/>
                  </a:lnTo>
                  <a:lnTo>
                    <a:pt x="259" y="395"/>
                  </a:lnTo>
                  <a:lnTo>
                    <a:pt x="263" y="415"/>
                  </a:lnTo>
                  <a:lnTo>
                    <a:pt x="266" y="424"/>
                  </a:lnTo>
                  <a:lnTo>
                    <a:pt x="269" y="434"/>
                  </a:lnTo>
                  <a:lnTo>
                    <a:pt x="276" y="453"/>
                  </a:lnTo>
                  <a:lnTo>
                    <a:pt x="283" y="472"/>
                  </a:lnTo>
                  <a:lnTo>
                    <a:pt x="292" y="490"/>
                  </a:lnTo>
                  <a:lnTo>
                    <a:pt x="296" y="499"/>
                  </a:lnTo>
                  <a:lnTo>
                    <a:pt x="301" y="508"/>
                  </a:lnTo>
                  <a:lnTo>
                    <a:pt x="311" y="526"/>
                  </a:lnTo>
                  <a:lnTo>
                    <a:pt x="312" y="528"/>
                  </a:lnTo>
                  <a:lnTo>
                    <a:pt x="312" y="529"/>
                  </a:lnTo>
                  <a:lnTo>
                    <a:pt x="311" y="531"/>
                  </a:lnTo>
                  <a:lnTo>
                    <a:pt x="310" y="532"/>
                  </a:lnTo>
                  <a:lnTo>
                    <a:pt x="308" y="533"/>
                  </a:lnTo>
                  <a:lnTo>
                    <a:pt x="307" y="533"/>
                  </a:lnTo>
                  <a:lnTo>
                    <a:pt x="305" y="532"/>
                  </a:lnTo>
                  <a:lnTo>
                    <a:pt x="303" y="531"/>
                  </a:lnTo>
                  <a:lnTo>
                    <a:pt x="296" y="519"/>
                  </a:lnTo>
                  <a:lnTo>
                    <a:pt x="289" y="507"/>
                  </a:lnTo>
                  <a:lnTo>
                    <a:pt x="283" y="495"/>
                  </a:lnTo>
                  <a:lnTo>
                    <a:pt x="277" y="482"/>
                  </a:lnTo>
                  <a:lnTo>
                    <a:pt x="272" y="469"/>
                  </a:lnTo>
                  <a:lnTo>
                    <a:pt x="267" y="457"/>
                  </a:lnTo>
                  <a:lnTo>
                    <a:pt x="264" y="450"/>
                  </a:lnTo>
                  <a:lnTo>
                    <a:pt x="262" y="444"/>
                  </a:lnTo>
                  <a:lnTo>
                    <a:pt x="258" y="431"/>
                  </a:lnTo>
                  <a:lnTo>
                    <a:pt x="271" y="546"/>
                  </a:lnTo>
                  <a:lnTo>
                    <a:pt x="271" y="548"/>
                  </a:lnTo>
                  <a:lnTo>
                    <a:pt x="270" y="550"/>
                  </a:lnTo>
                  <a:lnTo>
                    <a:pt x="268" y="551"/>
                  </a:lnTo>
                  <a:lnTo>
                    <a:pt x="267" y="551"/>
                  </a:lnTo>
                  <a:lnTo>
                    <a:pt x="265" y="551"/>
                  </a:lnTo>
                  <a:lnTo>
                    <a:pt x="263" y="550"/>
                  </a:lnTo>
                  <a:lnTo>
                    <a:pt x="262" y="549"/>
                  </a:lnTo>
                  <a:lnTo>
                    <a:pt x="261" y="547"/>
                  </a:lnTo>
                  <a:lnTo>
                    <a:pt x="242" y="372"/>
                  </a:lnTo>
                  <a:lnTo>
                    <a:pt x="237" y="396"/>
                  </a:lnTo>
                  <a:lnTo>
                    <a:pt x="236" y="409"/>
                  </a:lnTo>
                  <a:lnTo>
                    <a:pt x="234" y="421"/>
                  </a:lnTo>
                  <a:lnTo>
                    <a:pt x="233" y="433"/>
                  </a:lnTo>
                  <a:lnTo>
                    <a:pt x="232" y="446"/>
                  </a:lnTo>
                  <a:lnTo>
                    <a:pt x="231" y="470"/>
                  </a:lnTo>
                  <a:lnTo>
                    <a:pt x="232" y="495"/>
                  </a:lnTo>
                  <a:lnTo>
                    <a:pt x="234" y="520"/>
                  </a:lnTo>
                  <a:lnTo>
                    <a:pt x="238" y="545"/>
                  </a:lnTo>
                  <a:lnTo>
                    <a:pt x="241" y="557"/>
                  </a:lnTo>
                  <a:lnTo>
                    <a:pt x="244" y="570"/>
                  </a:lnTo>
                  <a:lnTo>
                    <a:pt x="244" y="572"/>
                  </a:lnTo>
                  <a:lnTo>
                    <a:pt x="244" y="573"/>
                  </a:lnTo>
                  <a:lnTo>
                    <a:pt x="243" y="573"/>
                  </a:lnTo>
                  <a:lnTo>
                    <a:pt x="242" y="575"/>
                  </a:lnTo>
                  <a:lnTo>
                    <a:pt x="240" y="575"/>
                  </a:lnTo>
                  <a:lnTo>
                    <a:pt x="238" y="575"/>
                  </a:lnTo>
                  <a:lnTo>
                    <a:pt x="237" y="575"/>
                  </a:lnTo>
                  <a:lnTo>
                    <a:pt x="235" y="574"/>
                  </a:lnTo>
                  <a:lnTo>
                    <a:pt x="234" y="572"/>
                  </a:lnTo>
                  <a:lnTo>
                    <a:pt x="230" y="551"/>
                  </a:lnTo>
                  <a:lnTo>
                    <a:pt x="228" y="540"/>
                  </a:lnTo>
                  <a:lnTo>
                    <a:pt x="226" y="530"/>
                  </a:lnTo>
                  <a:lnTo>
                    <a:pt x="224" y="509"/>
                  </a:lnTo>
                  <a:lnTo>
                    <a:pt x="222" y="488"/>
                  </a:lnTo>
                  <a:lnTo>
                    <a:pt x="222" y="467"/>
                  </a:lnTo>
                  <a:lnTo>
                    <a:pt x="223" y="446"/>
                  </a:lnTo>
                  <a:lnTo>
                    <a:pt x="224" y="425"/>
                  </a:lnTo>
                  <a:lnTo>
                    <a:pt x="227" y="405"/>
                  </a:lnTo>
                  <a:lnTo>
                    <a:pt x="203" y="477"/>
                  </a:lnTo>
                  <a:lnTo>
                    <a:pt x="205" y="489"/>
                  </a:lnTo>
                  <a:lnTo>
                    <a:pt x="209" y="502"/>
                  </a:lnTo>
                  <a:lnTo>
                    <a:pt x="210" y="504"/>
                  </a:lnTo>
                  <a:lnTo>
                    <a:pt x="209" y="505"/>
                  </a:lnTo>
                  <a:lnTo>
                    <a:pt x="208" y="507"/>
                  </a:lnTo>
                  <a:lnTo>
                    <a:pt x="206" y="508"/>
                  </a:lnTo>
                  <a:lnTo>
                    <a:pt x="205" y="508"/>
                  </a:lnTo>
                  <a:lnTo>
                    <a:pt x="203" y="508"/>
                  </a:lnTo>
                  <a:lnTo>
                    <a:pt x="201" y="507"/>
                  </a:lnTo>
                  <a:lnTo>
                    <a:pt x="200" y="505"/>
                  </a:lnTo>
                  <a:lnTo>
                    <a:pt x="197" y="494"/>
                  </a:lnTo>
                  <a:lnTo>
                    <a:pt x="180" y="545"/>
                  </a:lnTo>
                  <a:lnTo>
                    <a:pt x="179" y="547"/>
                  </a:lnTo>
                  <a:lnTo>
                    <a:pt x="178" y="548"/>
                  </a:lnTo>
                  <a:lnTo>
                    <a:pt x="176" y="548"/>
                  </a:lnTo>
                  <a:lnTo>
                    <a:pt x="174" y="548"/>
                  </a:lnTo>
                  <a:lnTo>
                    <a:pt x="173" y="547"/>
                  </a:lnTo>
                  <a:lnTo>
                    <a:pt x="171" y="546"/>
                  </a:lnTo>
                  <a:lnTo>
                    <a:pt x="171" y="544"/>
                  </a:lnTo>
                  <a:lnTo>
                    <a:pt x="171" y="542"/>
                  </a:lnTo>
                  <a:lnTo>
                    <a:pt x="193" y="475"/>
                  </a:lnTo>
                  <a:lnTo>
                    <a:pt x="192" y="464"/>
                  </a:lnTo>
                  <a:lnTo>
                    <a:pt x="191" y="453"/>
                  </a:lnTo>
                  <a:lnTo>
                    <a:pt x="191" y="442"/>
                  </a:lnTo>
                  <a:lnTo>
                    <a:pt x="192" y="431"/>
                  </a:lnTo>
                  <a:lnTo>
                    <a:pt x="194" y="420"/>
                  </a:lnTo>
                  <a:lnTo>
                    <a:pt x="197" y="409"/>
                  </a:lnTo>
                  <a:lnTo>
                    <a:pt x="200" y="398"/>
                  </a:lnTo>
                  <a:lnTo>
                    <a:pt x="204" y="388"/>
                  </a:lnTo>
                  <a:lnTo>
                    <a:pt x="208" y="379"/>
                  </a:lnTo>
                  <a:lnTo>
                    <a:pt x="212" y="372"/>
                  </a:lnTo>
                  <a:lnTo>
                    <a:pt x="221" y="359"/>
                  </a:lnTo>
                  <a:lnTo>
                    <a:pt x="68" y="440"/>
                  </a:lnTo>
                  <a:lnTo>
                    <a:pt x="66" y="441"/>
                  </a:lnTo>
                  <a:lnTo>
                    <a:pt x="64" y="440"/>
                  </a:lnTo>
                  <a:lnTo>
                    <a:pt x="63" y="439"/>
                  </a:lnTo>
                  <a:lnTo>
                    <a:pt x="62" y="438"/>
                  </a:lnTo>
                  <a:lnTo>
                    <a:pt x="61" y="436"/>
                  </a:lnTo>
                  <a:lnTo>
                    <a:pt x="61" y="435"/>
                  </a:lnTo>
                  <a:lnTo>
                    <a:pt x="62" y="433"/>
                  </a:lnTo>
                  <a:lnTo>
                    <a:pt x="64" y="432"/>
                  </a:lnTo>
                  <a:lnTo>
                    <a:pt x="227" y="344"/>
                  </a:lnTo>
                  <a:lnTo>
                    <a:pt x="213" y="345"/>
                  </a:lnTo>
                  <a:lnTo>
                    <a:pt x="200" y="346"/>
                  </a:lnTo>
                  <a:lnTo>
                    <a:pt x="187" y="348"/>
                  </a:lnTo>
                  <a:lnTo>
                    <a:pt x="173" y="349"/>
                  </a:lnTo>
                  <a:lnTo>
                    <a:pt x="160" y="352"/>
                  </a:lnTo>
                  <a:lnTo>
                    <a:pt x="147" y="354"/>
                  </a:lnTo>
                  <a:lnTo>
                    <a:pt x="134" y="357"/>
                  </a:lnTo>
                  <a:lnTo>
                    <a:pt x="121" y="361"/>
                  </a:lnTo>
                  <a:lnTo>
                    <a:pt x="109" y="365"/>
                  </a:lnTo>
                  <a:lnTo>
                    <a:pt x="96" y="369"/>
                  </a:lnTo>
                  <a:lnTo>
                    <a:pt x="83" y="374"/>
                  </a:lnTo>
                  <a:lnTo>
                    <a:pt x="71" y="379"/>
                  </a:lnTo>
                  <a:lnTo>
                    <a:pt x="59" y="385"/>
                  </a:lnTo>
                  <a:lnTo>
                    <a:pt x="47" y="391"/>
                  </a:lnTo>
                  <a:lnTo>
                    <a:pt x="35" y="398"/>
                  </a:lnTo>
                  <a:lnTo>
                    <a:pt x="23" y="405"/>
                  </a:lnTo>
                  <a:lnTo>
                    <a:pt x="21" y="406"/>
                  </a:lnTo>
                  <a:lnTo>
                    <a:pt x="19" y="406"/>
                  </a:lnTo>
                  <a:lnTo>
                    <a:pt x="18" y="405"/>
                  </a:lnTo>
                  <a:lnTo>
                    <a:pt x="17" y="403"/>
                  </a:lnTo>
                  <a:lnTo>
                    <a:pt x="16" y="402"/>
                  </a:lnTo>
                  <a:lnTo>
                    <a:pt x="16" y="400"/>
                  </a:lnTo>
                  <a:lnTo>
                    <a:pt x="17" y="398"/>
                  </a:lnTo>
                  <a:lnTo>
                    <a:pt x="18" y="397"/>
                  </a:lnTo>
                  <a:lnTo>
                    <a:pt x="30" y="390"/>
                  </a:lnTo>
                  <a:lnTo>
                    <a:pt x="42" y="383"/>
                  </a:lnTo>
                  <a:lnTo>
                    <a:pt x="53" y="377"/>
                  </a:lnTo>
                  <a:lnTo>
                    <a:pt x="65" y="371"/>
                  </a:lnTo>
                  <a:lnTo>
                    <a:pt x="78" y="366"/>
                  </a:lnTo>
                  <a:lnTo>
                    <a:pt x="90" y="361"/>
                  </a:lnTo>
                  <a:lnTo>
                    <a:pt x="102" y="357"/>
                  </a:lnTo>
                  <a:lnTo>
                    <a:pt x="115" y="353"/>
                  </a:lnTo>
                  <a:lnTo>
                    <a:pt x="128" y="349"/>
                  </a:lnTo>
                  <a:lnTo>
                    <a:pt x="140" y="346"/>
                  </a:lnTo>
                  <a:lnTo>
                    <a:pt x="166" y="341"/>
                  </a:lnTo>
                  <a:lnTo>
                    <a:pt x="179" y="339"/>
                  </a:lnTo>
                  <a:lnTo>
                    <a:pt x="192" y="337"/>
                  </a:lnTo>
                  <a:lnTo>
                    <a:pt x="206" y="336"/>
                  </a:lnTo>
                  <a:lnTo>
                    <a:pt x="219" y="335"/>
                  </a:lnTo>
                  <a:lnTo>
                    <a:pt x="193" y="326"/>
                  </a:lnTo>
                  <a:lnTo>
                    <a:pt x="167" y="318"/>
                  </a:lnTo>
                  <a:lnTo>
                    <a:pt x="154" y="315"/>
                  </a:lnTo>
                  <a:lnTo>
                    <a:pt x="141" y="312"/>
                  </a:lnTo>
                  <a:lnTo>
                    <a:pt x="128" y="309"/>
                  </a:lnTo>
                  <a:lnTo>
                    <a:pt x="114" y="306"/>
                  </a:lnTo>
                  <a:lnTo>
                    <a:pt x="101" y="304"/>
                  </a:lnTo>
                  <a:lnTo>
                    <a:pt x="88" y="303"/>
                  </a:lnTo>
                  <a:lnTo>
                    <a:pt x="74" y="302"/>
                  </a:lnTo>
                  <a:lnTo>
                    <a:pt x="60" y="301"/>
                  </a:lnTo>
                  <a:lnTo>
                    <a:pt x="47" y="301"/>
                  </a:lnTo>
                  <a:lnTo>
                    <a:pt x="33" y="301"/>
                  </a:lnTo>
                  <a:lnTo>
                    <a:pt x="5" y="302"/>
                  </a:lnTo>
                  <a:lnTo>
                    <a:pt x="3" y="302"/>
                  </a:lnTo>
                  <a:lnTo>
                    <a:pt x="1" y="301"/>
                  </a:lnTo>
                  <a:lnTo>
                    <a:pt x="0" y="299"/>
                  </a:lnTo>
                  <a:lnTo>
                    <a:pt x="0" y="298"/>
                  </a:lnTo>
                  <a:lnTo>
                    <a:pt x="0" y="296"/>
                  </a:lnTo>
                  <a:lnTo>
                    <a:pt x="1" y="294"/>
                  </a:lnTo>
                  <a:lnTo>
                    <a:pt x="2" y="293"/>
                  </a:lnTo>
                  <a:lnTo>
                    <a:pt x="4" y="293"/>
                  </a:lnTo>
                  <a:lnTo>
                    <a:pt x="28" y="291"/>
                  </a:lnTo>
                  <a:lnTo>
                    <a:pt x="52" y="291"/>
                  </a:lnTo>
                  <a:lnTo>
                    <a:pt x="64" y="292"/>
                  </a:lnTo>
                  <a:lnTo>
                    <a:pt x="76" y="292"/>
                  </a:lnTo>
                  <a:lnTo>
                    <a:pt x="99" y="295"/>
                  </a:lnTo>
                  <a:lnTo>
                    <a:pt x="122" y="298"/>
                  </a:lnTo>
                  <a:lnTo>
                    <a:pt x="145" y="303"/>
                  </a:lnTo>
                  <a:lnTo>
                    <a:pt x="156" y="305"/>
                  </a:lnTo>
                  <a:lnTo>
                    <a:pt x="167" y="308"/>
                  </a:lnTo>
                  <a:lnTo>
                    <a:pt x="190" y="315"/>
                  </a:lnTo>
                  <a:lnTo>
                    <a:pt x="168" y="306"/>
                  </a:lnTo>
                  <a:lnTo>
                    <a:pt x="146" y="298"/>
                  </a:lnTo>
                  <a:lnTo>
                    <a:pt x="124" y="291"/>
                  </a:lnTo>
                  <a:lnTo>
                    <a:pt x="112" y="288"/>
                  </a:lnTo>
                  <a:lnTo>
                    <a:pt x="101" y="286"/>
                  </a:lnTo>
                  <a:lnTo>
                    <a:pt x="90" y="283"/>
                  </a:lnTo>
                  <a:lnTo>
                    <a:pt x="78" y="281"/>
                  </a:lnTo>
                  <a:lnTo>
                    <a:pt x="55" y="278"/>
                  </a:lnTo>
                  <a:lnTo>
                    <a:pt x="43" y="277"/>
                  </a:lnTo>
                  <a:lnTo>
                    <a:pt x="32" y="276"/>
                  </a:lnTo>
                  <a:lnTo>
                    <a:pt x="20" y="276"/>
                  </a:lnTo>
                  <a:lnTo>
                    <a:pt x="8" y="276"/>
                  </a:lnTo>
                  <a:lnTo>
                    <a:pt x="6" y="276"/>
                  </a:lnTo>
                  <a:lnTo>
                    <a:pt x="4" y="275"/>
                  </a:lnTo>
                  <a:lnTo>
                    <a:pt x="4" y="273"/>
                  </a:lnTo>
                  <a:lnTo>
                    <a:pt x="3" y="271"/>
                  </a:lnTo>
                  <a:lnTo>
                    <a:pt x="4" y="270"/>
                  </a:lnTo>
                  <a:lnTo>
                    <a:pt x="4" y="268"/>
                  </a:lnTo>
                  <a:lnTo>
                    <a:pt x="6" y="267"/>
                  </a:lnTo>
                  <a:lnTo>
                    <a:pt x="8" y="266"/>
                  </a:lnTo>
                  <a:lnTo>
                    <a:pt x="20" y="267"/>
                  </a:lnTo>
                  <a:lnTo>
                    <a:pt x="32" y="267"/>
                  </a:lnTo>
                  <a:lnTo>
                    <a:pt x="55" y="269"/>
                  </a:lnTo>
                  <a:lnTo>
                    <a:pt x="78" y="272"/>
                  </a:lnTo>
                  <a:lnTo>
                    <a:pt x="101" y="276"/>
                  </a:lnTo>
                  <a:lnTo>
                    <a:pt x="112" y="279"/>
                  </a:lnTo>
                  <a:lnTo>
                    <a:pt x="124" y="282"/>
                  </a:lnTo>
                  <a:lnTo>
                    <a:pt x="146" y="288"/>
                  </a:lnTo>
                  <a:lnTo>
                    <a:pt x="168" y="296"/>
                  </a:lnTo>
                  <a:lnTo>
                    <a:pt x="190" y="305"/>
                  </a:lnTo>
                  <a:lnTo>
                    <a:pt x="172" y="292"/>
                  </a:lnTo>
                  <a:lnTo>
                    <a:pt x="153" y="281"/>
                  </a:lnTo>
                  <a:lnTo>
                    <a:pt x="144" y="276"/>
                  </a:lnTo>
                  <a:lnTo>
                    <a:pt x="134" y="271"/>
                  </a:lnTo>
                  <a:lnTo>
                    <a:pt x="116" y="263"/>
                  </a:lnTo>
                  <a:lnTo>
                    <a:pt x="103" y="258"/>
                  </a:lnTo>
                  <a:lnTo>
                    <a:pt x="92" y="254"/>
                  </a:lnTo>
                  <a:lnTo>
                    <a:pt x="86" y="251"/>
                  </a:lnTo>
                  <a:lnTo>
                    <a:pt x="81" y="248"/>
                  </a:lnTo>
                  <a:lnTo>
                    <a:pt x="75" y="244"/>
                  </a:lnTo>
                  <a:lnTo>
                    <a:pt x="70" y="240"/>
                  </a:lnTo>
                  <a:lnTo>
                    <a:pt x="59" y="231"/>
                  </a:lnTo>
                  <a:lnTo>
                    <a:pt x="51" y="221"/>
                  </a:lnTo>
                  <a:lnTo>
                    <a:pt x="44" y="211"/>
                  </a:lnTo>
                  <a:lnTo>
                    <a:pt x="37" y="199"/>
                  </a:lnTo>
                  <a:lnTo>
                    <a:pt x="36" y="197"/>
                  </a:lnTo>
                  <a:lnTo>
                    <a:pt x="37" y="196"/>
                  </a:lnTo>
                  <a:lnTo>
                    <a:pt x="38" y="194"/>
                  </a:lnTo>
                  <a:lnTo>
                    <a:pt x="39" y="193"/>
                  </a:lnTo>
                  <a:lnTo>
                    <a:pt x="41" y="192"/>
                  </a:lnTo>
                  <a:lnTo>
                    <a:pt x="42" y="193"/>
                  </a:lnTo>
                  <a:lnTo>
                    <a:pt x="44" y="193"/>
                  </a:lnTo>
                  <a:lnTo>
                    <a:pt x="45" y="195"/>
                  </a:lnTo>
                  <a:lnTo>
                    <a:pt x="51" y="204"/>
                  </a:lnTo>
                  <a:lnTo>
                    <a:pt x="56" y="213"/>
                  </a:lnTo>
                  <a:lnTo>
                    <a:pt x="63" y="220"/>
                  </a:lnTo>
                  <a:lnTo>
                    <a:pt x="70" y="227"/>
                  </a:lnTo>
                  <a:lnTo>
                    <a:pt x="77" y="234"/>
                  </a:lnTo>
                  <a:lnTo>
                    <a:pt x="85" y="239"/>
                  </a:lnTo>
                  <a:lnTo>
                    <a:pt x="94" y="244"/>
                  </a:lnTo>
                  <a:lnTo>
                    <a:pt x="104" y="248"/>
                  </a:lnTo>
                  <a:lnTo>
                    <a:pt x="120" y="254"/>
                  </a:lnTo>
                  <a:lnTo>
                    <a:pt x="128" y="258"/>
                  </a:lnTo>
                  <a:lnTo>
                    <a:pt x="136" y="262"/>
                  </a:lnTo>
                  <a:lnTo>
                    <a:pt x="150" y="269"/>
                  </a:lnTo>
                  <a:lnTo>
                    <a:pt x="162" y="276"/>
                  </a:lnTo>
                  <a:lnTo>
                    <a:pt x="184" y="290"/>
                  </a:lnTo>
                  <a:lnTo>
                    <a:pt x="68" y="175"/>
                  </a:lnTo>
                  <a:lnTo>
                    <a:pt x="67" y="174"/>
                  </a:lnTo>
                  <a:lnTo>
                    <a:pt x="66" y="172"/>
                  </a:lnTo>
                  <a:lnTo>
                    <a:pt x="67" y="170"/>
                  </a:lnTo>
                  <a:lnTo>
                    <a:pt x="68" y="169"/>
                  </a:lnTo>
                  <a:lnTo>
                    <a:pt x="69" y="168"/>
                  </a:lnTo>
                  <a:lnTo>
                    <a:pt x="71" y="167"/>
                  </a:lnTo>
                  <a:lnTo>
                    <a:pt x="73" y="167"/>
                  </a:lnTo>
                  <a:lnTo>
                    <a:pt x="74" y="168"/>
                  </a:lnTo>
                  <a:lnTo>
                    <a:pt x="75" y="169"/>
                  </a:lnTo>
                  <a:lnTo>
                    <a:pt x="166" y="259"/>
                  </a:lnTo>
                  <a:lnTo>
                    <a:pt x="95" y="175"/>
                  </a:lnTo>
                  <a:lnTo>
                    <a:pt x="94" y="173"/>
                  </a:lnTo>
                  <a:lnTo>
                    <a:pt x="93" y="172"/>
                  </a:lnTo>
                  <a:lnTo>
                    <a:pt x="94" y="170"/>
                  </a:lnTo>
                  <a:lnTo>
                    <a:pt x="95" y="169"/>
                  </a:lnTo>
                  <a:lnTo>
                    <a:pt x="97" y="168"/>
                  </a:lnTo>
                  <a:lnTo>
                    <a:pt x="98" y="167"/>
                  </a:lnTo>
                  <a:lnTo>
                    <a:pt x="100" y="168"/>
                  </a:lnTo>
                  <a:lnTo>
                    <a:pt x="102" y="169"/>
                  </a:lnTo>
                  <a:lnTo>
                    <a:pt x="226" y="314"/>
                  </a:lnTo>
                  <a:lnTo>
                    <a:pt x="161" y="170"/>
                  </a:lnTo>
                  <a:lnTo>
                    <a:pt x="160" y="168"/>
                  </a:lnTo>
                  <a:lnTo>
                    <a:pt x="161" y="166"/>
                  </a:lnTo>
                  <a:lnTo>
                    <a:pt x="162" y="165"/>
                  </a:lnTo>
                  <a:lnTo>
                    <a:pt x="163" y="164"/>
                  </a:lnTo>
                  <a:lnTo>
                    <a:pt x="165" y="163"/>
                  </a:lnTo>
                  <a:lnTo>
                    <a:pt x="167" y="164"/>
                  </a:lnTo>
                  <a:lnTo>
                    <a:pt x="168" y="164"/>
                  </a:lnTo>
                  <a:lnTo>
                    <a:pt x="169" y="166"/>
                  </a:lnTo>
                  <a:lnTo>
                    <a:pt x="232" y="304"/>
                  </a:lnTo>
                  <a:lnTo>
                    <a:pt x="219" y="211"/>
                  </a:lnTo>
                  <a:lnTo>
                    <a:pt x="220" y="209"/>
                  </a:lnTo>
                  <a:lnTo>
                    <a:pt x="220" y="207"/>
                  </a:lnTo>
                  <a:lnTo>
                    <a:pt x="222" y="206"/>
                  </a:lnTo>
                  <a:lnTo>
                    <a:pt x="223" y="206"/>
                  </a:lnTo>
                  <a:lnTo>
                    <a:pt x="225" y="206"/>
                  </a:lnTo>
                  <a:lnTo>
                    <a:pt x="227" y="206"/>
                  </a:lnTo>
                  <a:lnTo>
                    <a:pt x="228" y="208"/>
                  </a:lnTo>
                  <a:lnTo>
                    <a:pt x="229" y="210"/>
                  </a:lnTo>
                  <a:lnTo>
                    <a:pt x="238" y="275"/>
                  </a:lnTo>
                  <a:lnTo>
                    <a:pt x="238" y="207"/>
                  </a:lnTo>
                  <a:lnTo>
                    <a:pt x="238" y="205"/>
                  </a:lnTo>
                  <a:lnTo>
                    <a:pt x="240" y="204"/>
                  </a:lnTo>
                  <a:lnTo>
                    <a:pt x="241" y="203"/>
                  </a:lnTo>
                  <a:lnTo>
                    <a:pt x="243" y="202"/>
                  </a:lnTo>
                  <a:lnTo>
                    <a:pt x="245" y="203"/>
                  </a:lnTo>
                  <a:lnTo>
                    <a:pt x="246" y="204"/>
                  </a:lnTo>
                  <a:lnTo>
                    <a:pt x="247" y="205"/>
                  </a:lnTo>
                  <a:lnTo>
                    <a:pt x="248" y="207"/>
                  </a:lnTo>
                  <a:lnTo>
                    <a:pt x="247"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1952"/>
            <p:cNvSpPr>
              <a:spLocks noEditPoints="1"/>
            </p:cNvSpPr>
            <p:nvPr userDrawn="1"/>
          </p:nvSpPr>
          <p:spPr bwMode="auto">
            <a:xfrm>
              <a:off x="3709988" y="2746375"/>
              <a:ext cx="1168400" cy="687388"/>
            </a:xfrm>
            <a:custGeom>
              <a:avLst/>
              <a:gdLst>
                <a:gd name="T0" fmla="*/ 608 w 736"/>
                <a:gd name="T1" fmla="*/ 169 h 433"/>
                <a:gd name="T2" fmla="*/ 82 w 736"/>
                <a:gd name="T3" fmla="*/ 31 h 433"/>
                <a:gd name="T4" fmla="*/ 85 w 736"/>
                <a:gd name="T5" fmla="*/ 19 h 433"/>
                <a:gd name="T6" fmla="*/ 25 w 736"/>
                <a:gd name="T7" fmla="*/ 20 h 433"/>
                <a:gd name="T8" fmla="*/ 38 w 736"/>
                <a:gd name="T9" fmla="*/ 36 h 433"/>
                <a:gd name="T10" fmla="*/ 117 w 736"/>
                <a:gd name="T11" fmla="*/ 51 h 433"/>
                <a:gd name="T12" fmla="*/ 409 w 736"/>
                <a:gd name="T13" fmla="*/ 125 h 433"/>
                <a:gd name="T14" fmla="*/ 265 w 736"/>
                <a:gd name="T15" fmla="*/ 79 h 433"/>
                <a:gd name="T16" fmla="*/ 103 w 736"/>
                <a:gd name="T17" fmla="*/ 61 h 433"/>
                <a:gd name="T18" fmla="*/ 36 w 736"/>
                <a:gd name="T19" fmla="*/ 46 h 433"/>
                <a:gd name="T20" fmla="*/ 1 w 736"/>
                <a:gd name="T21" fmla="*/ 19 h 433"/>
                <a:gd name="T22" fmla="*/ 68 w 736"/>
                <a:gd name="T23" fmla="*/ 8 h 433"/>
                <a:gd name="T24" fmla="*/ 114 w 736"/>
                <a:gd name="T25" fmla="*/ 19 h 433"/>
                <a:gd name="T26" fmla="*/ 192 w 736"/>
                <a:gd name="T27" fmla="*/ 54 h 433"/>
                <a:gd name="T28" fmla="*/ 366 w 736"/>
                <a:gd name="T29" fmla="*/ 98 h 433"/>
                <a:gd name="T30" fmla="*/ 523 w 736"/>
                <a:gd name="T31" fmla="*/ 173 h 433"/>
                <a:gd name="T32" fmla="*/ 626 w 736"/>
                <a:gd name="T33" fmla="*/ 1 h 433"/>
                <a:gd name="T34" fmla="*/ 588 w 736"/>
                <a:gd name="T35" fmla="*/ 106 h 433"/>
                <a:gd name="T36" fmla="*/ 639 w 736"/>
                <a:gd name="T37" fmla="*/ 17 h 433"/>
                <a:gd name="T38" fmla="*/ 647 w 736"/>
                <a:gd name="T39" fmla="*/ 21 h 433"/>
                <a:gd name="T40" fmla="*/ 591 w 736"/>
                <a:gd name="T41" fmla="*/ 117 h 433"/>
                <a:gd name="T42" fmla="*/ 686 w 736"/>
                <a:gd name="T43" fmla="*/ 44 h 433"/>
                <a:gd name="T44" fmla="*/ 618 w 736"/>
                <a:gd name="T45" fmla="*/ 129 h 433"/>
                <a:gd name="T46" fmla="*/ 705 w 736"/>
                <a:gd name="T47" fmla="*/ 58 h 433"/>
                <a:gd name="T48" fmla="*/ 722 w 736"/>
                <a:gd name="T49" fmla="*/ 51 h 433"/>
                <a:gd name="T50" fmla="*/ 642 w 736"/>
                <a:gd name="T51" fmla="*/ 125 h 433"/>
                <a:gd name="T52" fmla="*/ 679 w 736"/>
                <a:gd name="T53" fmla="*/ 114 h 433"/>
                <a:gd name="T54" fmla="*/ 685 w 736"/>
                <a:gd name="T55" fmla="*/ 121 h 433"/>
                <a:gd name="T56" fmla="*/ 736 w 736"/>
                <a:gd name="T57" fmla="*/ 120 h 433"/>
                <a:gd name="T58" fmla="*/ 648 w 736"/>
                <a:gd name="T59" fmla="*/ 159 h 433"/>
                <a:gd name="T60" fmla="*/ 578 w 736"/>
                <a:gd name="T61" fmla="*/ 187 h 433"/>
                <a:gd name="T62" fmla="*/ 710 w 736"/>
                <a:gd name="T63" fmla="*/ 270 h 433"/>
                <a:gd name="T64" fmla="*/ 538 w 736"/>
                <a:gd name="T65" fmla="*/ 192 h 433"/>
                <a:gd name="T66" fmla="*/ 602 w 736"/>
                <a:gd name="T67" fmla="*/ 260 h 433"/>
                <a:gd name="T68" fmla="*/ 680 w 736"/>
                <a:gd name="T69" fmla="*/ 312 h 433"/>
                <a:gd name="T70" fmla="*/ 706 w 736"/>
                <a:gd name="T71" fmla="*/ 332 h 433"/>
                <a:gd name="T72" fmla="*/ 665 w 736"/>
                <a:gd name="T73" fmla="*/ 315 h 433"/>
                <a:gd name="T74" fmla="*/ 580 w 736"/>
                <a:gd name="T75" fmla="*/ 253 h 433"/>
                <a:gd name="T76" fmla="*/ 556 w 736"/>
                <a:gd name="T77" fmla="*/ 269 h 433"/>
                <a:gd name="T78" fmla="*/ 598 w 736"/>
                <a:gd name="T79" fmla="*/ 353 h 433"/>
                <a:gd name="T80" fmla="*/ 630 w 736"/>
                <a:gd name="T81" fmla="*/ 405 h 433"/>
                <a:gd name="T82" fmla="*/ 588 w 736"/>
                <a:gd name="T83" fmla="*/ 355 h 433"/>
                <a:gd name="T84" fmla="*/ 535 w 736"/>
                <a:gd name="T85" fmla="*/ 239 h 433"/>
                <a:gd name="T86" fmla="*/ 572 w 736"/>
                <a:gd name="T87" fmla="*/ 350 h 433"/>
                <a:gd name="T88" fmla="*/ 607 w 736"/>
                <a:gd name="T89" fmla="*/ 417 h 433"/>
                <a:gd name="T90" fmla="*/ 575 w 736"/>
                <a:gd name="T91" fmla="*/ 376 h 433"/>
                <a:gd name="T92" fmla="*/ 530 w 736"/>
                <a:gd name="T93" fmla="*/ 257 h 433"/>
                <a:gd name="T94" fmla="*/ 542 w 736"/>
                <a:gd name="T95" fmla="*/ 356 h 433"/>
                <a:gd name="T96" fmla="*/ 528 w 736"/>
                <a:gd name="T97" fmla="*/ 430 h 433"/>
                <a:gd name="T98" fmla="*/ 519 w 736"/>
                <a:gd name="T99" fmla="*/ 428 h 433"/>
                <a:gd name="T100" fmla="*/ 534 w 736"/>
                <a:gd name="T101" fmla="*/ 378 h 433"/>
                <a:gd name="T102" fmla="*/ 523 w 736"/>
                <a:gd name="T103" fmla="*/ 314 h 433"/>
                <a:gd name="T104" fmla="*/ 487 w 736"/>
                <a:gd name="T105" fmla="*/ 423 h 433"/>
                <a:gd name="T106" fmla="*/ 503 w 736"/>
                <a:gd name="T107" fmla="*/ 291 h 433"/>
                <a:gd name="T108" fmla="*/ 467 w 736"/>
                <a:gd name="T109" fmla="*/ 398 h 433"/>
                <a:gd name="T110" fmla="*/ 429 w 736"/>
                <a:gd name="T111" fmla="*/ 348 h 433"/>
                <a:gd name="T112" fmla="*/ 433 w 736"/>
                <a:gd name="T113" fmla="*/ 274 h 433"/>
                <a:gd name="T114" fmla="*/ 425 w 736"/>
                <a:gd name="T115" fmla="*/ 269 h 433"/>
                <a:gd name="T116" fmla="*/ 413 w 736"/>
                <a:gd name="T117" fmla="*/ 26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6" h="433">
                  <a:moveTo>
                    <a:pt x="550" y="179"/>
                  </a:moveTo>
                  <a:lnTo>
                    <a:pt x="560" y="179"/>
                  </a:lnTo>
                  <a:lnTo>
                    <a:pt x="570" y="178"/>
                  </a:lnTo>
                  <a:lnTo>
                    <a:pt x="579" y="177"/>
                  </a:lnTo>
                  <a:lnTo>
                    <a:pt x="589" y="175"/>
                  </a:lnTo>
                  <a:lnTo>
                    <a:pt x="598" y="173"/>
                  </a:lnTo>
                  <a:lnTo>
                    <a:pt x="608" y="169"/>
                  </a:lnTo>
                  <a:lnTo>
                    <a:pt x="617" y="165"/>
                  </a:lnTo>
                  <a:lnTo>
                    <a:pt x="626" y="161"/>
                  </a:lnTo>
                  <a:lnTo>
                    <a:pt x="635" y="156"/>
                  </a:lnTo>
                  <a:lnTo>
                    <a:pt x="642" y="151"/>
                  </a:lnTo>
                  <a:lnTo>
                    <a:pt x="550" y="179"/>
                  </a:lnTo>
                  <a:close/>
                  <a:moveTo>
                    <a:pt x="25" y="20"/>
                  </a:moveTo>
                  <a:lnTo>
                    <a:pt x="82" y="31"/>
                  </a:lnTo>
                  <a:lnTo>
                    <a:pt x="135" y="41"/>
                  </a:lnTo>
                  <a:lnTo>
                    <a:pt x="128" y="36"/>
                  </a:lnTo>
                  <a:lnTo>
                    <a:pt x="121" y="32"/>
                  </a:lnTo>
                  <a:lnTo>
                    <a:pt x="113" y="28"/>
                  </a:lnTo>
                  <a:lnTo>
                    <a:pt x="104" y="25"/>
                  </a:lnTo>
                  <a:lnTo>
                    <a:pt x="95" y="22"/>
                  </a:lnTo>
                  <a:lnTo>
                    <a:pt x="85" y="19"/>
                  </a:lnTo>
                  <a:lnTo>
                    <a:pt x="80" y="19"/>
                  </a:lnTo>
                  <a:lnTo>
                    <a:pt x="75" y="18"/>
                  </a:lnTo>
                  <a:lnTo>
                    <a:pt x="65" y="17"/>
                  </a:lnTo>
                  <a:lnTo>
                    <a:pt x="55" y="17"/>
                  </a:lnTo>
                  <a:lnTo>
                    <a:pt x="45" y="17"/>
                  </a:lnTo>
                  <a:lnTo>
                    <a:pt x="35" y="18"/>
                  </a:lnTo>
                  <a:lnTo>
                    <a:pt x="25" y="20"/>
                  </a:lnTo>
                  <a:close/>
                  <a:moveTo>
                    <a:pt x="131" y="50"/>
                  </a:moveTo>
                  <a:lnTo>
                    <a:pt x="105" y="45"/>
                  </a:lnTo>
                  <a:lnTo>
                    <a:pt x="80" y="40"/>
                  </a:lnTo>
                  <a:lnTo>
                    <a:pt x="54" y="35"/>
                  </a:lnTo>
                  <a:lnTo>
                    <a:pt x="26" y="30"/>
                  </a:lnTo>
                  <a:lnTo>
                    <a:pt x="31" y="33"/>
                  </a:lnTo>
                  <a:lnTo>
                    <a:pt x="38" y="36"/>
                  </a:lnTo>
                  <a:lnTo>
                    <a:pt x="50" y="41"/>
                  </a:lnTo>
                  <a:lnTo>
                    <a:pt x="63" y="45"/>
                  </a:lnTo>
                  <a:lnTo>
                    <a:pt x="76" y="48"/>
                  </a:lnTo>
                  <a:lnTo>
                    <a:pt x="90" y="51"/>
                  </a:lnTo>
                  <a:lnTo>
                    <a:pt x="104" y="51"/>
                  </a:lnTo>
                  <a:lnTo>
                    <a:pt x="111" y="52"/>
                  </a:lnTo>
                  <a:lnTo>
                    <a:pt x="117" y="51"/>
                  </a:lnTo>
                  <a:lnTo>
                    <a:pt x="131" y="50"/>
                  </a:lnTo>
                  <a:close/>
                  <a:moveTo>
                    <a:pt x="518" y="181"/>
                  </a:moveTo>
                  <a:lnTo>
                    <a:pt x="497" y="168"/>
                  </a:lnTo>
                  <a:lnTo>
                    <a:pt x="475" y="156"/>
                  </a:lnTo>
                  <a:lnTo>
                    <a:pt x="453" y="145"/>
                  </a:lnTo>
                  <a:lnTo>
                    <a:pt x="431" y="134"/>
                  </a:lnTo>
                  <a:lnTo>
                    <a:pt x="409" y="125"/>
                  </a:lnTo>
                  <a:lnTo>
                    <a:pt x="386" y="116"/>
                  </a:lnTo>
                  <a:lnTo>
                    <a:pt x="363" y="107"/>
                  </a:lnTo>
                  <a:lnTo>
                    <a:pt x="338" y="99"/>
                  </a:lnTo>
                  <a:lnTo>
                    <a:pt x="318" y="92"/>
                  </a:lnTo>
                  <a:lnTo>
                    <a:pt x="299" y="87"/>
                  </a:lnTo>
                  <a:lnTo>
                    <a:pt x="282" y="83"/>
                  </a:lnTo>
                  <a:lnTo>
                    <a:pt x="265" y="79"/>
                  </a:lnTo>
                  <a:lnTo>
                    <a:pt x="190" y="63"/>
                  </a:lnTo>
                  <a:lnTo>
                    <a:pt x="153" y="55"/>
                  </a:lnTo>
                  <a:lnTo>
                    <a:pt x="143" y="57"/>
                  </a:lnTo>
                  <a:lnTo>
                    <a:pt x="133" y="59"/>
                  </a:lnTo>
                  <a:lnTo>
                    <a:pt x="123" y="60"/>
                  </a:lnTo>
                  <a:lnTo>
                    <a:pt x="113" y="61"/>
                  </a:lnTo>
                  <a:lnTo>
                    <a:pt x="103" y="61"/>
                  </a:lnTo>
                  <a:lnTo>
                    <a:pt x="93" y="60"/>
                  </a:lnTo>
                  <a:lnTo>
                    <a:pt x="83" y="59"/>
                  </a:lnTo>
                  <a:lnTo>
                    <a:pt x="74" y="58"/>
                  </a:lnTo>
                  <a:lnTo>
                    <a:pt x="64" y="55"/>
                  </a:lnTo>
                  <a:lnTo>
                    <a:pt x="54" y="53"/>
                  </a:lnTo>
                  <a:lnTo>
                    <a:pt x="45" y="49"/>
                  </a:lnTo>
                  <a:lnTo>
                    <a:pt x="36" y="46"/>
                  </a:lnTo>
                  <a:lnTo>
                    <a:pt x="27" y="41"/>
                  </a:lnTo>
                  <a:lnTo>
                    <a:pt x="18" y="36"/>
                  </a:lnTo>
                  <a:lnTo>
                    <a:pt x="9" y="31"/>
                  </a:lnTo>
                  <a:lnTo>
                    <a:pt x="1" y="25"/>
                  </a:lnTo>
                  <a:lnTo>
                    <a:pt x="0" y="23"/>
                  </a:lnTo>
                  <a:lnTo>
                    <a:pt x="0" y="21"/>
                  </a:lnTo>
                  <a:lnTo>
                    <a:pt x="1" y="19"/>
                  </a:lnTo>
                  <a:lnTo>
                    <a:pt x="2" y="18"/>
                  </a:lnTo>
                  <a:lnTo>
                    <a:pt x="15" y="14"/>
                  </a:lnTo>
                  <a:lnTo>
                    <a:pt x="28" y="11"/>
                  </a:lnTo>
                  <a:lnTo>
                    <a:pt x="41" y="8"/>
                  </a:lnTo>
                  <a:lnTo>
                    <a:pt x="55" y="7"/>
                  </a:lnTo>
                  <a:lnTo>
                    <a:pt x="62" y="7"/>
                  </a:lnTo>
                  <a:lnTo>
                    <a:pt x="68" y="8"/>
                  </a:lnTo>
                  <a:lnTo>
                    <a:pt x="75" y="8"/>
                  </a:lnTo>
                  <a:lnTo>
                    <a:pt x="82" y="9"/>
                  </a:lnTo>
                  <a:lnTo>
                    <a:pt x="88" y="10"/>
                  </a:lnTo>
                  <a:lnTo>
                    <a:pt x="95" y="12"/>
                  </a:lnTo>
                  <a:lnTo>
                    <a:pt x="101" y="14"/>
                  </a:lnTo>
                  <a:lnTo>
                    <a:pt x="107" y="16"/>
                  </a:lnTo>
                  <a:lnTo>
                    <a:pt x="114" y="19"/>
                  </a:lnTo>
                  <a:lnTo>
                    <a:pt x="121" y="21"/>
                  </a:lnTo>
                  <a:lnTo>
                    <a:pt x="132" y="28"/>
                  </a:lnTo>
                  <a:lnTo>
                    <a:pt x="137" y="31"/>
                  </a:lnTo>
                  <a:lnTo>
                    <a:pt x="143" y="35"/>
                  </a:lnTo>
                  <a:lnTo>
                    <a:pt x="148" y="40"/>
                  </a:lnTo>
                  <a:lnTo>
                    <a:pt x="153" y="45"/>
                  </a:lnTo>
                  <a:lnTo>
                    <a:pt x="192" y="54"/>
                  </a:lnTo>
                  <a:lnTo>
                    <a:pt x="232" y="62"/>
                  </a:lnTo>
                  <a:lnTo>
                    <a:pt x="267" y="70"/>
                  </a:lnTo>
                  <a:lnTo>
                    <a:pt x="284" y="74"/>
                  </a:lnTo>
                  <a:lnTo>
                    <a:pt x="302" y="78"/>
                  </a:lnTo>
                  <a:lnTo>
                    <a:pt x="321" y="83"/>
                  </a:lnTo>
                  <a:lnTo>
                    <a:pt x="341" y="90"/>
                  </a:lnTo>
                  <a:lnTo>
                    <a:pt x="366" y="98"/>
                  </a:lnTo>
                  <a:lnTo>
                    <a:pt x="390" y="107"/>
                  </a:lnTo>
                  <a:lnTo>
                    <a:pt x="413" y="116"/>
                  </a:lnTo>
                  <a:lnTo>
                    <a:pt x="435" y="126"/>
                  </a:lnTo>
                  <a:lnTo>
                    <a:pt x="457" y="136"/>
                  </a:lnTo>
                  <a:lnTo>
                    <a:pt x="479" y="148"/>
                  </a:lnTo>
                  <a:lnTo>
                    <a:pt x="501" y="160"/>
                  </a:lnTo>
                  <a:lnTo>
                    <a:pt x="523" y="173"/>
                  </a:lnTo>
                  <a:lnTo>
                    <a:pt x="526" y="171"/>
                  </a:lnTo>
                  <a:lnTo>
                    <a:pt x="619" y="2"/>
                  </a:lnTo>
                  <a:lnTo>
                    <a:pt x="620" y="1"/>
                  </a:lnTo>
                  <a:lnTo>
                    <a:pt x="622" y="0"/>
                  </a:lnTo>
                  <a:lnTo>
                    <a:pt x="623" y="0"/>
                  </a:lnTo>
                  <a:lnTo>
                    <a:pt x="625" y="0"/>
                  </a:lnTo>
                  <a:lnTo>
                    <a:pt x="626" y="1"/>
                  </a:lnTo>
                  <a:lnTo>
                    <a:pt x="627" y="3"/>
                  </a:lnTo>
                  <a:lnTo>
                    <a:pt x="628" y="5"/>
                  </a:lnTo>
                  <a:lnTo>
                    <a:pt x="627" y="7"/>
                  </a:lnTo>
                  <a:lnTo>
                    <a:pt x="547" y="151"/>
                  </a:lnTo>
                  <a:lnTo>
                    <a:pt x="562" y="137"/>
                  </a:lnTo>
                  <a:lnTo>
                    <a:pt x="575" y="121"/>
                  </a:lnTo>
                  <a:lnTo>
                    <a:pt x="588" y="106"/>
                  </a:lnTo>
                  <a:lnTo>
                    <a:pt x="599" y="89"/>
                  </a:lnTo>
                  <a:lnTo>
                    <a:pt x="610" y="72"/>
                  </a:lnTo>
                  <a:lnTo>
                    <a:pt x="621" y="55"/>
                  </a:lnTo>
                  <a:lnTo>
                    <a:pt x="630" y="37"/>
                  </a:lnTo>
                  <a:lnTo>
                    <a:pt x="634" y="28"/>
                  </a:lnTo>
                  <a:lnTo>
                    <a:pt x="638" y="19"/>
                  </a:lnTo>
                  <a:lnTo>
                    <a:pt x="639" y="17"/>
                  </a:lnTo>
                  <a:lnTo>
                    <a:pt x="641" y="16"/>
                  </a:lnTo>
                  <a:lnTo>
                    <a:pt x="643" y="16"/>
                  </a:lnTo>
                  <a:lnTo>
                    <a:pt x="644" y="16"/>
                  </a:lnTo>
                  <a:lnTo>
                    <a:pt x="646" y="17"/>
                  </a:lnTo>
                  <a:lnTo>
                    <a:pt x="647" y="18"/>
                  </a:lnTo>
                  <a:lnTo>
                    <a:pt x="647" y="20"/>
                  </a:lnTo>
                  <a:lnTo>
                    <a:pt x="647" y="21"/>
                  </a:lnTo>
                  <a:lnTo>
                    <a:pt x="647" y="22"/>
                  </a:lnTo>
                  <a:lnTo>
                    <a:pt x="641" y="35"/>
                  </a:lnTo>
                  <a:lnTo>
                    <a:pt x="635" y="47"/>
                  </a:lnTo>
                  <a:lnTo>
                    <a:pt x="629" y="59"/>
                  </a:lnTo>
                  <a:lnTo>
                    <a:pt x="622" y="71"/>
                  </a:lnTo>
                  <a:lnTo>
                    <a:pt x="607" y="95"/>
                  </a:lnTo>
                  <a:lnTo>
                    <a:pt x="591" y="117"/>
                  </a:lnTo>
                  <a:lnTo>
                    <a:pt x="678" y="40"/>
                  </a:lnTo>
                  <a:lnTo>
                    <a:pt x="680" y="39"/>
                  </a:lnTo>
                  <a:lnTo>
                    <a:pt x="682" y="39"/>
                  </a:lnTo>
                  <a:lnTo>
                    <a:pt x="684" y="39"/>
                  </a:lnTo>
                  <a:lnTo>
                    <a:pt x="685" y="40"/>
                  </a:lnTo>
                  <a:lnTo>
                    <a:pt x="686" y="42"/>
                  </a:lnTo>
                  <a:lnTo>
                    <a:pt x="686" y="44"/>
                  </a:lnTo>
                  <a:lnTo>
                    <a:pt x="686" y="46"/>
                  </a:lnTo>
                  <a:lnTo>
                    <a:pt x="685" y="47"/>
                  </a:lnTo>
                  <a:lnTo>
                    <a:pt x="552" y="164"/>
                  </a:lnTo>
                  <a:lnTo>
                    <a:pt x="563" y="159"/>
                  </a:lnTo>
                  <a:lnTo>
                    <a:pt x="575" y="153"/>
                  </a:lnTo>
                  <a:lnTo>
                    <a:pt x="597" y="142"/>
                  </a:lnTo>
                  <a:lnTo>
                    <a:pt x="618" y="129"/>
                  </a:lnTo>
                  <a:lnTo>
                    <a:pt x="629" y="123"/>
                  </a:lnTo>
                  <a:lnTo>
                    <a:pt x="639" y="116"/>
                  </a:lnTo>
                  <a:lnTo>
                    <a:pt x="659" y="101"/>
                  </a:lnTo>
                  <a:lnTo>
                    <a:pt x="678" y="85"/>
                  </a:lnTo>
                  <a:lnTo>
                    <a:pt x="687" y="76"/>
                  </a:lnTo>
                  <a:lnTo>
                    <a:pt x="696" y="68"/>
                  </a:lnTo>
                  <a:lnTo>
                    <a:pt x="705" y="58"/>
                  </a:lnTo>
                  <a:lnTo>
                    <a:pt x="714" y="49"/>
                  </a:lnTo>
                  <a:lnTo>
                    <a:pt x="716" y="47"/>
                  </a:lnTo>
                  <a:lnTo>
                    <a:pt x="717" y="47"/>
                  </a:lnTo>
                  <a:lnTo>
                    <a:pt x="719" y="47"/>
                  </a:lnTo>
                  <a:lnTo>
                    <a:pt x="721" y="48"/>
                  </a:lnTo>
                  <a:lnTo>
                    <a:pt x="722" y="50"/>
                  </a:lnTo>
                  <a:lnTo>
                    <a:pt x="722" y="51"/>
                  </a:lnTo>
                  <a:lnTo>
                    <a:pt x="722" y="53"/>
                  </a:lnTo>
                  <a:lnTo>
                    <a:pt x="721" y="55"/>
                  </a:lnTo>
                  <a:lnTo>
                    <a:pt x="706" y="71"/>
                  </a:lnTo>
                  <a:lnTo>
                    <a:pt x="691" y="86"/>
                  </a:lnTo>
                  <a:lnTo>
                    <a:pt x="675" y="100"/>
                  </a:lnTo>
                  <a:lnTo>
                    <a:pt x="659" y="113"/>
                  </a:lnTo>
                  <a:lnTo>
                    <a:pt x="642" y="125"/>
                  </a:lnTo>
                  <a:lnTo>
                    <a:pt x="624" y="137"/>
                  </a:lnTo>
                  <a:lnTo>
                    <a:pt x="606" y="147"/>
                  </a:lnTo>
                  <a:lnTo>
                    <a:pt x="588" y="157"/>
                  </a:lnTo>
                  <a:lnTo>
                    <a:pt x="661" y="136"/>
                  </a:lnTo>
                  <a:lnTo>
                    <a:pt x="669" y="127"/>
                  </a:lnTo>
                  <a:lnTo>
                    <a:pt x="677" y="116"/>
                  </a:lnTo>
                  <a:lnTo>
                    <a:pt x="679" y="114"/>
                  </a:lnTo>
                  <a:lnTo>
                    <a:pt x="680" y="114"/>
                  </a:lnTo>
                  <a:lnTo>
                    <a:pt x="682" y="114"/>
                  </a:lnTo>
                  <a:lnTo>
                    <a:pt x="684" y="115"/>
                  </a:lnTo>
                  <a:lnTo>
                    <a:pt x="685" y="116"/>
                  </a:lnTo>
                  <a:lnTo>
                    <a:pt x="686" y="118"/>
                  </a:lnTo>
                  <a:lnTo>
                    <a:pt x="686" y="120"/>
                  </a:lnTo>
                  <a:lnTo>
                    <a:pt x="685" y="121"/>
                  </a:lnTo>
                  <a:lnTo>
                    <a:pt x="678" y="130"/>
                  </a:lnTo>
                  <a:lnTo>
                    <a:pt x="730" y="115"/>
                  </a:lnTo>
                  <a:lnTo>
                    <a:pt x="732" y="115"/>
                  </a:lnTo>
                  <a:lnTo>
                    <a:pt x="734" y="115"/>
                  </a:lnTo>
                  <a:lnTo>
                    <a:pt x="735" y="117"/>
                  </a:lnTo>
                  <a:lnTo>
                    <a:pt x="736" y="118"/>
                  </a:lnTo>
                  <a:lnTo>
                    <a:pt x="736" y="120"/>
                  </a:lnTo>
                  <a:lnTo>
                    <a:pt x="736" y="122"/>
                  </a:lnTo>
                  <a:lnTo>
                    <a:pt x="735" y="123"/>
                  </a:lnTo>
                  <a:lnTo>
                    <a:pt x="733" y="124"/>
                  </a:lnTo>
                  <a:lnTo>
                    <a:pt x="665" y="144"/>
                  </a:lnTo>
                  <a:lnTo>
                    <a:pt x="657" y="152"/>
                  </a:lnTo>
                  <a:lnTo>
                    <a:pt x="652" y="155"/>
                  </a:lnTo>
                  <a:lnTo>
                    <a:pt x="648" y="159"/>
                  </a:lnTo>
                  <a:lnTo>
                    <a:pt x="639" y="165"/>
                  </a:lnTo>
                  <a:lnTo>
                    <a:pt x="629" y="170"/>
                  </a:lnTo>
                  <a:lnTo>
                    <a:pt x="619" y="175"/>
                  </a:lnTo>
                  <a:lnTo>
                    <a:pt x="609" y="179"/>
                  </a:lnTo>
                  <a:lnTo>
                    <a:pt x="598" y="183"/>
                  </a:lnTo>
                  <a:lnTo>
                    <a:pt x="587" y="185"/>
                  </a:lnTo>
                  <a:lnTo>
                    <a:pt x="578" y="187"/>
                  </a:lnTo>
                  <a:lnTo>
                    <a:pt x="569" y="188"/>
                  </a:lnTo>
                  <a:lnTo>
                    <a:pt x="561" y="189"/>
                  </a:lnTo>
                  <a:lnTo>
                    <a:pt x="553" y="189"/>
                  </a:lnTo>
                  <a:lnTo>
                    <a:pt x="708" y="267"/>
                  </a:lnTo>
                  <a:lnTo>
                    <a:pt x="709" y="268"/>
                  </a:lnTo>
                  <a:lnTo>
                    <a:pt x="710" y="269"/>
                  </a:lnTo>
                  <a:lnTo>
                    <a:pt x="710" y="270"/>
                  </a:lnTo>
                  <a:lnTo>
                    <a:pt x="710" y="272"/>
                  </a:lnTo>
                  <a:lnTo>
                    <a:pt x="710" y="273"/>
                  </a:lnTo>
                  <a:lnTo>
                    <a:pt x="709" y="275"/>
                  </a:lnTo>
                  <a:lnTo>
                    <a:pt x="707" y="276"/>
                  </a:lnTo>
                  <a:lnTo>
                    <a:pt x="705" y="276"/>
                  </a:lnTo>
                  <a:lnTo>
                    <a:pt x="703" y="275"/>
                  </a:lnTo>
                  <a:lnTo>
                    <a:pt x="538" y="192"/>
                  </a:lnTo>
                  <a:lnTo>
                    <a:pt x="547" y="202"/>
                  </a:lnTo>
                  <a:lnTo>
                    <a:pt x="555" y="213"/>
                  </a:lnTo>
                  <a:lnTo>
                    <a:pt x="564" y="223"/>
                  </a:lnTo>
                  <a:lnTo>
                    <a:pt x="573" y="233"/>
                  </a:lnTo>
                  <a:lnTo>
                    <a:pt x="583" y="242"/>
                  </a:lnTo>
                  <a:lnTo>
                    <a:pt x="592" y="251"/>
                  </a:lnTo>
                  <a:lnTo>
                    <a:pt x="602" y="260"/>
                  </a:lnTo>
                  <a:lnTo>
                    <a:pt x="612" y="269"/>
                  </a:lnTo>
                  <a:lnTo>
                    <a:pt x="623" y="277"/>
                  </a:lnTo>
                  <a:lnTo>
                    <a:pt x="634" y="285"/>
                  </a:lnTo>
                  <a:lnTo>
                    <a:pt x="645" y="292"/>
                  </a:lnTo>
                  <a:lnTo>
                    <a:pt x="656" y="299"/>
                  </a:lnTo>
                  <a:lnTo>
                    <a:pt x="668" y="306"/>
                  </a:lnTo>
                  <a:lnTo>
                    <a:pt x="680" y="312"/>
                  </a:lnTo>
                  <a:lnTo>
                    <a:pt x="692" y="318"/>
                  </a:lnTo>
                  <a:lnTo>
                    <a:pt x="705" y="324"/>
                  </a:lnTo>
                  <a:lnTo>
                    <a:pt x="706" y="325"/>
                  </a:lnTo>
                  <a:lnTo>
                    <a:pt x="707" y="327"/>
                  </a:lnTo>
                  <a:lnTo>
                    <a:pt x="708" y="328"/>
                  </a:lnTo>
                  <a:lnTo>
                    <a:pt x="707" y="330"/>
                  </a:lnTo>
                  <a:lnTo>
                    <a:pt x="706" y="332"/>
                  </a:lnTo>
                  <a:lnTo>
                    <a:pt x="705" y="333"/>
                  </a:lnTo>
                  <a:lnTo>
                    <a:pt x="703" y="333"/>
                  </a:lnTo>
                  <a:lnTo>
                    <a:pt x="702" y="333"/>
                  </a:lnTo>
                  <a:lnTo>
                    <a:pt x="701" y="333"/>
                  </a:lnTo>
                  <a:lnTo>
                    <a:pt x="689" y="327"/>
                  </a:lnTo>
                  <a:lnTo>
                    <a:pt x="676" y="321"/>
                  </a:lnTo>
                  <a:lnTo>
                    <a:pt x="665" y="315"/>
                  </a:lnTo>
                  <a:lnTo>
                    <a:pt x="653" y="308"/>
                  </a:lnTo>
                  <a:lnTo>
                    <a:pt x="642" y="302"/>
                  </a:lnTo>
                  <a:lnTo>
                    <a:pt x="631" y="294"/>
                  </a:lnTo>
                  <a:lnTo>
                    <a:pt x="609" y="279"/>
                  </a:lnTo>
                  <a:lnTo>
                    <a:pt x="599" y="270"/>
                  </a:lnTo>
                  <a:lnTo>
                    <a:pt x="589" y="262"/>
                  </a:lnTo>
                  <a:lnTo>
                    <a:pt x="580" y="253"/>
                  </a:lnTo>
                  <a:lnTo>
                    <a:pt x="570" y="243"/>
                  </a:lnTo>
                  <a:lnTo>
                    <a:pt x="561" y="234"/>
                  </a:lnTo>
                  <a:lnTo>
                    <a:pt x="552" y="224"/>
                  </a:lnTo>
                  <a:lnTo>
                    <a:pt x="535" y="203"/>
                  </a:lnTo>
                  <a:lnTo>
                    <a:pt x="543" y="230"/>
                  </a:lnTo>
                  <a:lnTo>
                    <a:pt x="551" y="256"/>
                  </a:lnTo>
                  <a:lnTo>
                    <a:pt x="556" y="269"/>
                  </a:lnTo>
                  <a:lnTo>
                    <a:pt x="561" y="281"/>
                  </a:lnTo>
                  <a:lnTo>
                    <a:pt x="566" y="293"/>
                  </a:lnTo>
                  <a:lnTo>
                    <a:pt x="572" y="306"/>
                  </a:lnTo>
                  <a:lnTo>
                    <a:pt x="578" y="318"/>
                  </a:lnTo>
                  <a:lnTo>
                    <a:pt x="584" y="330"/>
                  </a:lnTo>
                  <a:lnTo>
                    <a:pt x="591" y="341"/>
                  </a:lnTo>
                  <a:lnTo>
                    <a:pt x="598" y="353"/>
                  </a:lnTo>
                  <a:lnTo>
                    <a:pt x="606" y="364"/>
                  </a:lnTo>
                  <a:lnTo>
                    <a:pt x="614" y="376"/>
                  </a:lnTo>
                  <a:lnTo>
                    <a:pt x="631" y="398"/>
                  </a:lnTo>
                  <a:lnTo>
                    <a:pt x="632" y="400"/>
                  </a:lnTo>
                  <a:lnTo>
                    <a:pt x="632" y="402"/>
                  </a:lnTo>
                  <a:lnTo>
                    <a:pt x="632" y="403"/>
                  </a:lnTo>
                  <a:lnTo>
                    <a:pt x="630" y="405"/>
                  </a:lnTo>
                  <a:lnTo>
                    <a:pt x="629" y="405"/>
                  </a:lnTo>
                  <a:lnTo>
                    <a:pt x="627" y="406"/>
                  </a:lnTo>
                  <a:lnTo>
                    <a:pt x="625" y="405"/>
                  </a:lnTo>
                  <a:lnTo>
                    <a:pt x="624" y="404"/>
                  </a:lnTo>
                  <a:lnTo>
                    <a:pt x="609" y="385"/>
                  </a:lnTo>
                  <a:lnTo>
                    <a:pt x="595" y="365"/>
                  </a:lnTo>
                  <a:lnTo>
                    <a:pt x="588" y="355"/>
                  </a:lnTo>
                  <a:lnTo>
                    <a:pt x="582" y="345"/>
                  </a:lnTo>
                  <a:lnTo>
                    <a:pt x="571" y="325"/>
                  </a:lnTo>
                  <a:lnTo>
                    <a:pt x="561" y="304"/>
                  </a:lnTo>
                  <a:lnTo>
                    <a:pt x="551" y="283"/>
                  </a:lnTo>
                  <a:lnTo>
                    <a:pt x="543" y="261"/>
                  </a:lnTo>
                  <a:lnTo>
                    <a:pt x="539" y="250"/>
                  </a:lnTo>
                  <a:lnTo>
                    <a:pt x="535" y="239"/>
                  </a:lnTo>
                  <a:lnTo>
                    <a:pt x="541" y="262"/>
                  </a:lnTo>
                  <a:lnTo>
                    <a:pt x="543" y="273"/>
                  </a:lnTo>
                  <a:lnTo>
                    <a:pt x="547" y="284"/>
                  </a:lnTo>
                  <a:lnTo>
                    <a:pt x="554" y="307"/>
                  </a:lnTo>
                  <a:lnTo>
                    <a:pt x="558" y="317"/>
                  </a:lnTo>
                  <a:lnTo>
                    <a:pt x="562" y="328"/>
                  </a:lnTo>
                  <a:lnTo>
                    <a:pt x="572" y="350"/>
                  </a:lnTo>
                  <a:lnTo>
                    <a:pt x="583" y="370"/>
                  </a:lnTo>
                  <a:lnTo>
                    <a:pt x="595" y="391"/>
                  </a:lnTo>
                  <a:lnTo>
                    <a:pt x="608" y="410"/>
                  </a:lnTo>
                  <a:lnTo>
                    <a:pt x="609" y="412"/>
                  </a:lnTo>
                  <a:lnTo>
                    <a:pt x="609" y="414"/>
                  </a:lnTo>
                  <a:lnTo>
                    <a:pt x="608" y="416"/>
                  </a:lnTo>
                  <a:lnTo>
                    <a:pt x="607" y="417"/>
                  </a:lnTo>
                  <a:lnTo>
                    <a:pt x="605" y="418"/>
                  </a:lnTo>
                  <a:lnTo>
                    <a:pt x="603" y="418"/>
                  </a:lnTo>
                  <a:lnTo>
                    <a:pt x="602" y="417"/>
                  </a:lnTo>
                  <a:lnTo>
                    <a:pt x="600" y="416"/>
                  </a:lnTo>
                  <a:lnTo>
                    <a:pt x="587" y="396"/>
                  </a:lnTo>
                  <a:lnTo>
                    <a:pt x="581" y="386"/>
                  </a:lnTo>
                  <a:lnTo>
                    <a:pt x="575" y="376"/>
                  </a:lnTo>
                  <a:lnTo>
                    <a:pt x="564" y="355"/>
                  </a:lnTo>
                  <a:lnTo>
                    <a:pt x="555" y="334"/>
                  </a:lnTo>
                  <a:lnTo>
                    <a:pt x="546" y="313"/>
                  </a:lnTo>
                  <a:lnTo>
                    <a:pt x="539" y="291"/>
                  </a:lnTo>
                  <a:lnTo>
                    <a:pt x="535" y="279"/>
                  </a:lnTo>
                  <a:lnTo>
                    <a:pt x="532" y="268"/>
                  </a:lnTo>
                  <a:lnTo>
                    <a:pt x="530" y="257"/>
                  </a:lnTo>
                  <a:lnTo>
                    <a:pt x="527" y="245"/>
                  </a:lnTo>
                  <a:lnTo>
                    <a:pt x="528" y="270"/>
                  </a:lnTo>
                  <a:lnTo>
                    <a:pt x="530" y="295"/>
                  </a:lnTo>
                  <a:lnTo>
                    <a:pt x="534" y="320"/>
                  </a:lnTo>
                  <a:lnTo>
                    <a:pt x="536" y="333"/>
                  </a:lnTo>
                  <a:lnTo>
                    <a:pt x="539" y="345"/>
                  </a:lnTo>
                  <a:lnTo>
                    <a:pt x="542" y="356"/>
                  </a:lnTo>
                  <a:lnTo>
                    <a:pt x="543" y="367"/>
                  </a:lnTo>
                  <a:lnTo>
                    <a:pt x="543" y="378"/>
                  </a:lnTo>
                  <a:lnTo>
                    <a:pt x="542" y="389"/>
                  </a:lnTo>
                  <a:lnTo>
                    <a:pt x="540" y="399"/>
                  </a:lnTo>
                  <a:lnTo>
                    <a:pt x="537" y="410"/>
                  </a:lnTo>
                  <a:lnTo>
                    <a:pt x="533" y="420"/>
                  </a:lnTo>
                  <a:lnTo>
                    <a:pt x="528" y="430"/>
                  </a:lnTo>
                  <a:lnTo>
                    <a:pt x="527" y="432"/>
                  </a:lnTo>
                  <a:lnTo>
                    <a:pt x="525" y="433"/>
                  </a:lnTo>
                  <a:lnTo>
                    <a:pt x="524" y="433"/>
                  </a:lnTo>
                  <a:lnTo>
                    <a:pt x="522" y="432"/>
                  </a:lnTo>
                  <a:lnTo>
                    <a:pt x="521" y="431"/>
                  </a:lnTo>
                  <a:lnTo>
                    <a:pt x="520" y="430"/>
                  </a:lnTo>
                  <a:lnTo>
                    <a:pt x="519" y="428"/>
                  </a:lnTo>
                  <a:lnTo>
                    <a:pt x="520" y="426"/>
                  </a:lnTo>
                  <a:lnTo>
                    <a:pt x="524" y="416"/>
                  </a:lnTo>
                  <a:lnTo>
                    <a:pt x="528" y="407"/>
                  </a:lnTo>
                  <a:lnTo>
                    <a:pt x="531" y="397"/>
                  </a:lnTo>
                  <a:lnTo>
                    <a:pt x="532" y="392"/>
                  </a:lnTo>
                  <a:lnTo>
                    <a:pt x="533" y="388"/>
                  </a:lnTo>
                  <a:lnTo>
                    <a:pt x="534" y="378"/>
                  </a:lnTo>
                  <a:lnTo>
                    <a:pt x="533" y="368"/>
                  </a:lnTo>
                  <a:lnTo>
                    <a:pt x="533" y="363"/>
                  </a:lnTo>
                  <a:lnTo>
                    <a:pt x="532" y="358"/>
                  </a:lnTo>
                  <a:lnTo>
                    <a:pt x="530" y="348"/>
                  </a:lnTo>
                  <a:lnTo>
                    <a:pt x="527" y="336"/>
                  </a:lnTo>
                  <a:lnTo>
                    <a:pt x="525" y="325"/>
                  </a:lnTo>
                  <a:lnTo>
                    <a:pt x="523" y="314"/>
                  </a:lnTo>
                  <a:lnTo>
                    <a:pt x="521" y="303"/>
                  </a:lnTo>
                  <a:lnTo>
                    <a:pt x="519" y="281"/>
                  </a:lnTo>
                  <a:lnTo>
                    <a:pt x="518" y="259"/>
                  </a:lnTo>
                  <a:lnTo>
                    <a:pt x="491" y="419"/>
                  </a:lnTo>
                  <a:lnTo>
                    <a:pt x="490" y="421"/>
                  </a:lnTo>
                  <a:lnTo>
                    <a:pt x="489" y="422"/>
                  </a:lnTo>
                  <a:lnTo>
                    <a:pt x="487" y="423"/>
                  </a:lnTo>
                  <a:lnTo>
                    <a:pt x="486" y="423"/>
                  </a:lnTo>
                  <a:lnTo>
                    <a:pt x="484" y="422"/>
                  </a:lnTo>
                  <a:lnTo>
                    <a:pt x="483" y="421"/>
                  </a:lnTo>
                  <a:lnTo>
                    <a:pt x="482" y="420"/>
                  </a:lnTo>
                  <a:lnTo>
                    <a:pt x="482" y="419"/>
                  </a:lnTo>
                  <a:lnTo>
                    <a:pt x="482" y="417"/>
                  </a:lnTo>
                  <a:lnTo>
                    <a:pt x="503" y="291"/>
                  </a:lnTo>
                  <a:lnTo>
                    <a:pt x="476" y="397"/>
                  </a:lnTo>
                  <a:lnTo>
                    <a:pt x="475" y="399"/>
                  </a:lnTo>
                  <a:lnTo>
                    <a:pt x="473" y="400"/>
                  </a:lnTo>
                  <a:lnTo>
                    <a:pt x="472" y="401"/>
                  </a:lnTo>
                  <a:lnTo>
                    <a:pt x="470" y="400"/>
                  </a:lnTo>
                  <a:lnTo>
                    <a:pt x="468" y="400"/>
                  </a:lnTo>
                  <a:lnTo>
                    <a:pt x="467" y="398"/>
                  </a:lnTo>
                  <a:lnTo>
                    <a:pt x="466" y="397"/>
                  </a:lnTo>
                  <a:lnTo>
                    <a:pt x="466" y="395"/>
                  </a:lnTo>
                  <a:lnTo>
                    <a:pt x="514" y="210"/>
                  </a:lnTo>
                  <a:lnTo>
                    <a:pt x="433" y="346"/>
                  </a:lnTo>
                  <a:lnTo>
                    <a:pt x="432" y="347"/>
                  </a:lnTo>
                  <a:lnTo>
                    <a:pt x="430" y="348"/>
                  </a:lnTo>
                  <a:lnTo>
                    <a:pt x="429" y="348"/>
                  </a:lnTo>
                  <a:lnTo>
                    <a:pt x="427" y="348"/>
                  </a:lnTo>
                  <a:lnTo>
                    <a:pt x="426" y="346"/>
                  </a:lnTo>
                  <a:lnTo>
                    <a:pt x="425" y="345"/>
                  </a:lnTo>
                  <a:lnTo>
                    <a:pt x="425" y="343"/>
                  </a:lnTo>
                  <a:lnTo>
                    <a:pt x="425" y="341"/>
                  </a:lnTo>
                  <a:lnTo>
                    <a:pt x="502" y="211"/>
                  </a:lnTo>
                  <a:lnTo>
                    <a:pt x="433" y="274"/>
                  </a:lnTo>
                  <a:lnTo>
                    <a:pt x="431" y="276"/>
                  </a:lnTo>
                  <a:lnTo>
                    <a:pt x="430" y="276"/>
                  </a:lnTo>
                  <a:lnTo>
                    <a:pt x="428" y="275"/>
                  </a:lnTo>
                  <a:lnTo>
                    <a:pt x="426" y="274"/>
                  </a:lnTo>
                  <a:lnTo>
                    <a:pt x="426" y="273"/>
                  </a:lnTo>
                  <a:lnTo>
                    <a:pt x="425" y="271"/>
                  </a:lnTo>
                  <a:lnTo>
                    <a:pt x="425" y="269"/>
                  </a:lnTo>
                  <a:lnTo>
                    <a:pt x="427" y="267"/>
                  </a:lnTo>
                  <a:lnTo>
                    <a:pt x="476" y="222"/>
                  </a:lnTo>
                  <a:lnTo>
                    <a:pt x="419" y="261"/>
                  </a:lnTo>
                  <a:lnTo>
                    <a:pt x="418" y="262"/>
                  </a:lnTo>
                  <a:lnTo>
                    <a:pt x="416" y="262"/>
                  </a:lnTo>
                  <a:lnTo>
                    <a:pt x="414" y="261"/>
                  </a:lnTo>
                  <a:lnTo>
                    <a:pt x="413" y="260"/>
                  </a:lnTo>
                  <a:lnTo>
                    <a:pt x="412" y="258"/>
                  </a:lnTo>
                  <a:lnTo>
                    <a:pt x="412" y="257"/>
                  </a:lnTo>
                  <a:lnTo>
                    <a:pt x="413" y="255"/>
                  </a:lnTo>
                  <a:lnTo>
                    <a:pt x="414" y="253"/>
                  </a:lnTo>
                  <a:lnTo>
                    <a:pt x="518"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Freeform 1953"/>
            <p:cNvSpPr>
              <a:spLocks noEditPoints="1"/>
            </p:cNvSpPr>
            <p:nvPr userDrawn="1"/>
          </p:nvSpPr>
          <p:spPr bwMode="auto">
            <a:xfrm>
              <a:off x="4569547" y="4419178"/>
              <a:ext cx="1146175" cy="752475"/>
            </a:xfrm>
            <a:custGeom>
              <a:avLst/>
              <a:gdLst>
                <a:gd name="T0" fmla="*/ 133 w 722"/>
                <a:gd name="T1" fmla="*/ 255 h 474"/>
                <a:gd name="T2" fmla="*/ 642 w 722"/>
                <a:gd name="T3" fmla="*/ 448 h 474"/>
                <a:gd name="T4" fmla="*/ 637 w 722"/>
                <a:gd name="T5" fmla="*/ 458 h 474"/>
                <a:gd name="T6" fmla="*/ 595 w 722"/>
                <a:gd name="T7" fmla="*/ 423 h 474"/>
                <a:gd name="T8" fmla="*/ 655 w 722"/>
                <a:gd name="T9" fmla="*/ 432 h 474"/>
                <a:gd name="T10" fmla="*/ 243 w 722"/>
                <a:gd name="T11" fmla="*/ 267 h 474"/>
                <a:gd name="T12" fmla="*/ 394 w 722"/>
                <a:gd name="T13" fmla="*/ 353 h 474"/>
                <a:gd name="T14" fmla="*/ 573 w 722"/>
                <a:gd name="T15" fmla="*/ 416 h 474"/>
                <a:gd name="T16" fmla="*/ 643 w 722"/>
                <a:gd name="T17" fmla="*/ 419 h 474"/>
                <a:gd name="T18" fmla="*/ 706 w 722"/>
                <a:gd name="T19" fmla="*/ 448 h 474"/>
                <a:gd name="T20" fmla="*/ 706 w 722"/>
                <a:gd name="T21" fmla="*/ 471 h 474"/>
                <a:gd name="T22" fmla="*/ 627 w 722"/>
                <a:gd name="T23" fmla="*/ 465 h 474"/>
                <a:gd name="T24" fmla="*/ 577 w 722"/>
                <a:gd name="T25" fmla="*/ 431 h 474"/>
                <a:gd name="T26" fmla="*/ 409 w 722"/>
                <a:gd name="T27" fmla="*/ 370 h 474"/>
                <a:gd name="T28" fmla="*/ 258 w 722"/>
                <a:gd name="T29" fmla="*/ 290 h 474"/>
                <a:gd name="T30" fmla="*/ 100 w 722"/>
                <a:gd name="T31" fmla="*/ 422 h 474"/>
                <a:gd name="T32" fmla="*/ 175 w 722"/>
                <a:gd name="T33" fmla="*/ 292 h 474"/>
                <a:gd name="T34" fmla="*/ 87 w 722"/>
                <a:gd name="T35" fmla="*/ 401 h 474"/>
                <a:gd name="T36" fmla="*/ 78 w 722"/>
                <a:gd name="T37" fmla="*/ 399 h 474"/>
                <a:gd name="T38" fmla="*/ 126 w 722"/>
                <a:gd name="T39" fmla="*/ 329 h 474"/>
                <a:gd name="T40" fmla="*/ 42 w 722"/>
                <a:gd name="T41" fmla="*/ 375 h 474"/>
                <a:gd name="T42" fmla="*/ 141 w 722"/>
                <a:gd name="T43" fmla="*/ 283 h 474"/>
                <a:gd name="T44" fmla="*/ 64 w 722"/>
                <a:gd name="T45" fmla="*/ 324 h 474"/>
                <a:gd name="T46" fmla="*/ 11 w 722"/>
                <a:gd name="T47" fmla="*/ 365 h 474"/>
                <a:gd name="T48" fmla="*/ 24 w 722"/>
                <a:gd name="T49" fmla="*/ 342 h 474"/>
                <a:gd name="T50" fmla="*/ 151 w 722"/>
                <a:gd name="T51" fmla="*/ 269 h 474"/>
                <a:gd name="T52" fmla="*/ 51 w 722"/>
                <a:gd name="T53" fmla="*/ 301 h 474"/>
                <a:gd name="T54" fmla="*/ 3 w 722"/>
                <a:gd name="T55" fmla="*/ 296 h 474"/>
                <a:gd name="T56" fmla="*/ 4 w 722"/>
                <a:gd name="T57" fmla="*/ 287 h 474"/>
                <a:gd name="T58" fmla="*/ 133 w 722"/>
                <a:gd name="T59" fmla="*/ 245 h 474"/>
                <a:gd name="T60" fmla="*/ 43 w 722"/>
                <a:gd name="T61" fmla="*/ 146 h 474"/>
                <a:gd name="T62" fmla="*/ 46 w 722"/>
                <a:gd name="T63" fmla="*/ 137 h 474"/>
                <a:gd name="T64" fmla="*/ 166 w 722"/>
                <a:gd name="T65" fmla="*/ 185 h 474"/>
                <a:gd name="T66" fmla="*/ 98 w 722"/>
                <a:gd name="T67" fmla="*/ 119 h 474"/>
                <a:gd name="T68" fmla="*/ 49 w 722"/>
                <a:gd name="T69" fmla="*/ 85 h 474"/>
                <a:gd name="T70" fmla="*/ 92 w 722"/>
                <a:gd name="T71" fmla="*/ 103 h 474"/>
                <a:gd name="T72" fmla="*/ 161 w 722"/>
                <a:gd name="T73" fmla="*/ 165 h 474"/>
                <a:gd name="T74" fmla="*/ 198 w 722"/>
                <a:gd name="T75" fmla="*/ 175 h 474"/>
                <a:gd name="T76" fmla="*/ 162 w 722"/>
                <a:gd name="T77" fmla="*/ 72 h 474"/>
                <a:gd name="T78" fmla="*/ 134 w 722"/>
                <a:gd name="T79" fmla="*/ 19 h 474"/>
                <a:gd name="T80" fmla="*/ 166 w 722"/>
                <a:gd name="T81" fmla="*/ 60 h 474"/>
                <a:gd name="T82" fmla="*/ 207 w 722"/>
                <a:gd name="T83" fmla="*/ 170 h 474"/>
                <a:gd name="T84" fmla="*/ 195 w 722"/>
                <a:gd name="T85" fmla="*/ 100 h 474"/>
                <a:gd name="T86" fmla="*/ 157 w 722"/>
                <a:gd name="T87" fmla="*/ 12 h 474"/>
                <a:gd name="T88" fmla="*/ 166 w 722"/>
                <a:gd name="T89" fmla="*/ 9 h 474"/>
                <a:gd name="T90" fmla="*/ 209 w 722"/>
                <a:gd name="T91" fmla="*/ 117 h 474"/>
                <a:gd name="T92" fmla="*/ 223 w 722"/>
                <a:gd name="T93" fmla="*/ 149 h 474"/>
                <a:gd name="T94" fmla="*/ 219 w 722"/>
                <a:gd name="T95" fmla="*/ 53 h 474"/>
                <a:gd name="T96" fmla="*/ 242 w 722"/>
                <a:gd name="T97" fmla="*/ 0 h 474"/>
                <a:gd name="T98" fmla="*/ 242 w 722"/>
                <a:gd name="T99" fmla="*/ 17 h 474"/>
                <a:gd name="T100" fmla="*/ 228 w 722"/>
                <a:gd name="T101" fmla="*/ 74 h 474"/>
                <a:gd name="T102" fmla="*/ 232 w 722"/>
                <a:gd name="T103" fmla="*/ 164 h 474"/>
                <a:gd name="T104" fmla="*/ 283 w 722"/>
                <a:gd name="T105" fmla="*/ 15 h 474"/>
                <a:gd name="T106" fmla="*/ 291 w 722"/>
                <a:gd name="T107" fmla="*/ 38 h 474"/>
                <a:gd name="T108" fmla="*/ 231 w 722"/>
                <a:gd name="T109" fmla="*/ 224 h 474"/>
                <a:gd name="T110" fmla="*/ 333 w 722"/>
                <a:gd name="T111" fmla="*/ 98 h 474"/>
                <a:gd name="T112" fmla="*/ 322 w 722"/>
                <a:gd name="T113" fmla="*/ 168 h 474"/>
                <a:gd name="T114" fmla="*/ 270 w 722"/>
                <a:gd name="T115" fmla="*/ 216 h 474"/>
                <a:gd name="T116" fmla="*/ 337 w 722"/>
                <a:gd name="T117" fmla="*/ 18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2" h="474">
                  <a:moveTo>
                    <a:pt x="191" y="251"/>
                  </a:moveTo>
                  <a:lnTo>
                    <a:pt x="181" y="250"/>
                  </a:lnTo>
                  <a:lnTo>
                    <a:pt x="172" y="250"/>
                  </a:lnTo>
                  <a:lnTo>
                    <a:pt x="162" y="250"/>
                  </a:lnTo>
                  <a:lnTo>
                    <a:pt x="152" y="251"/>
                  </a:lnTo>
                  <a:lnTo>
                    <a:pt x="143" y="252"/>
                  </a:lnTo>
                  <a:lnTo>
                    <a:pt x="133" y="255"/>
                  </a:lnTo>
                  <a:lnTo>
                    <a:pt x="123" y="258"/>
                  </a:lnTo>
                  <a:lnTo>
                    <a:pt x="114" y="261"/>
                  </a:lnTo>
                  <a:lnTo>
                    <a:pt x="105" y="265"/>
                  </a:lnTo>
                  <a:lnTo>
                    <a:pt x="97" y="269"/>
                  </a:lnTo>
                  <a:lnTo>
                    <a:pt x="191" y="251"/>
                  </a:lnTo>
                  <a:close/>
                  <a:moveTo>
                    <a:pt x="697" y="464"/>
                  </a:moveTo>
                  <a:lnTo>
                    <a:pt x="642" y="448"/>
                  </a:lnTo>
                  <a:lnTo>
                    <a:pt x="590" y="432"/>
                  </a:lnTo>
                  <a:lnTo>
                    <a:pt x="596" y="437"/>
                  </a:lnTo>
                  <a:lnTo>
                    <a:pt x="603" y="442"/>
                  </a:lnTo>
                  <a:lnTo>
                    <a:pt x="610" y="447"/>
                  </a:lnTo>
                  <a:lnTo>
                    <a:pt x="619" y="451"/>
                  </a:lnTo>
                  <a:lnTo>
                    <a:pt x="628" y="455"/>
                  </a:lnTo>
                  <a:lnTo>
                    <a:pt x="637" y="458"/>
                  </a:lnTo>
                  <a:lnTo>
                    <a:pt x="647" y="461"/>
                  </a:lnTo>
                  <a:lnTo>
                    <a:pt x="657" y="463"/>
                  </a:lnTo>
                  <a:lnTo>
                    <a:pt x="667" y="464"/>
                  </a:lnTo>
                  <a:lnTo>
                    <a:pt x="677" y="465"/>
                  </a:lnTo>
                  <a:lnTo>
                    <a:pt x="687" y="465"/>
                  </a:lnTo>
                  <a:lnTo>
                    <a:pt x="697" y="464"/>
                  </a:lnTo>
                  <a:close/>
                  <a:moveTo>
                    <a:pt x="595" y="423"/>
                  </a:moveTo>
                  <a:lnTo>
                    <a:pt x="620" y="431"/>
                  </a:lnTo>
                  <a:lnTo>
                    <a:pt x="644" y="438"/>
                  </a:lnTo>
                  <a:lnTo>
                    <a:pt x="697" y="454"/>
                  </a:lnTo>
                  <a:lnTo>
                    <a:pt x="686" y="447"/>
                  </a:lnTo>
                  <a:lnTo>
                    <a:pt x="674" y="440"/>
                  </a:lnTo>
                  <a:lnTo>
                    <a:pt x="662" y="435"/>
                  </a:lnTo>
                  <a:lnTo>
                    <a:pt x="655" y="432"/>
                  </a:lnTo>
                  <a:lnTo>
                    <a:pt x="649" y="430"/>
                  </a:lnTo>
                  <a:lnTo>
                    <a:pt x="635" y="427"/>
                  </a:lnTo>
                  <a:lnTo>
                    <a:pt x="622" y="424"/>
                  </a:lnTo>
                  <a:lnTo>
                    <a:pt x="608" y="423"/>
                  </a:lnTo>
                  <a:lnTo>
                    <a:pt x="595" y="423"/>
                  </a:lnTo>
                  <a:close/>
                  <a:moveTo>
                    <a:pt x="223" y="252"/>
                  </a:moveTo>
                  <a:lnTo>
                    <a:pt x="243" y="267"/>
                  </a:lnTo>
                  <a:lnTo>
                    <a:pt x="264" y="282"/>
                  </a:lnTo>
                  <a:lnTo>
                    <a:pt x="284" y="295"/>
                  </a:lnTo>
                  <a:lnTo>
                    <a:pt x="305" y="308"/>
                  </a:lnTo>
                  <a:lnTo>
                    <a:pt x="326" y="320"/>
                  </a:lnTo>
                  <a:lnTo>
                    <a:pt x="348" y="331"/>
                  </a:lnTo>
                  <a:lnTo>
                    <a:pt x="370" y="342"/>
                  </a:lnTo>
                  <a:lnTo>
                    <a:pt x="394" y="353"/>
                  </a:lnTo>
                  <a:lnTo>
                    <a:pt x="413" y="361"/>
                  </a:lnTo>
                  <a:lnTo>
                    <a:pt x="431" y="369"/>
                  </a:lnTo>
                  <a:lnTo>
                    <a:pt x="448" y="375"/>
                  </a:lnTo>
                  <a:lnTo>
                    <a:pt x="465" y="381"/>
                  </a:lnTo>
                  <a:lnTo>
                    <a:pt x="499" y="392"/>
                  </a:lnTo>
                  <a:lnTo>
                    <a:pt x="537" y="404"/>
                  </a:lnTo>
                  <a:lnTo>
                    <a:pt x="573" y="416"/>
                  </a:lnTo>
                  <a:lnTo>
                    <a:pt x="583" y="415"/>
                  </a:lnTo>
                  <a:lnTo>
                    <a:pt x="594" y="414"/>
                  </a:lnTo>
                  <a:lnTo>
                    <a:pt x="604" y="414"/>
                  </a:lnTo>
                  <a:lnTo>
                    <a:pt x="614" y="414"/>
                  </a:lnTo>
                  <a:lnTo>
                    <a:pt x="623" y="415"/>
                  </a:lnTo>
                  <a:lnTo>
                    <a:pt x="633" y="417"/>
                  </a:lnTo>
                  <a:lnTo>
                    <a:pt x="643" y="419"/>
                  </a:lnTo>
                  <a:lnTo>
                    <a:pt x="653" y="422"/>
                  </a:lnTo>
                  <a:lnTo>
                    <a:pt x="662" y="425"/>
                  </a:lnTo>
                  <a:lnTo>
                    <a:pt x="671" y="428"/>
                  </a:lnTo>
                  <a:lnTo>
                    <a:pt x="680" y="433"/>
                  </a:lnTo>
                  <a:lnTo>
                    <a:pt x="689" y="437"/>
                  </a:lnTo>
                  <a:lnTo>
                    <a:pt x="697" y="443"/>
                  </a:lnTo>
                  <a:lnTo>
                    <a:pt x="706" y="448"/>
                  </a:lnTo>
                  <a:lnTo>
                    <a:pt x="714" y="455"/>
                  </a:lnTo>
                  <a:lnTo>
                    <a:pt x="721" y="461"/>
                  </a:lnTo>
                  <a:lnTo>
                    <a:pt x="722" y="464"/>
                  </a:lnTo>
                  <a:lnTo>
                    <a:pt x="721" y="466"/>
                  </a:lnTo>
                  <a:lnTo>
                    <a:pt x="721" y="467"/>
                  </a:lnTo>
                  <a:lnTo>
                    <a:pt x="719" y="469"/>
                  </a:lnTo>
                  <a:lnTo>
                    <a:pt x="706" y="471"/>
                  </a:lnTo>
                  <a:lnTo>
                    <a:pt x="693" y="473"/>
                  </a:lnTo>
                  <a:lnTo>
                    <a:pt x="679" y="474"/>
                  </a:lnTo>
                  <a:lnTo>
                    <a:pt x="673" y="474"/>
                  </a:lnTo>
                  <a:lnTo>
                    <a:pt x="666" y="473"/>
                  </a:lnTo>
                  <a:lnTo>
                    <a:pt x="653" y="472"/>
                  </a:lnTo>
                  <a:lnTo>
                    <a:pt x="639" y="469"/>
                  </a:lnTo>
                  <a:lnTo>
                    <a:pt x="627" y="465"/>
                  </a:lnTo>
                  <a:lnTo>
                    <a:pt x="621" y="462"/>
                  </a:lnTo>
                  <a:lnTo>
                    <a:pt x="615" y="460"/>
                  </a:lnTo>
                  <a:lnTo>
                    <a:pt x="602" y="453"/>
                  </a:lnTo>
                  <a:lnTo>
                    <a:pt x="591" y="445"/>
                  </a:lnTo>
                  <a:lnTo>
                    <a:pt x="586" y="441"/>
                  </a:lnTo>
                  <a:lnTo>
                    <a:pt x="582" y="436"/>
                  </a:lnTo>
                  <a:lnTo>
                    <a:pt x="577" y="431"/>
                  </a:lnTo>
                  <a:lnTo>
                    <a:pt x="572" y="426"/>
                  </a:lnTo>
                  <a:lnTo>
                    <a:pt x="534" y="413"/>
                  </a:lnTo>
                  <a:lnTo>
                    <a:pt x="495" y="401"/>
                  </a:lnTo>
                  <a:lnTo>
                    <a:pt x="461" y="389"/>
                  </a:lnTo>
                  <a:lnTo>
                    <a:pt x="444" y="384"/>
                  </a:lnTo>
                  <a:lnTo>
                    <a:pt x="427" y="377"/>
                  </a:lnTo>
                  <a:lnTo>
                    <a:pt x="409" y="370"/>
                  </a:lnTo>
                  <a:lnTo>
                    <a:pt x="390" y="362"/>
                  </a:lnTo>
                  <a:lnTo>
                    <a:pt x="366" y="351"/>
                  </a:lnTo>
                  <a:lnTo>
                    <a:pt x="343" y="340"/>
                  </a:lnTo>
                  <a:lnTo>
                    <a:pt x="321" y="328"/>
                  </a:lnTo>
                  <a:lnTo>
                    <a:pt x="300" y="316"/>
                  </a:lnTo>
                  <a:lnTo>
                    <a:pt x="279" y="303"/>
                  </a:lnTo>
                  <a:lnTo>
                    <a:pt x="258" y="290"/>
                  </a:lnTo>
                  <a:lnTo>
                    <a:pt x="238" y="275"/>
                  </a:lnTo>
                  <a:lnTo>
                    <a:pt x="217" y="259"/>
                  </a:lnTo>
                  <a:lnTo>
                    <a:pt x="215" y="261"/>
                  </a:lnTo>
                  <a:lnTo>
                    <a:pt x="105" y="420"/>
                  </a:lnTo>
                  <a:lnTo>
                    <a:pt x="103" y="421"/>
                  </a:lnTo>
                  <a:lnTo>
                    <a:pt x="101" y="422"/>
                  </a:lnTo>
                  <a:lnTo>
                    <a:pt x="100" y="422"/>
                  </a:lnTo>
                  <a:lnTo>
                    <a:pt x="98" y="421"/>
                  </a:lnTo>
                  <a:lnTo>
                    <a:pt x="97" y="420"/>
                  </a:lnTo>
                  <a:lnTo>
                    <a:pt x="96" y="418"/>
                  </a:lnTo>
                  <a:lnTo>
                    <a:pt x="96" y="416"/>
                  </a:lnTo>
                  <a:lnTo>
                    <a:pt x="97" y="414"/>
                  </a:lnTo>
                  <a:lnTo>
                    <a:pt x="191" y="279"/>
                  </a:lnTo>
                  <a:lnTo>
                    <a:pt x="175" y="292"/>
                  </a:lnTo>
                  <a:lnTo>
                    <a:pt x="161" y="306"/>
                  </a:lnTo>
                  <a:lnTo>
                    <a:pt x="146" y="320"/>
                  </a:lnTo>
                  <a:lnTo>
                    <a:pt x="133" y="335"/>
                  </a:lnTo>
                  <a:lnTo>
                    <a:pt x="120" y="351"/>
                  </a:lnTo>
                  <a:lnTo>
                    <a:pt x="108" y="367"/>
                  </a:lnTo>
                  <a:lnTo>
                    <a:pt x="97" y="384"/>
                  </a:lnTo>
                  <a:lnTo>
                    <a:pt x="87" y="401"/>
                  </a:lnTo>
                  <a:lnTo>
                    <a:pt x="85" y="403"/>
                  </a:lnTo>
                  <a:lnTo>
                    <a:pt x="84" y="404"/>
                  </a:lnTo>
                  <a:lnTo>
                    <a:pt x="82" y="404"/>
                  </a:lnTo>
                  <a:lnTo>
                    <a:pt x="80" y="403"/>
                  </a:lnTo>
                  <a:lnTo>
                    <a:pt x="79" y="402"/>
                  </a:lnTo>
                  <a:lnTo>
                    <a:pt x="78" y="401"/>
                  </a:lnTo>
                  <a:lnTo>
                    <a:pt x="78" y="399"/>
                  </a:lnTo>
                  <a:lnTo>
                    <a:pt x="79" y="397"/>
                  </a:lnTo>
                  <a:lnTo>
                    <a:pt x="85" y="385"/>
                  </a:lnTo>
                  <a:lnTo>
                    <a:pt x="93" y="373"/>
                  </a:lnTo>
                  <a:lnTo>
                    <a:pt x="100" y="362"/>
                  </a:lnTo>
                  <a:lnTo>
                    <a:pt x="108" y="350"/>
                  </a:lnTo>
                  <a:lnTo>
                    <a:pt x="117" y="340"/>
                  </a:lnTo>
                  <a:lnTo>
                    <a:pt x="126" y="329"/>
                  </a:lnTo>
                  <a:lnTo>
                    <a:pt x="135" y="319"/>
                  </a:lnTo>
                  <a:lnTo>
                    <a:pt x="144" y="309"/>
                  </a:lnTo>
                  <a:lnTo>
                    <a:pt x="48" y="376"/>
                  </a:lnTo>
                  <a:lnTo>
                    <a:pt x="46" y="377"/>
                  </a:lnTo>
                  <a:lnTo>
                    <a:pt x="45" y="377"/>
                  </a:lnTo>
                  <a:lnTo>
                    <a:pt x="43" y="376"/>
                  </a:lnTo>
                  <a:lnTo>
                    <a:pt x="42" y="375"/>
                  </a:lnTo>
                  <a:lnTo>
                    <a:pt x="41" y="373"/>
                  </a:lnTo>
                  <a:lnTo>
                    <a:pt x="41" y="371"/>
                  </a:lnTo>
                  <a:lnTo>
                    <a:pt x="41" y="370"/>
                  </a:lnTo>
                  <a:lnTo>
                    <a:pt x="43" y="368"/>
                  </a:lnTo>
                  <a:lnTo>
                    <a:pt x="188" y="266"/>
                  </a:lnTo>
                  <a:lnTo>
                    <a:pt x="164" y="274"/>
                  </a:lnTo>
                  <a:lnTo>
                    <a:pt x="141" y="283"/>
                  </a:lnTo>
                  <a:lnTo>
                    <a:pt x="130" y="288"/>
                  </a:lnTo>
                  <a:lnTo>
                    <a:pt x="118" y="293"/>
                  </a:lnTo>
                  <a:lnTo>
                    <a:pt x="107" y="299"/>
                  </a:lnTo>
                  <a:lnTo>
                    <a:pt x="96" y="305"/>
                  </a:lnTo>
                  <a:lnTo>
                    <a:pt x="86" y="311"/>
                  </a:lnTo>
                  <a:lnTo>
                    <a:pt x="75" y="317"/>
                  </a:lnTo>
                  <a:lnTo>
                    <a:pt x="64" y="324"/>
                  </a:lnTo>
                  <a:lnTo>
                    <a:pt x="54" y="331"/>
                  </a:lnTo>
                  <a:lnTo>
                    <a:pt x="44" y="339"/>
                  </a:lnTo>
                  <a:lnTo>
                    <a:pt x="34" y="347"/>
                  </a:lnTo>
                  <a:lnTo>
                    <a:pt x="24" y="355"/>
                  </a:lnTo>
                  <a:lnTo>
                    <a:pt x="15" y="363"/>
                  </a:lnTo>
                  <a:lnTo>
                    <a:pt x="13" y="365"/>
                  </a:lnTo>
                  <a:lnTo>
                    <a:pt x="11" y="365"/>
                  </a:lnTo>
                  <a:lnTo>
                    <a:pt x="9" y="364"/>
                  </a:lnTo>
                  <a:lnTo>
                    <a:pt x="8" y="363"/>
                  </a:lnTo>
                  <a:lnTo>
                    <a:pt x="7" y="362"/>
                  </a:lnTo>
                  <a:lnTo>
                    <a:pt x="7" y="360"/>
                  </a:lnTo>
                  <a:lnTo>
                    <a:pt x="7" y="358"/>
                  </a:lnTo>
                  <a:lnTo>
                    <a:pt x="8" y="357"/>
                  </a:lnTo>
                  <a:lnTo>
                    <a:pt x="24" y="342"/>
                  </a:lnTo>
                  <a:lnTo>
                    <a:pt x="41" y="329"/>
                  </a:lnTo>
                  <a:lnTo>
                    <a:pt x="58" y="317"/>
                  </a:lnTo>
                  <a:lnTo>
                    <a:pt x="76" y="305"/>
                  </a:lnTo>
                  <a:lnTo>
                    <a:pt x="95" y="295"/>
                  </a:lnTo>
                  <a:lnTo>
                    <a:pt x="113" y="285"/>
                  </a:lnTo>
                  <a:lnTo>
                    <a:pt x="132" y="276"/>
                  </a:lnTo>
                  <a:lnTo>
                    <a:pt x="151" y="269"/>
                  </a:lnTo>
                  <a:lnTo>
                    <a:pt x="76" y="283"/>
                  </a:lnTo>
                  <a:lnTo>
                    <a:pt x="67" y="291"/>
                  </a:lnTo>
                  <a:lnTo>
                    <a:pt x="57" y="300"/>
                  </a:lnTo>
                  <a:lnTo>
                    <a:pt x="56" y="302"/>
                  </a:lnTo>
                  <a:lnTo>
                    <a:pt x="54" y="302"/>
                  </a:lnTo>
                  <a:lnTo>
                    <a:pt x="52" y="302"/>
                  </a:lnTo>
                  <a:lnTo>
                    <a:pt x="51" y="301"/>
                  </a:lnTo>
                  <a:lnTo>
                    <a:pt x="50" y="299"/>
                  </a:lnTo>
                  <a:lnTo>
                    <a:pt x="49" y="298"/>
                  </a:lnTo>
                  <a:lnTo>
                    <a:pt x="49" y="296"/>
                  </a:lnTo>
                  <a:lnTo>
                    <a:pt x="50" y="294"/>
                  </a:lnTo>
                  <a:lnTo>
                    <a:pt x="58" y="286"/>
                  </a:lnTo>
                  <a:lnTo>
                    <a:pt x="5" y="296"/>
                  </a:lnTo>
                  <a:lnTo>
                    <a:pt x="3" y="296"/>
                  </a:lnTo>
                  <a:lnTo>
                    <a:pt x="2" y="295"/>
                  </a:lnTo>
                  <a:lnTo>
                    <a:pt x="1" y="294"/>
                  </a:lnTo>
                  <a:lnTo>
                    <a:pt x="0" y="292"/>
                  </a:lnTo>
                  <a:lnTo>
                    <a:pt x="0" y="290"/>
                  </a:lnTo>
                  <a:lnTo>
                    <a:pt x="0" y="289"/>
                  </a:lnTo>
                  <a:lnTo>
                    <a:pt x="2" y="287"/>
                  </a:lnTo>
                  <a:lnTo>
                    <a:pt x="4" y="287"/>
                  </a:lnTo>
                  <a:lnTo>
                    <a:pt x="73" y="274"/>
                  </a:lnTo>
                  <a:lnTo>
                    <a:pt x="82" y="267"/>
                  </a:lnTo>
                  <a:lnTo>
                    <a:pt x="92" y="261"/>
                  </a:lnTo>
                  <a:lnTo>
                    <a:pt x="102" y="256"/>
                  </a:lnTo>
                  <a:lnTo>
                    <a:pt x="112" y="251"/>
                  </a:lnTo>
                  <a:lnTo>
                    <a:pt x="122" y="248"/>
                  </a:lnTo>
                  <a:lnTo>
                    <a:pt x="133" y="245"/>
                  </a:lnTo>
                  <a:lnTo>
                    <a:pt x="144" y="242"/>
                  </a:lnTo>
                  <a:lnTo>
                    <a:pt x="155" y="241"/>
                  </a:lnTo>
                  <a:lnTo>
                    <a:pt x="165" y="240"/>
                  </a:lnTo>
                  <a:lnTo>
                    <a:pt x="173" y="240"/>
                  </a:lnTo>
                  <a:lnTo>
                    <a:pt x="181" y="240"/>
                  </a:lnTo>
                  <a:lnTo>
                    <a:pt x="189" y="241"/>
                  </a:lnTo>
                  <a:lnTo>
                    <a:pt x="43" y="146"/>
                  </a:lnTo>
                  <a:lnTo>
                    <a:pt x="41" y="145"/>
                  </a:lnTo>
                  <a:lnTo>
                    <a:pt x="40" y="143"/>
                  </a:lnTo>
                  <a:lnTo>
                    <a:pt x="41" y="141"/>
                  </a:lnTo>
                  <a:lnTo>
                    <a:pt x="41" y="140"/>
                  </a:lnTo>
                  <a:lnTo>
                    <a:pt x="42" y="138"/>
                  </a:lnTo>
                  <a:lnTo>
                    <a:pt x="44" y="137"/>
                  </a:lnTo>
                  <a:lnTo>
                    <a:pt x="46" y="137"/>
                  </a:lnTo>
                  <a:lnTo>
                    <a:pt x="48" y="138"/>
                  </a:lnTo>
                  <a:lnTo>
                    <a:pt x="204" y="240"/>
                  </a:lnTo>
                  <a:lnTo>
                    <a:pt x="197" y="228"/>
                  </a:lnTo>
                  <a:lnTo>
                    <a:pt x="190" y="217"/>
                  </a:lnTo>
                  <a:lnTo>
                    <a:pt x="182" y="206"/>
                  </a:lnTo>
                  <a:lnTo>
                    <a:pt x="174" y="195"/>
                  </a:lnTo>
                  <a:lnTo>
                    <a:pt x="166" y="185"/>
                  </a:lnTo>
                  <a:lnTo>
                    <a:pt x="157" y="175"/>
                  </a:lnTo>
                  <a:lnTo>
                    <a:pt x="148" y="165"/>
                  </a:lnTo>
                  <a:lnTo>
                    <a:pt x="139" y="154"/>
                  </a:lnTo>
                  <a:lnTo>
                    <a:pt x="129" y="145"/>
                  </a:lnTo>
                  <a:lnTo>
                    <a:pt x="119" y="136"/>
                  </a:lnTo>
                  <a:lnTo>
                    <a:pt x="109" y="128"/>
                  </a:lnTo>
                  <a:lnTo>
                    <a:pt x="98" y="119"/>
                  </a:lnTo>
                  <a:lnTo>
                    <a:pt x="87" y="111"/>
                  </a:lnTo>
                  <a:lnTo>
                    <a:pt x="76" y="104"/>
                  </a:lnTo>
                  <a:lnTo>
                    <a:pt x="64" y="97"/>
                  </a:lnTo>
                  <a:lnTo>
                    <a:pt x="52" y="90"/>
                  </a:lnTo>
                  <a:lnTo>
                    <a:pt x="50" y="88"/>
                  </a:lnTo>
                  <a:lnTo>
                    <a:pt x="49" y="87"/>
                  </a:lnTo>
                  <a:lnTo>
                    <a:pt x="49" y="85"/>
                  </a:lnTo>
                  <a:lnTo>
                    <a:pt x="50" y="83"/>
                  </a:lnTo>
                  <a:lnTo>
                    <a:pt x="51" y="82"/>
                  </a:lnTo>
                  <a:lnTo>
                    <a:pt x="52" y="81"/>
                  </a:lnTo>
                  <a:lnTo>
                    <a:pt x="54" y="81"/>
                  </a:lnTo>
                  <a:lnTo>
                    <a:pt x="56" y="81"/>
                  </a:lnTo>
                  <a:lnTo>
                    <a:pt x="80" y="95"/>
                  </a:lnTo>
                  <a:lnTo>
                    <a:pt x="92" y="103"/>
                  </a:lnTo>
                  <a:lnTo>
                    <a:pt x="102" y="111"/>
                  </a:lnTo>
                  <a:lnTo>
                    <a:pt x="113" y="119"/>
                  </a:lnTo>
                  <a:lnTo>
                    <a:pt x="123" y="127"/>
                  </a:lnTo>
                  <a:lnTo>
                    <a:pt x="133" y="136"/>
                  </a:lnTo>
                  <a:lnTo>
                    <a:pt x="143" y="145"/>
                  </a:lnTo>
                  <a:lnTo>
                    <a:pt x="152" y="154"/>
                  </a:lnTo>
                  <a:lnTo>
                    <a:pt x="161" y="165"/>
                  </a:lnTo>
                  <a:lnTo>
                    <a:pt x="178" y="185"/>
                  </a:lnTo>
                  <a:lnTo>
                    <a:pt x="194" y="206"/>
                  </a:lnTo>
                  <a:lnTo>
                    <a:pt x="208" y="228"/>
                  </a:lnTo>
                  <a:lnTo>
                    <a:pt x="206" y="215"/>
                  </a:lnTo>
                  <a:lnTo>
                    <a:pt x="204" y="201"/>
                  </a:lnTo>
                  <a:lnTo>
                    <a:pt x="201" y="188"/>
                  </a:lnTo>
                  <a:lnTo>
                    <a:pt x="198" y="175"/>
                  </a:lnTo>
                  <a:lnTo>
                    <a:pt x="195" y="160"/>
                  </a:lnTo>
                  <a:lnTo>
                    <a:pt x="191" y="147"/>
                  </a:lnTo>
                  <a:lnTo>
                    <a:pt x="187" y="135"/>
                  </a:lnTo>
                  <a:lnTo>
                    <a:pt x="183" y="122"/>
                  </a:lnTo>
                  <a:lnTo>
                    <a:pt x="173" y="97"/>
                  </a:lnTo>
                  <a:lnTo>
                    <a:pt x="168" y="84"/>
                  </a:lnTo>
                  <a:lnTo>
                    <a:pt x="162" y="72"/>
                  </a:lnTo>
                  <a:lnTo>
                    <a:pt x="155" y="60"/>
                  </a:lnTo>
                  <a:lnTo>
                    <a:pt x="149" y="48"/>
                  </a:lnTo>
                  <a:lnTo>
                    <a:pt x="141" y="36"/>
                  </a:lnTo>
                  <a:lnTo>
                    <a:pt x="134" y="24"/>
                  </a:lnTo>
                  <a:lnTo>
                    <a:pt x="133" y="22"/>
                  </a:lnTo>
                  <a:lnTo>
                    <a:pt x="133" y="20"/>
                  </a:lnTo>
                  <a:lnTo>
                    <a:pt x="134" y="19"/>
                  </a:lnTo>
                  <a:lnTo>
                    <a:pt x="135" y="17"/>
                  </a:lnTo>
                  <a:lnTo>
                    <a:pt x="137" y="17"/>
                  </a:lnTo>
                  <a:lnTo>
                    <a:pt x="138" y="16"/>
                  </a:lnTo>
                  <a:lnTo>
                    <a:pt x="140" y="17"/>
                  </a:lnTo>
                  <a:lnTo>
                    <a:pt x="142" y="19"/>
                  </a:lnTo>
                  <a:lnTo>
                    <a:pt x="155" y="39"/>
                  </a:lnTo>
                  <a:lnTo>
                    <a:pt x="166" y="60"/>
                  </a:lnTo>
                  <a:lnTo>
                    <a:pt x="172" y="70"/>
                  </a:lnTo>
                  <a:lnTo>
                    <a:pt x="177" y="81"/>
                  </a:lnTo>
                  <a:lnTo>
                    <a:pt x="186" y="103"/>
                  </a:lnTo>
                  <a:lnTo>
                    <a:pt x="190" y="113"/>
                  </a:lnTo>
                  <a:lnTo>
                    <a:pt x="194" y="124"/>
                  </a:lnTo>
                  <a:lnTo>
                    <a:pt x="201" y="147"/>
                  </a:lnTo>
                  <a:lnTo>
                    <a:pt x="207" y="170"/>
                  </a:lnTo>
                  <a:lnTo>
                    <a:pt x="212" y="193"/>
                  </a:lnTo>
                  <a:lnTo>
                    <a:pt x="209" y="170"/>
                  </a:lnTo>
                  <a:lnTo>
                    <a:pt x="208" y="157"/>
                  </a:lnTo>
                  <a:lnTo>
                    <a:pt x="206" y="146"/>
                  </a:lnTo>
                  <a:lnTo>
                    <a:pt x="203" y="134"/>
                  </a:lnTo>
                  <a:lnTo>
                    <a:pt x="201" y="123"/>
                  </a:lnTo>
                  <a:lnTo>
                    <a:pt x="195" y="100"/>
                  </a:lnTo>
                  <a:lnTo>
                    <a:pt x="187" y="78"/>
                  </a:lnTo>
                  <a:lnTo>
                    <a:pt x="179" y="56"/>
                  </a:lnTo>
                  <a:lnTo>
                    <a:pt x="174" y="45"/>
                  </a:lnTo>
                  <a:lnTo>
                    <a:pt x="169" y="35"/>
                  </a:lnTo>
                  <a:lnTo>
                    <a:pt x="164" y="24"/>
                  </a:lnTo>
                  <a:lnTo>
                    <a:pt x="158" y="14"/>
                  </a:lnTo>
                  <a:lnTo>
                    <a:pt x="157" y="12"/>
                  </a:lnTo>
                  <a:lnTo>
                    <a:pt x="158" y="10"/>
                  </a:lnTo>
                  <a:lnTo>
                    <a:pt x="159" y="9"/>
                  </a:lnTo>
                  <a:lnTo>
                    <a:pt x="160" y="8"/>
                  </a:lnTo>
                  <a:lnTo>
                    <a:pt x="162" y="7"/>
                  </a:lnTo>
                  <a:lnTo>
                    <a:pt x="163" y="7"/>
                  </a:lnTo>
                  <a:lnTo>
                    <a:pt x="165" y="8"/>
                  </a:lnTo>
                  <a:lnTo>
                    <a:pt x="166" y="9"/>
                  </a:lnTo>
                  <a:lnTo>
                    <a:pt x="177" y="30"/>
                  </a:lnTo>
                  <a:lnTo>
                    <a:pt x="182" y="41"/>
                  </a:lnTo>
                  <a:lnTo>
                    <a:pt x="187" y="51"/>
                  </a:lnTo>
                  <a:lnTo>
                    <a:pt x="191" y="62"/>
                  </a:lnTo>
                  <a:lnTo>
                    <a:pt x="196" y="73"/>
                  </a:lnTo>
                  <a:lnTo>
                    <a:pt x="203" y="95"/>
                  </a:lnTo>
                  <a:lnTo>
                    <a:pt x="209" y="117"/>
                  </a:lnTo>
                  <a:lnTo>
                    <a:pt x="212" y="129"/>
                  </a:lnTo>
                  <a:lnTo>
                    <a:pt x="214" y="140"/>
                  </a:lnTo>
                  <a:lnTo>
                    <a:pt x="218" y="164"/>
                  </a:lnTo>
                  <a:lnTo>
                    <a:pt x="220" y="176"/>
                  </a:lnTo>
                  <a:lnTo>
                    <a:pt x="221" y="187"/>
                  </a:lnTo>
                  <a:lnTo>
                    <a:pt x="223" y="161"/>
                  </a:lnTo>
                  <a:lnTo>
                    <a:pt x="223" y="149"/>
                  </a:lnTo>
                  <a:lnTo>
                    <a:pt x="223" y="136"/>
                  </a:lnTo>
                  <a:lnTo>
                    <a:pt x="223" y="124"/>
                  </a:lnTo>
                  <a:lnTo>
                    <a:pt x="222" y="111"/>
                  </a:lnTo>
                  <a:lnTo>
                    <a:pt x="219" y="86"/>
                  </a:lnTo>
                  <a:lnTo>
                    <a:pt x="218" y="75"/>
                  </a:lnTo>
                  <a:lnTo>
                    <a:pt x="218" y="63"/>
                  </a:lnTo>
                  <a:lnTo>
                    <a:pt x="219" y="53"/>
                  </a:lnTo>
                  <a:lnTo>
                    <a:pt x="221" y="42"/>
                  </a:lnTo>
                  <a:lnTo>
                    <a:pt x="224" y="32"/>
                  </a:lnTo>
                  <a:lnTo>
                    <a:pt x="228" y="22"/>
                  </a:lnTo>
                  <a:lnTo>
                    <a:pt x="233" y="12"/>
                  </a:lnTo>
                  <a:lnTo>
                    <a:pt x="239" y="2"/>
                  </a:lnTo>
                  <a:lnTo>
                    <a:pt x="241" y="1"/>
                  </a:lnTo>
                  <a:lnTo>
                    <a:pt x="242" y="0"/>
                  </a:lnTo>
                  <a:lnTo>
                    <a:pt x="244" y="0"/>
                  </a:lnTo>
                  <a:lnTo>
                    <a:pt x="246" y="1"/>
                  </a:lnTo>
                  <a:lnTo>
                    <a:pt x="247" y="2"/>
                  </a:lnTo>
                  <a:lnTo>
                    <a:pt x="248" y="4"/>
                  </a:lnTo>
                  <a:lnTo>
                    <a:pt x="248" y="6"/>
                  </a:lnTo>
                  <a:lnTo>
                    <a:pt x="247" y="7"/>
                  </a:lnTo>
                  <a:lnTo>
                    <a:pt x="242" y="17"/>
                  </a:lnTo>
                  <a:lnTo>
                    <a:pt x="239" y="21"/>
                  </a:lnTo>
                  <a:lnTo>
                    <a:pt x="237" y="26"/>
                  </a:lnTo>
                  <a:lnTo>
                    <a:pt x="233" y="35"/>
                  </a:lnTo>
                  <a:lnTo>
                    <a:pt x="230" y="44"/>
                  </a:lnTo>
                  <a:lnTo>
                    <a:pt x="229" y="54"/>
                  </a:lnTo>
                  <a:lnTo>
                    <a:pt x="228" y="64"/>
                  </a:lnTo>
                  <a:lnTo>
                    <a:pt x="228" y="74"/>
                  </a:lnTo>
                  <a:lnTo>
                    <a:pt x="229" y="84"/>
                  </a:lnTo>
                  <a:lnTo>
                    <a:pt x="230" y="96"/>
                  </a:lnTo>
                  <a:lnTo>
                    <a:pt x="232" y="107"/>
                  </a:lnTo>
                  <a:lnTo>
                    <a:pt x="232" y="118"/>
                  </a:lnTo>
                  <a:lnTo>
                    <a:pt x="233" y="130"/>
                  </a:lnTo>
                  <a:lnTo>
                    <a:pt x="233" y="152"/>
                  </a:lnTo>
                  <a:lnTo>
                    <a:pt x="232" y="164"/>
                  </a:lnTo>
                  <a:lnTo>
                    <a:pt x="232" y="175"/>
                  </a:lnTo>
                  <a:lnTo>
                    <a:pt x="275" y="18"/>
                  </a:lnTo>
                  <a:lnTo>
                    <a:pt x="276" y="16"/>
                  </a:lnTo>
                  <a:lnTo>
                    <a:pt x="277" y="15"/>
                  </a:lnTo>
                  <a:lnTo>
                    <a:pt x="279" y="14"/>
                  </a:lnTo>
                  <a:lnTo>
                    <a:pt x="281" y="14"/>
                  </a:lnTo>
                  <a:lnTo>
                    <a:pt x="283" y="15"/>
                  </a:lnTo>
                  <a:lnTo>
                    <a:pt x="284" y="16"/>
                  </a:lnTo>
                  <a:lnTo>
                    <a:pt x="284" y="18"/>
                  </a:lnTo>
                  <a:lnTo>
                    <a:pt x="284" y="20"/>
                  </a:lnTo>
                  <a:lnTo>
                    <a:pt x="250" y="144"/>
                  </a:lnTo>
                  <a:lnTo>
                    <a:pt x="288" y="41"/>
                  </a:lnTo>
                  <a:lnTo>
                    <a:pt x="289" y="39"/>
                  </a:lnTo>
                  <a:lnTo>
                    <a:pt x="291" y="38"/>
                  </a:lnTo>
                  <a:lnTo>
                    <a:pt x="292" y="38"/>
                  </a:lnTo>
                  <a:lnTo>
                    <a:pt x="294" y="38"/>
                  </a:lnTo>
                  <a:lnTo>
                    <a:pt x="296" y="39"/>
                  </a:lnTo>
                  <a:lnTo>
                    <a:pt x="297" y="40"/>
                  </a:lnTo>
                  <a:lnTo>
                    <a:pt x="297" y="42"/>
                  </a:lnTo>
                  <a:lnTo>
                    <a:pt x="297" y="44"/>
                  </a:lnTo>
                  <a:lnTo>
                    <a:pt x="231" y="224"/>
                  </a:lnTo>
                  <a:lnTo>
                    <a:pt x="325" y="96"/>
                  </a:lnTo>
                  <a:lnTo>
                    <a:pt x="326" y="95"/>
                  </a:lnTo>
                  <a:lnTo>
                    <a:pt x="328" y="94"/>
                  </a:lnTo>
                  <a:lnTo>
                    <a:pt x="330" y="94"/>
                  </a:lnTo>
                  <a:lnTo>
                    <a:pt x="331" y="95"/>
                  </a:lnTo>
                  <a:lnTo>
                    <a:pt x="333" y="97"/>
                  </a:lnTo>
                  <a:lnTo>
                    <a:pt x="333" y="98"/>
                  </a:lnTo>
                  <a:lnTo>
                    <a:pt x="333" y="100"/>
                  </a:lnTo>
                  <a:lnTo>
                    <a:pt x="332" y="102"/>
                  </a:lnTo>
                  <a:lnTo>
                    <a:pt x="242" y="225"/>
                  </a:lnTo>
                  <a:lnTo>
                    <a:pt x="317" y="168"/>
                  </a:lnTo>
                  <a:lnTo>
                    <a:pt x="319" y="167"/>
                  </a:lnTo>
                  <a:lnTo>
                    <a:pt x="321" y="167"/>
                  </a:lnTo>
                  <a:lnTo>
                    <a:pt x="322" y="168"/>
                  </a:lnTo>
                  <a:lnTo>
                    <a:pt x="323" y="168"/>
                  </a:lnTo>
                  <a:lnTo>
                    <a:pt x="324" y="169"/>
                  </a:lnTo>
                  <a:lnTo>
                    <a:pt x="325" y="171"/>
                  </a:lnTo>
                  <a:lnTo>
                    <a:pt x="325" y="173"/>
                  </a:lnTo>
                  <a:lnTo>
                    <a:pt x="325" y="174"/>
                  </a:lnTo>
                  <a:lnTo>
                    <a:pt x="323" y="176"/>
                  </a:lnTo>
                  <a:lnTo>
                    <a:pt x="270" y="216"/>
                  </a:lnTo>
                  <a:lnTo>
                    <a:pt x="330" y="183"/>
                  </a:lnTo>
                  <a:lnTo>
                    <a:pt x="332" y="182"/>
                  </a:lnTo>
                  <a:lnTo>
                    <a:pt x="334" y="182"/>
                  </a:lnTo>
                  <a:lnTo>
                    <a:pt x="335" y="183"/>
                  </a:lnTo>
                  <a:lnTo>
                    <a:pt x="336" y="185"/>
                  </a:lnTo>
                  <a:lnTo>
                    <a:pt x="337" y="186"/>
                  </a:lnTo>
                  <a:lnTo>
                    <a:pt x="337" y="188"/>
                  </a:lnTo>
                  <a:lnTo>
                    <a:pt x="336" y="190"/>
                  </a:lnTo>
                  <a:lnTo>
                    <a:pt x="334" y="191"/>
                  </a:lnTo>
                  <a:lnTo>
                    <a:pt x="223"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6" name="Freeform 1954"/>
            <p:cNvSpPr>
              <a:spLocks noEditPoints="1"/>
            </p:cNvSpPr>
            <p:nvPr userDrawn="1"/>
          </p:nvSpPr>
          <p:spPr bwMode="auto">
            <a:xfrm>
              <a:off x="5194300" y="3030538"/>
              <a:ext cx="706438" cy="1198563"/>
            </a:xfrm>
            <a:custGeom>
              <a:avLst/>
              <a:gdLst>
                <a:gd name="T0" fmla="*/ 170 w 445"/>
                <a:gd name="T1" fmla="*/ 131 h 755"/>
                <a:gd name="T2" fmla="*/ 143 w 445"/>
                <a:gd name="T3" fmla="*/ 674 h 755"/>
                <a:gd name="T4" fmla="*/ 131 w 445"/>
                <a:gd name="T5" fmla="*/ 673 h 755"/>
                <a:gd name="T6" fmla="*/ 152 w 445"/>
                <a:gd name="T7" fmla="*/ 622 h 755"/>
                <a:gd name="T8" fmla="*/ 162 w 445"/>
                <a:gd name="T9" fmla="*/ 675 h 755"/>
                <a:gd name="T10" fmla="*/ 200 w 445"/>
                <a:gd name="T11" fmla="*/ 216 h 755"/>
                <a:gd name="T12" fmla="*/ 163 w 445"/>
                <a:gd name="T13" fmla="*/ 358 h 755"/>
                <a:gd name="T14" fmla="*/ 152 w 445"/>
                <a:gd name="T15" fmla="*/ 561 h 755"/>
                <a:gd name="T16" fmla="*/ 171 w 445"/>
                <a:gd name="T17" fmla="*/ 676 h 755"/>
                <a:gd name="T18" fmla="*/ 153 w 445"/>
                <a:gd name="T19" fmla="*/ 755 h 755"/>
                <a:gd name="T20" fmla="*/ 130 w 445"/>
                <a:gd name="T21" fmla="*/ 718 h 755"/>
                <a:gd name="T22" fmla="*/ 126 w 445"/>
                <a:gd name="T23" fmla="*/ 638 h 755"/>
                <a:gd name="T24" fmla="*/ 143 w 445"/>
                <a:gd name="T25" fmla="*/ 484 h 755"/>
                <a:gd name="T26" fmla="*/ 158 w 445"/>
                <a:gd name="T27" fmla="*/ 332 h 755"/>
                <a:gd name="T28" fmla="*/ 4 w 445"/>
                <a:gd name="T29" fmla="*/ 155 h 755"/>
                <a:gd name="T30" fmla="*/ 3 w 445"/>
                <a:gd name="T31" fmla="*/ 146 h 755"/>
                <a:gd name="T32" fmla="*/ 102 w 445"/>
                <a:gd name="T33" fmla="*/ 159 h 755"/>
                <a:gd name="T34" fmla="*/ 14 w 445"/>
                <a:gd name="T35" fmla="*/ 131 h 755"/>
                <a:gd name="T36" fmla="*/ 17 w 445"/>
                <a:gd name="T37" fmla="*/ 123 h 755"/>
                <a:gd name="T38" fmla="*/ 122 w 445"/>
                <a:gd name="T39" fmla="*/ 158 h 755"/>
                <a:gd name="T40" fmla="*/ 30 w 445"/>
                <a:gd name="T41" fmla="*/ 80 h 755"/>
                <a:gd name="T42" fmla="*/ 128 w 445"/>
                <a:gd name="T43" fmla="*/ 129 h 755"/>
                <a:gd name="T44" fmla="*/ 41 w 445"/>
                <a:gd name="T45" fmla="*/ 59 h 755"/>
                <a:gd name="T46" fmla="*/ 29 w 445"/>
                <a:gd name="T47" fmla="*/ 45 h 755"/>
                <a:gd name="T48" fmla="*/ 104 w 445"/>
                <a:gd name="T49" fmla="*/ 92 h 755"/>
                <a:gd name="T50" fmla="*/ 115 w 445"/>
                <a:gd name="T51" fmla="*/ 79 h 755"/>
                <a:gd name="T52" fmla="*/ 103 w 445"/>
                <a:gd name="T53" fmla="*/ 65 h 755"/>
                <a:gd name="T54" fmla="*/ 92 w 445"/>
                <a:gd name="T55" fmla="*/ 18 h 755"/>
                <a:gd name="T56" fmla="*/ 142 w 445"/>
                <a:gd name="T57" fmla="*/ 86 h 755"/>
                <a:gd name="T58" fmla="*/ 185 w 445"/>
                <a:gd name="T59" fmla="*/ 137 h 755"/>
                <a:gd name="T60" fmla="*/ 245 w 445"/>
                <a:gd name="T61" fmla="*/ 10 h 755"/>
                <a:gd name="T62" fmla="*/ 253 w 445"/>
                <a:gd name="T63" fmla="*/ 15 h 755"/>
                <a:gd name="T64" fmla="*/ 266 w 445"/>
                <a:gd name="T65" fmla="*/ 105 h 755"/>
                <a:gd name="T66" fmla="*/ 298 w 445"/>
                <a:gd name="T67" fmla="*/ 17 h 755"/>
                <a:gd name="T68" fmla="*/ 309 w 445"/>
                <a:gd name="T69" fmla="*/ 1 h 755"/>
                <a:gd name="T70" fmla="*/ 296 w 445"/>
                <a:gd name="T71" fmla="*/ 57 h 755"/>
                <a:gd name="T72" fmla="*/ 250 w 445"/>
                <a:gd name="T73" fmla="*/ 152 h 755"/>
                <a:gd name="T74" fmla="*/ 277 w 445"/>
                <a:gd name="T75" fmla="*/ 161 h 755"/>
                <a:gd name="T76" fmla="*/ 361 w 445"/>
                <a:gd name="T77" fmla="*/ 92 h 755"/>
                <a:gd name="T78" fmla="*/ 395 w 445"/>
                <a:gd name="T79" fmla="*/ 59 h 755"/>
                <a:gd name="T80" fmla="*/ 364 w 445"/>
                <a:gd name="T81" fmla="*/ 102 h 755"/>
                <a:gd name="T82" fmla="*/ 273 w 445"/>
                <a:gd name="T83" fmla="*/ 175 h 755"/>
                <a:gd name="T84" fmla="*/ 334 w 445"/>
                <a:gd name="T85" fmla="*/ 142 h 755"/>
                <a:gd name="T86" fmla="*/ 405 w 445"/>
                <a:gd name="T87" fmla="*/ 80 h 755"/>
                <a:gd name="T88" fmla="*/ 413 w 445"/>
                <a:gd name="T89" fmla="*/ 85 h 755"/>
                <a:gd name="T90" fmla="*/ 342 w 445"/>
                <a:gd name="T91" fmla="*/ 148 h 755"/>
                <a:gd name="T92" fmla="*/ 281 w 445"/>
                <a:gd name="T93" fmla="*/ 189 h 755"/>
                <a:gd name="T94" fmla="*/ 364 w 445"/>
                <a:gd name="T95" fmla="*/ 157 h 755"/>
                <a:gd name="T96" fmla="*/ 428 w 445"/>
                <a:gd name="T97" fmla="*/ 151 h 755"/>
                <a:gd name="T98" fmla="*/ 443 w 445"/>
                <a:gd name="T99" fmla="*/ 162 h 755"/>
                <a:gd name="T100" fmla="*/ 394 w 445"/>
                <a:gd name="T101" fmla="*/ 159 h 755"/>
                <a:gd name="T102" fmla="*/ 328 w 445"/>
                <a:gd name="T103" fmla="*/ 184 h 755"/>
                <a:gd name="T104" fmla="*/ 443 w 445"/>
                <a:gd name="T105" fmla="*/ 197 h 755"/>
                <a:gd name="T106" fmla="*/ 422 w 445"/>
                <a:gd name="T107" fmla="*/ 213 h 755"/>
                <a:gd name="T108" fmla="*/ 419 w 445"/>
                <a:gd name="T109" fmla="*/ 222 h 755"/>
                <a:gd name="T110" fmla="*/ 380 w 445"/>
                <a:gd name="T111" fmla="*/ 272 h 755"/>
                <a:gd name="T112" fmla="*/ 311 w 445"/>
                <a:gd name="T113" fmla="*/ 283 h 755"/>
                <a:gd name="T114" fmla="*/ 249 w 445"/>
                <a:gd name="T115" fmla="*/ 249 h 755"/>
                <a:gd name="T116" fmla="*/ 296 w 445"/>
                <a:gd name="T117" fmla="*/ 30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5" h="755">
                  <a:moveTo>
                    <a:pt x="191" y="185"/>
                  </a:moveTo>
                  <a:lnTo>
                    <a:pt x="189" y="175"/>
                  </a:lnTo>
                  <a:lnTo>
                    <a:pt x="186" y="166"/>
                  </a:lnTo>
                  <a:lnTo>
                    <a:pt x="183" y="157"/>
                  </a:lnTo>
                  <a:lnTo>
                    <a:pt x="179" y="148"/>
                  </a:lnTo>
                  <a:lnTo>
                    <a:pt x="175" y="139"/>
                  </a:lnTo>
                  <a:lnTo>
                    <a:pt x="170" y="131"/>
                  </a:lnTo>
                  <a:lnTo>
                    <a:pt x="164" y="122"/>
                  </a:lnTo>
                  <a:lnTo>
                    <a:pt x="157" y="114"/>
                  </a:lnTo>
                  <a:lnTo>
                    <a:pt x="151" y="107"/>
                  </a:lnTo>
                  <a:lnTo>
                    <a:pt x="144" y="100"/>
                  </a:lnTo>
                  <a:lnTo>
                    <a:pt x="191" y="185"/>
                  </a:lnTo>
                  <a:close/>
                  <a:moveTo>
                    <a:pt x="145" y="732"/>
                  </a:moveTo>
                  <a:lnTo>
                    <a:pt x="143" y="674"/>
                  </a:lnTo>
                  <a:lnTo>
                    <a:pt x="142" y="620"/>
                  </a:lnTo>
                  <a:lnTo>
                    <a:pt x="139" y="627"/>
                  </a:lnTo>
                  <a:lnTo>
                    <a:pt x="136" y="635"/>
                  </a:lnTo>
                  <a:lnTo>
                    <a:pt x="134" y="644"/>
                  </a:lnTo>
                  <a:lnTo>
                    <a:pt x="133" y="653"/>
                  </a:lnTo>
                  <a:lnTo>
                    <a:pt x="132" y="663"/>
                  </a:lnTo>
                  <a:lnTo>
                    <a:pt x="131" y="673"/>
                  </a:lnTo>
                  <a:lnTo>
                    <a:pt x="132" y="683"/>
                  </a:lnTo>
                  <a:lnTo>
                    <a:pt x="133" y="693"/>
                  </a:lnTo>
                  <a:lnTo>
                    <a:pt x="135" y="703"/>
                  </a:lnTo>
                  <a:lnTo>
                    <a:pt x="138" y="713"/>
                  </a:lnTo>
                  <a:lnTo>
                    <a:pt x="141" y="723"/>
                  </a:lnTo>
                  <a:lnTo>
                    <a:pt x="145" y="732"/>
                  </a:lnTo>
                  <a:close/>
                  <a:moveTo>
                    <a:pt x="152" y="622"/>
                  </a:moveTo>
                  <a:lnTo>
                    <a:pt x="152" y="648"/>
                  </a:lnTo>
                  <a:lnTo>
                    <a:pt x="153" y="674"/>
                  </a:lnTo>
                  <a:lnTo>
                    <a:pt x="154" y="729"/>
                  </a:lnTo>
                  <a:lnTo>
                    <a:pt x="158" y="716"/>
                  </a:lnTo>
                  <a:lnTo>
                    <a:pt x="160" y="703"/>
                  </a:lnTo>
                  <a:lnTo>
                    <a:pt x="161" y="689"/>
                  </a:lnTo>
                  <a:lnTo>
                    <a:pt x="162" y="675"/>
                  </a:lnTo>
                  <a:lnTo>
                    <a:pt x="161" y="661"/>
                  </a:lnTo>
                  <a:lnTo>
                    <a:pt x="160" y="655"/>
                  </a:lnTo>
                  <a:lnTo>
                    <a:pt x="159" y="648"/>
                  </a:lnTo>
                  <a:lnTo>
                    <a:pt x="158" y="641"/>
                  </a:lnTo>
                  <a:lnTo>
                    <a:pt x="156" y="635"/>
                  </a:lnTo>
                  <a:lnTo>
                    <a:pt x="152" y="622"/>
                  </a:lnTo>
                  <a:close/>
                  <a:moveTo>
                    <a:pt x="200" y="216"/>
                  </a:moveTo>
                  <a:lnTo>
                    <a:pt x="191" y="239"/>
                  </a:lnTo>
                  <a:lnTo>
                    <a:pt x="184" y="263"/>
                  </a:lnTo>
                  <a:lnTo>
                    <a:pt x="178" y="287"/>
                  </a:lnTo>
                  <a:lnTo>
                    <a:pt x="175" y="298"/>
                  </a:lnTo>
                  <a:lnTo>
                    <a:pt x="172" y="310"/>
                  </a:lnTo>
                  <a:lnTo>
                    <a:pt x="167" y="334"/>
                  </a:lnTo>
                  <a:lnTo>
                    <a:pt x="163" y="358"/>
                  </a:lnTo>
                  <a:lnTo>
                    <a:pt x="159" y="383"/>
                  </a:lnTo>
                  <a:lnTo>
                    <a:pt x="156" y="409"/>
                  </a:lnTo>
                  <a:lnTo>
                    <a:pt x="154" y="430"/>
                  </a:lnTo>
                  <a:lnTo>
                    <a:pt x="153" y="449"/>
                  </a:lnTo>
                  <a:lnTo>
                    <a:pt x="152" y="467"/>
                  </a:lnTo>
                  <a:lnTo>
                    <a:pt x="152" y="485"/>
                  </a:lnTo>
                  <a:lnTo>
                    <a:pt x="152" y="561"/>
                  </a:lnTo>
                  <a:lnTo>
                    <a:pt x="152" y="599"/>
                  </a:lnTo>
                  <a:lnTo>
                    <a:pt x="156" y="608"/>
                  </a:lnTo>
                  <a:lnTo>
                    <a:pt x="160" y="618"/>
                  </a:lnTo>
                  <a:lnTo>
                    <a:pt x="163" y="627"/>
                  </a:lnTo>
                  <a:lnTo>
                    <a:pt x="166" y="637"/>
                  </a:lnTo>
                  <a:lnTo>
                    <a:pt x="170" y="656"/>
                  </a:lnTo>
                  <a:lnTo>
                    <a:pt x="171" y="676"/>
                  </a:lnTo>
                  <a:lnTo>
                    <a:pt x="170" y="696"/>
                  </a:lnTo>
                  <a:lnTo>
                    <a:pt x="167" y="716"/>
                  </a:lnTo>
                  <a:lnTo>
                    <a:pt x="165" y="725"/>
                  </a:lnTo>
                  <a:lnTo>
                    <a:pt x="162" y="735"/>
                  </a:lnTo>
                  <a:lnTo>
                    <a:pt x="159" y="745"/>
                  </a:lnTo>
                  <a:lnTo>
                    <a:pt x="155" y="754"/>
                  </a:lnTo>
                  <a:lnTo>
                    <a:pt x="153" y="755"/>
                  </a:lnTo>
                  <a:lnTo>
                    <a:pt x="151" y="755"/>
                  </a:lnTo>
                  <a:lnTo>
                    <a:pt x="149" y="755"/>
                  </a:lnTo>
                  <a:lnTo>
                    <a:pt x="147" y="754"/>
                  </a:lnTo>
                  <a:lnTo>
                    <a:pt x="140" y="743"/>
                  </a:lnTo>
                  <a:lnTo>
                    <a:pt x="135" y="731"/>
                  </a:lnTo>
                  <a:lnTo>
                    <a:pt x="132" y="724"/>
                  </a:lnTo>
                  <a:lnTo>
                    <a:pt x="130" y="718"/>
                  </a:lnTo>
                  <a:lnTo>
                    <a:pt x="126" y="705"/>
                  </a:lnTo>
                  <a:lnTo>
                    <a:pt x="123" y="692"/>
                  </a:lnTo>
                  <a:lnTo>
                    <a:pt x="122" y="678"/>
                  </a:lnTo>
                  <a:lnTo>
                    <a:pt x="122" y="665"/>
                  </a:lnTo>
                  <a:lnTo>
                    <a:pt x="122" y="658"/>
                  </a:lnTo>
                  <a:lnTo>
                    <a:pt x="123" y="652"/>
                  </a:lnTo>
                  <a:lnTo>
                    <a:pt x="126" y="638"/>
                  </a:lnTo>
                  <a:lnTo>
                    <a:pt x="128" y="631"/>
                  </a:lnTo>
                  <a:lnTo>
                    <a:pt x="130" y="625"/>
                  </a:lnTo>
                  <a:lnTo>
                    <a:pt x="135" y="613"/>
                  </a:lnTo>
                  <a:lnTo>
                    <a:pt x="138" y="607"/>
                  </a:lnTo>
                  <a:lnTo>
                    <a:pt x="142" y="601"/>
                  </a:lnTo>
                  <a:lnTo>
                    <a:pt x="143" y="561"/>
                  </a:lnTo>
                  <a:lnTo>
                    <a:pt x="143" y="484"/>
                  </a:lnTo>
                  <a:lnTo>
                    <a:pt x="143" y="467"/>
                  </a:lnTo>
                  <a:lnTo>
                    <a:pt x="144" y="448"/>
                  </a:lnTo>
                  <a:lnTo>
                    <a:pt x="145" y="429"/>
                  </a:lnTo>
                  <a:lnTo>
                    <a:pt x="147" y="408"/>
                  </a:lnTo>
                  <a:lnTo>
                    <a:pt x="150" y="382"/>
                  </a:lnTo>
                  <a:lnTo>
                    <a:pt x="154" y="357"/>
                  </a:lnTo>
                  <a:lnTo>
                    <a:pt x="158" y="332"/>
                  </a:lnTo>
                  <a:lnTo>
                    <a:pt x="163" y="308"/>
                  </a:lnTo>
                  <a:lnTo>
                    <a:pt x="168" y="284"/>
                  </a:lnTo>
                  <a:lnTo>
                    <a:pt x="175" y="261"/>
                  </a:lnTo>
                  <a:lnTo>
                    <a:pt x="182" y="237"/>
                  </a:lnTo>
                  <a:lnTo>
                    <a:pt x="191" y="212"/>
                  </a:lnTo>
                  <a:lnTo>
                    <a:pt x="189" y="211"/>
                  </a:lnTo>
                  <a:lnTo>
                    <a:pt x="4" y="155"/>
                  </a:lnTo>
                  <a:lnTo>
                    <a:pt x="3" y="154"/>
                  </a:lnTo>
                  <a:lnTo>
                    <a:pt x="2" y="154"/>
                  </a:lnTo>
                  <a:lnTo>
                    <a:pt x="1" y="152"/>
                  </a:lnTo>
                  <a:lnTo>
                    <a:pt x="0" y="150"/>
                  </a:lnTo>
                  <a:lnTo>
                    <a:pt x="1" y="149"/>
                  </a:lnTo>
                  <a:lnTo>
                    <a:pt x="1" y="147"/>
                  </a:lnTo>
                  <a:lnTo>
                    <a:pt x="3" y="146"/>
                  </a:lnTo>
                  <a:lnTo>
                    <a:pt x="4" y="145"/>
                  </a:lnTo>
                  <a:lnTo>
                    <a:pt x="6" y="145"/>
                  </a:lnTo>
                  <a:lnTo>
                    <a:pt x="164" y="193"/>
                  </a:lnTo>
                  <a:lnTo>
                    <a:pt x="147" y="182"/>
                  </a:lnTo>
                  <a:lnTo>
                    <a:pt x="129" y="173"/>
                  </a:lnTo>
                  <a:lnTo>
                    <a:pt x="111" y="163"/>
                  </a:lnTo>
                  <a:lnTo>
                    <a:pt x="102" y="159"/>
                  </a:lnTo>
                  <a:lnTo>
                    <a:pt x="93" y="155"/>
                  </a:lnTo>
                  <a:lnTo>
                    <a:pt x="74" y="148"/>
                  </a:lnTo>
                  <a:lnTo>
                    <a:pt x="65" y="145"/>
                  </a:lnTo>
                  <a:lnTo>
                    <a:pt x="55" y="142"/>
                  </a:lnTo>
                  <a:lnTo>
                    <a:pt x="35" y="136"/>
                  </a:lnTo>
                  <a:lnTo>
                    <a:pt x="16" y="132"/>
                  </a:lnTo>
                  <a:lnTo>
                    <a:pt x="14" y="131"/>
                  </a:lnTo>
                  <a:lnTo>
                    <a:pt x="12" y="130"/>
                  </a:lnTo>
                  <a:lnTo>
                    <a:pt x="12" y="128"/>
                  </a:lnTo>
                  <a:lnTo>
                    <a:pt x="12" y="126"/>
                  </a:lnTo>
                  <a:lnTo>
                    <a:pt x="12" y="125"/>
                  </a:lnTo>
                  <a:lnTo>
                    <a:pt x="14" y="123"/>
                  </a:lnTo>
                  <a:lnTo>
                    <a:pt x="15" y="123"/>
                  </a:lnTo>
                  <a:lnTo>
                    <a:pt x="17" y="123"/>
                  </a:lnTo>
                  <a:lnTo>
                    <a:pt x="44" y="129"/>
                  </a:lnTo>
                  <a:lnTo>
                    <a:pt x="58" y="133"/>
                  </a:lnTo>
                  <a:lnTo>
                    <a:pt x="71" y="137"/>
                  </a:lnTo>
                  <a:lnTo>
                    <a:pt x="84" y="141"/>
                  </a:lnTo>
                  <a:lnTo>
                    <a:pt x="96" y="146"/>
                  </a:lnTo>
                  <a:lnTo>
                    <a:pt x="109" y="152"/>
                  </a:lnTo>
                  <a:lnTo>
                    <a:pt x="122" y="158"/>
                  </a:lnTo>
                  <a:lnTo>
                    <a:pt x="28" y="88"/>
                  </a:lnTo>
                  <a:lnTo>
                    <a:pt x="27" y="87"/>
                  </a:lnTo>
                  <a:lnTo>
                    <a:pt x="26" y="85"/>
                  </a:lnTo>
                  <a:lnTo>
                    <a:pt x="27" y="83"/>
                  </a:lnTo>
                  <a:lnTo>
                    <a:pt x="27" y="82"/>
                  </a:lnTo>
                  <a:lnTo>
                    <a:pt x="29" y="81"/>
                  </a:lnTo>
                  <a:lnTo>
                    <a:pt x="30" y="80"/>
                  </a:lnTo>
                  <a:lnTo>
                    <a:pt x="32" y="80"/>
                  </a:lnTo>
                  <a:lnTo>
                    <a:pt x="34" y="81"/>
                  </a:lnTo>
                  <a:lnTo>
                    <a:pt x="176" y="186"/>
                  </a:lnTo>
                  <a:lnTo>
                    <a:pt x="161" y="166"/>
                  </a:lnTo>
                  <a:lnTo>
                    <a:pt x="145" y="147"/>
                  </a:lnTo>
                  <a:lnTo>
                    <a:pt x="137" y="138"/>
                  </a:lnTo>
                  <a:lnTo>
                    <a:pt x="128" y="129"/>
                  </a:lnTo>
                  <a:lnTo>
                    <a:pt x="120" y="120"/>
                  </a:lnTo>
                  <a:lnTo>
                    <a:pt x="111" y="111"/>
                  </a:lnTo>
                  <a:lnTo>
                    <a:pt x="92" y="95"/>
                  </a:lnTo>
                  <a:lnTo>
                    <a:pt x="72" y="80"/>
                  </a:lnTo>
                  <a:lnTo>
                    <a:pt x="62" y="72"/>
                  </a:lnTo>
                  <a:lnTo>
                    <a:pt x="52" y="65"/>
                  </a:lnTo>
                  <a:lnTo>
                    <a:pt x="41" y="59"/>
                  </a:lnTo>
                  <a:lnTo>
                    <a:pt x="30" y="53"/>
                  </a:lnTo>
                  <a:lnTo>
                    <a:pt x="28" y="51"/>
                  </a:lnTo>
                  <a:lnTo>
                    <a:pt x="28" y="50"/>
                  </a:lnTo>
                  <a:lnTo>
                    <a:pt x="27" y="49"/>
                  </a:lnTo>
                  <a:lnTo>
                    <a:pt x="27" y="48"/>
                  </a:lnTo>
                  <a:lnTo>
                    <a:pt x="28" y="46"/>
                  </a:lnTo>
                  <a:lnTo>
                    <a:pt x="29" y="45"/>
                  </a:lnTo>
                  <a:lnTo>
                    <a:pt x="30" y="44"/>
                  </a:lnTo>
                  <a:lnTo>
                    <a:pt x="32" y="44"/>
                  </a:lnTo>
                  <a:lnTo>
                    <a:pt x="34" y="44"/>
                  </a:lnTo>
                  <a:lnTo>
                    <a:pt x="53" y="55"/>
                  </a:lnTo>
                  <a:lnTo>
                    <a:pt x="71" y="67"/>
                  </a:lnTo>
                  <a:lnTo>
                    <a:pt x="88" y="79"/>
                  </a:lnTo>
                  <a:lnTo>
                    <a:pt x="104" y="92"/>
                  </a:lnTo>
                  <a:lnTo>
                    <a:pt x="119" y="106"/>
                  </a:lnTo>
                  <a:lnTo>
                    <a:pt x="134" y="121"/>
                  </a:lnTo>
                  <a:lnTo>
                    <a:pt x="148" y="136"/>
                  </a:lnTo>
                  <a:lnTo>
                    <a:pt x="155" y="144"/>
                  </a:lnTo>
                  <a:lnTo>
                    <a:pt x="162" y="152"/>
                  </a:lnTo>
                  <a:lnTo>
                    <a:pt x="125" y="85"/>
                  </a:lnTo>
                  <a:lnTo>
                    <a:pt x="115" y="79"/>
                  </a:lnTo>
                  <a:lnTo>
                    <a:pt x="103" y="74"/>
                  </a:lnTo>
                  <a:lnTo>
                    <a:pt x="101" y="72"/>
                  </a:lnTo>
                  <a:lnTo>
                    <a:pt x="100" y="71"/>
                  </a:lnTo>
                  <a:lnTo>
                    <a:pt x="100" y="69"/>
                  </a:lnTo>
                  <a:lnTo>
                    <a:pt x="100" y="67"/>
                  </a:lnTo>
                  <a:lnTo>
                    <a:pt x="101" y="66"/>
                  </a:lnTo>
                  <a:lnTo>
                    <a:pt x="103" y="65"/>
                  </a:lnTo>
                  <a:lnTo>
                    <a:pt x="105" y="65"/>
                  </a:lnTo>
                  <a:lnTo>
                    <a:pt x="107" y="65"/>
                  </a:lnTo>
                  <a:lnTo>
                    <a:pt x="117" y="70"/>
                  </a:lnTo>
                  <a:lnTo>
                    <a:pt x="91" y="23"/>
                  </a:lnTo>
                  <a:lnTo>
                    <a:pt x="90" y="21"/>
                  </a:lnTo>
                  <a:lnTo>
                    <a:pt x="91" y="19"/>
                  </a:lnTo>
                  <a:lnTo>
                    <a:pt x="92" y="18"/>
                  </a:lnTo>
                  <a:lnTo>
                    <a:pt x="93" y="16"/>
                  </a:lnTo>
                  <a:lnTo>
                    <a:pt x="95" y="16"/>
                  </a:lnTo>
                  <a:lnTo>
                    <a:pt x="96" y="16"/>
                  </a:lnTo>
                  <a:lnTo>
                    <a:pt x="98" y="17"/>
                  </a:lnTo>
                  <a:lnTo>
                    <a:pt x="99" y="18"/>
                  </a:lnTo>
                  <a:lnTo>
                    <a:pt x="133" y="80"/>
                  </a:lnTo>
                  <a:lnTo>
                    <a:pt x="142" y="86"/>
                  </a:lnTo>
                  <a:lnTo>
                    <a:pt x="150" y="93"/>
                  </a:lnTo>
                  <a:lnTo>
                    <a:pt x="158" y="101"/>
                  </a:lnTo>
                  <a:lnTo>
                    <a:pt x="166" y="109"/>
                  </a:lnTo>
                  <a:lnTo>
                    <a:pt x="169" y="114"/>
                  </a:lnTo>
                  <a:lnTo>
                    <a:pt x="173" y="118"/>
                  </a:lnTo>
                  <a:lnTo>
                    <a:pt x="179" y="128"/>
                  </a:lnTo>
                  <a:lnTo>
                    <a:pt x="185" y="137"/>
                  </a:lnTo>
                  <a:lnTo>
                    <a:pt x="189" y="148"/>
                  </a:lnTo>
                  <a:lnTo>
                    <a:pt x="193" y="156"/>
                  </a:lnTo>
                  <a:lnTo>
                    <a:pt x="196" y="164"/>
                  </a:lnTo>
                  <a:lnTo>
                    <a:pt x="198" y="172"/>
                  </a:lnTo>
                  <a:lnTo>
                    <a:pt x="200" y="180"/>
                  </a:lnTo>
                  <a:lnTo>
                    <a:pt x="244" y="12"/>
                  </a:lnTo>
                  <a:lnTo>
                    <a:pt x="245" y="10"/>
                  </a:lnTo>
                  <a:lnTo>
                    <a:pt x="246" y="9"/>
                  </a:lnTo>
                  <a:lnTo>
                    <a:pt x="248" y="9"/>
                  </a:lnTo>
                  <a:lnTo>
                    <a:pt x="250" y="9"/>
                  </a:lnTo>
                  <a:lnTo>
                    <a:pt x="252" y="10"/>
                  </a:lnTo>
                  <a:lnTo>
                    <a:pt x="253" y="11"/>
                  </a:lnTo>
                  <a:lnTo>
                    <a:pt x="253" y="13"/>
                  </a:lnTo>
                  <a:lnTo>
                    <a:pt x="253" y="15"/>
                  </a:lnTo>
                  <a:lnTo>
                    <a:pt x="206" y="194"/>
                  </a:lnTo>
                  <a:lnTo>
                    <a:pt x="214" y="183"/>
                  </a:lnTo>
                  <a:lnTo>
                    <a:pt x="223" y="173"/>
                  </a:lnTo>
                  <a:lnTo>
                    <a:pt x="231" y="162"/>
                  </a:lnTo>
                  <a:lnTo>
                    <a:pt x="239" y="151"/>
                  </a:lnTo>
                  <a:lnTo>
                    <a:pt x="253" y="129"/>
                  </a:lnTo>
                  <a:lnTo>
                    <a:pt x="266" y="105"/>
                  </a:lnTo>
                  <a:lnTo>
                    <a:pt x="272" y="93"/>
                  </a:lnTo>
                  <a:lnTo>
                    <a:pt x="277" y="81"/>
                  </a:lnTo>
                  <a:lnTo>
                    <a:pt x="282" y="69"/>
                  </a:lnTo>
                  <a:lnTo>
                    <a:pt x="286" y="56"/>
                  </a:lnTo>
                  <a:lnTo>
                    <a:pt x="291" y="43"/>
                  </a:lnTo>
                  <a:lnTo>
                    <a:pt x="294" y="30"/>
                  </a:lnTo>
                  <a:lnTo>
                    <a:pt x="298" y="17"/>
                  </a:lnTo>
                  <a:lnTo>
                    <a:pt x="300" y="4"/>
                  </a:lnTo>
                  <a:lnTo>
                    <a:pt x="301" y="2"/>
                  </a:lnTo>
                  <a:lnTo>
                    <a:pt x="303" y="0"/>
                  </a:lnTo>
                  <a:lnTo>
                    <a:pt x="304" y="0"/>
                  </a:lnTo>
                  <a:lnTo>
                    <a:pt x="306" y="0"/>
                  </a:lnTo>
                  <a:lnTo>
                    <a:pt x="308" y="0"/>
                  </a:lnTo>
                  <a:lnTo>
                    <a:pt x="309" y="1"/>
                  </a:lnTo>
                  <a:lnTo>
                    <a:pt x="309" y="2"/>
                  </a:lnTo>
                  <a:lnTo>
                    <a:pt x="310" y="3"/>
                  </a:lnTo>
                  <a:lnTo>
                    <a:pt x="310" y="5"/>
                  </a:lnTo>
                  <a:lnTo>
                    <a:pt x="307" y="19"/>
                  </a:lnTo>
                  <a:lnTo>
                    <a:pt x="304" y="32"/>
                  </a:lnTo>
                  <a:lnTo>
                    <a:pt x="300" y="45"/>
                  </a:lnTo>
                  <a:lnTo>
                    <a:pt x="296" y="57"/>
                  </a:lnTo>
                  <a:lnTo>
                    <a:pt x="292" y="70"/>
                  </a:lnTo>
                  <a:lnTo>
                    <a:pt x="287" y="82"/>
                  </a:lnTo>
                  <a:lnTo>
                    <a:pt x="282" y="94"/>
                  </a:lnTo>
                  <a:lnTo>
                    <a:pt x="276" y="106"/>
                  </a:lnTo>
                  <a:lnTo>
                    <a:pt x="270" y="118"/>
                  </a:lnTo>
                  <a:lnTo>
                    <a:pt x="264" y="129"/>
                  </a:lnTo>
                  <a:lnTo>
                    <a:pt x="250" y="152"/>
                  </a:lnTo>
                  <a:lnTo>
                    <a:pt x="234" y="173"/>
                  </a:lnTo>
                  <a:lnTo>
                    <a:pt x="226" y="184"/>
                  </a:lnTo>
                  <a:lnTo>
                    <a:pt x="218" y="194"/>
                  </a:lnTo>
                  <a:lnTo>
                    <a:pt x="230" y="188"/>
                  </a:lnTo>
                  <a:lnTo>
                    <a:pt x="242" y="182"/>
                  </a:lnTo>
                  <a:lnTo>
                    <a:pt x="266" y="168"/>
                  </a:lnTo>
                  <a:lnTo>
                    <a:pt x="277" y="161"/>
                  </a:lnTo>
                  <a:lnTo>
                    <a:pt x="288" y="153"/>
                  </a:lnTo>
                  <a:lnTo>
                    <a:pt x="299" y="145"/>
                  </a:lnTo>
                  <a:lnTo>
                    <a:pt x="310" y="137"/>
                  </a:lnTo>
                  <a:lnTo>
                    <a:pt x="331" y="120"/>
                  </a:lnTo>
                  <a:lnTo>
                    <a:pt x="341" y="111"/>
                  </a:lnTo>
                  <a:lnTo>
                    <a:pt x="351" y="102"/>
                  </a:lnTo>
                  <a:lnTo>
                    <a:pt x="361" y="92"/>
                  </a:lnTo>
                  <a:lnTo>
                    <a:pt x="370" y="82"/>
                  </a:lnTo>
                  <a:lnTo>
                    <a:pt x="379" y="71"/>
                  </a:lnTo>
                  <a:lnTo>
                    <a:pt x="388" y="60"/>
                  </a:lnTo>
                  <a:lnTo>
                    <a:pt x="390" y="59"/>
                  </a:lnTo>
                  <a:lnTo>
                    <a:pt x="391" y="58"/>
                  </a:lnTo>
                  <a:lnTo>
                    <a:pt x="393" y="59"/>
                  </a:lnTo>
                  <a:lnTo>
                    <a:pt x="395" y="59"/>
                  </a:lnTo>
                  <a:lnTo>
                    <a:pt x="396" y="61"/>
                  </a:lnTo>
                  <a:lnTo>
                    <a:pt x="397" y="62"/>
                  </a:lnTo>
                  <a:lnTo>
                    <a:pt x="397" y="64"/>
                  </a:lnTo>
                  <a:lnTo>
                    <a:pt x="396" y="66"/>
                  </a:lnTo>
                  <a:lnTo>
                    <a:pt x="388" y="76"/>
                  </a:lnTo>
                  <a:lnTo>
                    <a:pt x="380" y="85"/>
                  </a:lnTo>
                  <a:lnTo>
                    <a:pt x="364" y="102"/>
                  </a:lnTo>
                  <a:lnTo>
                    <a:pt x="356" y="111"/>
                  </a:lnTo>
                  <a:lnTo>
                    <a:pt x="347" y="119"/>
                  </a:lnTo>
                  <a:lnTo>
                    <a:pt x="329" y="134"/>
                  </a:lnTo>
                  <a:lnTo>
                    <a:pt x="311" y="149"/>
                  </a:lnTo>
                  <a:lnTo>
                    <a:pt x="302" y="155"/>
                  </a:lnTo>
                  <a:lnTo>
                    <a:pt x="292" y="162"/>
                  </a:lnTo>
                  <a:lnTo>
                    <a:pt x="273" y="175"/>
                  </a:lnTo>
                  <a:lnTo>
                    <a:pt x="252" y="187"/>
                  </a:lnTo>
                  <a:lnTo>
                    <a:pt x="263" y="182"/>
                  </a:lnTo>
                  <a:lnTo>
                    <a:pt x="274" y="177"/>
                  </a:lnTo>
                  <a:lnTo>
                    <a:pt x="295" y="166"/>
                  </a:lnTo>
                  <a:lnTo>
                    <a:pt x="315" y="155"/>
                  </a:lnTo>
                  <a:lnTo>
                    <a:pt x="325" y="148"/>
                  </a:lnTo>
                  <a:lnTo>
                    <a:pt x="334" y="142"/>
                  </a:lnTo>
                  <a:lnTo>
                    <a:pt x="344" y="135"/>
                  </a:lnTo>
                  <a:lnTo>
                    <a:pt x="353" y="128"/>
                  </a:lnTo>
                  <a:lnTo>
                    <a:pt x="362" y="121"/>
                  </a:lnTo>
                  <a:lnTo>
                    <a:pt x="371" y="113"/>
                  </a:lnTo>
                  <a:lnTo>
                    <a:pt x="380" y="105"/>
                  </a:lnTo>
                  <a:lnTo>
                    <a:pt x="389" y="97"/>
                  </a:lnTo>
                  <a:lnTo>
                    <a:pt x="405" y="80"/>
                  </a:lnTo>
                  <a:lnTo>
                    <a:pt x="407" y="79"/>
                  </a:lnTo>
                  <a:lnTo>
                    <a:pt x="409" y="79"/>
                  </a:lnTo>
                  <a:lnTo>
                    <a:pt x="410" y="79"/>
                  </a:lnTo>
                  <a:lnTo>
                    <a:pt x="412" y="80"/>
                  </a:lnTo>
                  <a:lnTo>
                    <a:pt x="413" y="81"/>
                  </a:lnTo>
                  <a:lnTo>
                    <a:pt x="413" y="83"/>
                  </a:lnTo>
                  <a:lnTo>
                    <a:pt x="413" y="85"/>
                  </a:lnTo>
                  <a:lnTo>
                    <a:pt x="412" y="87"/>
                  </a:lnTo>
                  <a:lnTo>
                    <a:pt x="404" y="95"/>
                  </a:lnTo>
                  <a:lnTo>
                    <a:pt x="396" y="104"/>
                  </a:lnTo>
                  <a:lnTo>
                    <a:pt x="387" y="112"/>
                  </a:lnTo>
                  <a:lnTo>
                    <a:pt x="378" y="120"/>
                  </a:lnTo>
                  <a:lnTo>
                    <a:pt x="360" y="134"/>
                  </a:lnTo>
                  <a:lnTo>
                    <a:pt x="342" y="148"/>
                  </a:lnTo>
                  <a:lnTo>
                    <a:pt x="322" y="161"/>
                  </a:lnTo>
                  <a:lnTo>
                    <a:pt x="302" y="173"/>
                  </a:lnTo>
                  <a:lnTo>
                    <a:pt x="292" y="179"/>
                  </a:lnTo>
                  <a:lnTo>
                    <a:pt x="281" y="184"/>
                  </a:lnTo>
                  <a:lnTo>
                    <a:pt x="271" y="189"/>
                  </a:lnTo>
                  <a:lnTo>
                    <a:pt x="260" y="194"/>
                  </a:lnTo>
                  <a:lnTo>
                    <a:pt x="281" y="189"/>
                  </a:lnTo>
                  <a:lnTo>
                    <a:pt x="303" y="183"/>
                  </a:lnTo>
                  <a:lnTo>
                    <a:pt x="313" y="180"/>
                  </a:lnTo>
                  <a:lnTo>
                    <a:pt x="323" y="176"/>
                  </a:lnTo>
                  <a:lnTo>
                    <a:pt x="332" y="172"/>
                  </a:lnTo>
                  <a:lnTo>
                    <a:pt x="341" y="168"/>
                  </a:lnTo>
                  <a:lnTo>
                    <a:pt x="353" y="162"/>
                  </a:lnTo>
                  <a:lnTo>
                    <a:pt x="364" y="157"/>
                  </a:lnTo>
                  <a:lnTo>
                    <a:pt x="376" y="153"/>
                  </a:lnTo>
                  <a:lnTo>
                    <a:pt x="382" y="151"/>
                  </a:lnTo>
                  <a:lnTo>
                    <a:pt x="389" y="150"/>
                  </a:lnTo>
                  <a:lnTo>
                    <a:pt x="403" y="149"/>
                  </a:lnTo>
                  <a:lnTo>
                    <a:pt x="409" y="149"/>
                  </a:lnTo>
                  <a:lnTo>
                    <a:pt x="416" y="149"/>
                  </a:lnTo>
                  <a:lnTo>
                    <a:pt x="428" y="151"/>
                  </a:lnTo>
                  <a:lnTo>
                    <a:pt x="441" y="154"/>
                  </a:lnTo>
                  <a:lnTo>
                    <a:pt x="443" y="155"/>
                  </a:lnTo>
                  <a:lnTo>
                    <a:pt x="444" y="156"/>
                  </a:lnTo>
                  <a:lnTo>
                    <a:pt x="445" y="158"/>
                  </a:lnTo>
                  <a:lnTo>
                    <a:pt x="445" y="160"/>
                  </a:lnTo>
                  <a:lnTo>
                    <a:pt x="444" y="161"/>
                  </a:lnTo>
                  <a:lnTo>
                    <a:pt x="443" y="162"/>
                  </a:lnTo>
                  <a:lnTo>
                    <a:pt x="441" y="163"/>
                  </a:lnTo>
                  <a:lnTo>
                    <a:pt x="439" y="163"/>
                  </a:lnTo>
                  <a:lnTo>
                    <a:pt x="428" y="161"/>
                  </a:lnTo>
                  <a:lnTo>
                    <a:pt x="418" y="159"/>
                  </a:lnTo>
                  <a:lnTo>
                    <a:pt x="408" y="158"/>
                  </a:lnTo>
                  <a:lnTo>
                    <a:pt x="399" y="159"/>
                  </a:lnTo>
                  <a:lnTo>
                    <a:pt x="394" y="159"/>
                  </a:lnTo>
                  <a:lnTo>
                    <a:pt x="389" y="160"/>
                  </a:lnTo>
                  <a:lnTo>
                    <a:pt x="379" y="162"/>
                  </a:lnTo>
                  <a:lnTo>
                    <a:pt x="370" y="165"/>
                  </a:lnTo>
                  <a:lnTo>
                    <a:pt x="360" y="169"/>
                  </a:lnTo>
                  <a:lnTo>
                    <a:pt x="344" y="177"/>
                  </a:lnTo>
                  <a:lnTo>
                    <a:pt x="336" y="181"/>
                  </a:lnTo>
                  <a:lnTo>
                    <a:pt x="328" y="184"/>
                  </a:lnTo>
                  <a:lnTo>
                    <a:pt x="300" y="193"/>
                  </a:lnTo>
                  <a:lnTo>
                    <a:pt x="275" y="200"/>
                  </a:lnTo>
                  <a:lnTo>
                    <a:pt x="438" y="193"/>
                  </a:lnTo>
                  <a:lnTo>
                    <a:pt x="440" y="193"/>
                  </a:lnTo>
                  <a:lnTo>
                    <a:pt x="441" y="194"/>
                  </a:lnTo>
                  <a:lnTo>
                    <a:pt x="442" y="196"/>
                  </a:lnTo>
                  <a:lnTo>
                    <a:pt x="443" y="197"/>
                  </a:lnTo>
                  <a:lnTo>
                    <a:pt x="443" y="199"/>
                  </a:lnTo>
                  <a:lnTo>
                    <a:pt x="442" y="201"/>
                  </a:lnTo>
                  <a:lnTo>
                    <a:pt x="440" y="202"/>
                  </a:lnTo>
                  <a:lnTo>
                    <a:pt x="438" y="202"/>
                  </a:lnTo>
                  <a:lnTo>
                    <a:pt x="310" y="208"/>
                  </a:lnTo>
                  <a:lnTo>
                    <a:pt x="420" y="212"/>
                  </a:lnTo>
                  <a:lnTo>
                    <a:pt x="422" y="213"/>
                  </a:lnTo>
                  <a:lnTo>
                    <a:pt x="423" y="214"/>
                  </a:lnTo>
                  <a:lnTo>
                    <a:pt x="424" y="216"/>
                  </a:lnTo>
                  <a:lnTo>
                    <a:pt x="424" y="217"/>
                  </a:lnTo>
                  <a:lnTo>
                    <a:pt x="424" y="219"/>
                  </a:lnTo>
                  <a:lnTo>
                    <a:pt x="423" y="221"/>
                  </a:lnTo>
                  <a:lnTo>
                    <a:pt x="421" y="222"/>
                  </a:lnTo>
                  <a:lnTo>
                    <a:pt x="419" y="222"/>
                  </a:lnTo>
                  <a:lnTo>
                    <a:pt x="229" y="214"/>
                  </a:lnTo>
                  <a:lnTo>
                    <a:pt x="378" y="264"/>
                  </a:lnTo>
                  <a:lnTo>
                    <a:pt x="380" y="265"/>
                  </a:lnTo>
                  <a:lnTo>
                    <a:pt x="381" y="267"/>
                  </a:lnTo>
                  <a:lnTo>
                    <a:pt x="382" y="268"/>
                  </a:lnTo>
                  <a:lnTo>
                    <a:pt x="381" y="270"/>
                  </a:lnTo>
                  <a:lnTo>
                    <a:pt x="380" y="272"/>
                  </a:lnTo>
                  <a:lnTo>
                    <a:pt x="379" y="273"/>
                  </a:lnTo>
                  <a:lnTo>
                    <a:pt x="377" y="273"/>
                  </a:lnTo>
                  <a:lnTo>
                    <a:pt x="375" y="273"/>
                  </a:lnTo>
                  <a:lnTo>
                    <a:pt x="232" y="225"/>
                  </a:lnTo>
                  <a:lnTo>
                    <a:pt x="309" y="279"/>
                  </a:lnTo>
                  <a:lnTo>
                    <a:pt x="310" y="281"/>
                  </a:lnTo>
                  <a:lnTo>
                    <a:pt x="311" y="283"/>
                  </a:lnTo>
                  <a:lnTo>
                    <a:pt x="310" y="284"/>
                  </a:lnTo>
                  <a:lnTo>
                    <a:pt x="310" y="286"/>
                  </a:lnTo>
                  <a:lnTo>
                    <a:pt x="308" y="287"/>
                  </a:lnTo>
                  <a:lnTo>
                    <a:pt x="307" y="288"/>
                  </a:lnTo>
                  <a:lnTo>
                    <a:pt x="305" y="288"/>
                  </a:lnTo>
                  <a:lnTo>
                    <a:pt x="303" y="287"/>
                  </a:lnTo>
                  <a:lnTo>
                    <a:pt x="249" y="249"/>
                  </a:lnTo>
                  <a:lnTo>
                    <a:pt x="298" y="295"/>
                  </a:lnTo>
                  <a:lnTo>
                    <a:pt x="300" y="297"/>
                  </a:lnTo>
                  <a:lnTo>
                    <a:pt x="300" y="299"/>
                  </a:lnTo>
                  <a:lnTo>
                    <a:pt x="300" y="301"/>
                  </a:lnTo>
                  <a:lnTo>
                    <a:pt x="299" y="302"/>
                  </a:lnTo>
                  <a:lnTo>
                    <a:pt x="297" y="303"/>
                  </a:lnTo>
                  <a:lnTo>
                    <a:pt x="296" y="304"/>
                  </a:lnTo>
                  <a:lnTo>
                    <a:pt x="294" y="304"/>
                  </a:lnTo>
                  <a:lnTo>
                    <a:pt x="293" y="303"/>
                  </a:lnTo>
                  <a:lnTo>
                    <a:pt x="292" y="302"/>
                  </a:lnTo>
                  <a:lnTo>
                    <a:pt x="200"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1955"/>
            <p:cNvSpPr>
              <a:spLocks noEditPoints="1"/>
            </p:cNvSpPr>
            <p:nvPr userDrawn="1"/>
          </p:nvSpPr>
          <p:spPr bwMode="auto">
            <a:xfrm>
              <a:off x="7497763" y="2867397"/>
              <a:ext cx="1082675" cy="903288"/>
            </a:xfrm>
            <a:custGeom>
              <a:avLst/>
              <a:gdLst>
                <a:gd name="T0" fmla="*/ 478 w 682"/>
                <a:gd name="T1" fmla="*/ 163 h 569"/>
                <a:gd name="T2" fmla="*/ 56 w 682"/>
                <a:gd name="T3" fmla="*/ 508 h 569"/>
                <a:gd name="T4" fmla="*/ 50 w 682"/>
                <a:gd name="T5" fmla="*/ 497 h 569"/>
                <a:gd name="T6" fmla="*/ 101 w 682"/>
                <a:gd name="T7" fmla="*/ 479 h 569"/>
                <a:gd name="T8" fmla="*/ 63 w 682"/>
                <a:gd name="T9" fmla="*/ 526 h 569"/>
                <a:gd name="T10" fmla="*/ 98 w 682"/>
                <a:gd name="T11" fmla="*/ 485 h 569"/>
                <a:gd name="T12" fmla="*/ 343 w 682"/>
                <a:gd name="T13" fmla="*/ 287 h 569"/>
                <a:gd name="T14" fmla="*/ 230 w 682"/>
                <a:gd name="T15" fmla="*/ 365 h 569"/>
                <a:gd name="T16" fmla="*/ 100 w 682"/>
                <a:gd name="T17" fmla="*/ 499 h 569"/>
                <a:gd name="T18" fmla="*/ 59 w 682"/>
                <a:gd name="T19" fmla="*/ 542 h 569"/>
                <a:gd name="T20" fmla="*/ 3 w 682"/>
                <a:gd name="T21" fmla="*/ 568 h 569"/>
                <a:gd name="T22" fmla="*/ 19 w 682"/>
                <a:gd name="T23" fmla="*/ 521 h 569"/>
                <a:gd name="T24" fmla="*/ 60 w 682"/>
                <a:gd name="T25" fmla="*/ 477 h 569"/>
                <a:gd name="T26" fmla="*/ 111 w 682"/>
                <a:gd name="T27" fmla="*/ 458 h 569"/>
                <a:gd name="T28" fmla="*/ 279 w 682"/>
                <a:gd name="T29" fmla="*/ 315 h 569"/>
                <a:gd name="T30" fmla="*/ 384 w 682"/>
                <a:gd name="T31" fmla="*/ 254 h 569"/>
                <a:gd name="T32" fmla="*/ 350 w 682"/>
                <a:gd name="T33" fmla="*/ 52 h 569"/>
                <a:gd name="T34" fmla="*/ 428 w 682"/>
                <a:gd name="T35" fmla="*/ 201 h 569"/>
                <a:gd name="T36" fmla="*/ 394 w 682"/>
                <a:gd name="T37" fmla="*/ 85 h 569"/>
                <a:gd name="T38" fmla="*/ 378 w 682"/>
                <a:gd name="T39" fmla="*/ 42 h 569"/>
                <a:gd name="T40" fmla="*/ 408 w 682"/>
                <a:gd name="T41" fmla="*/ 94 h 569"/>
                <a:gd name="T42" fmla="*/ 418 w 682"/>
                <a:gd name="T43" fmla="*/ 25 h 569"/>
                <a:gd name="T44" fmla="*/ 441 w 682"/>
                <a:gd name="T45" fmla="*/ 205 h 569"/>
                <a:gd name="T46" fmla="*/ 453 w 682"/>
                <a:gd name="T47" fmla="*/ 81 h 569"/>
                <a:gd name="T48" fmla="*/ 443 w 682"/>
                <a:gd name="T49" fmla="*/ 4 h 569"/>
                <a:gd name="T50" fmla="*/ 451 w 682"/>
                <a:gd name="T51" fmla="*/ 2 h 569"/>
                <a:gd name="T52" fmla="*/ 462 w 682"/>
                <a:gd name="T53" fmla="*/ 68 h 569"/>
                <a:gd name="T54" fmla="*/ 480 w 682"/>
                <a:gd name="T55" fmla="*/ 88 h 569"/>
                <a:gd name="T56" fmla="*/ 484 w 682"/>
                <a:gd name="T57" fmla="*/ 70 h 569"/>
                <a:gd name="T58" fmla="*/ 512 w 682"/>
                <a:gd name="T59" fmla="*/ 30 h 569"/>
                <a:gd name="T60" fmla="*/ 493 w 682"/>
                <a:gd name="T61" fmla="*/ 118 h 569"/>
                <a:gd name="T62" fmla="*/ 479 w 682"/>
                <a:gd name="T63" fmla="*/ 189 h 569"/>
                <a:gd name="T64" fmla="*/ 620 w 682"/>
                <a:gd name="T65" fmla="*/ 139 h 569"/>
                <a:gd name="T66" fmla="*/ 456 w 682"/>
                <a:gd name="T67" fmla="*/ 232 h 569"/>
                <a:gd name="T68" fmla="*/ 574 w 682"/>
                <a:gd name="T69" fmla="*/ 214 h 569"/>
                <a:gd name="T70" fmla="*/ 660 w 682"/>
                <a:gd name="T71" fmla="*/ 175 h 569"/>
                <a:gd name="T72" fmla="*/ 667 w 682"/>
                <a:gd name="T73" fmla="*/ 182 h 569"/>
                <a:gd name="T74" fmla="*/ 593 w 682"/>
                <a:gd name="T75" fmla="*/ 218 h 569"/>
                <a:gd name="T76" fmla="*/ 490 w 682"/>
                <a:gd name="T77" fmla="*/ 240 h 569"/>
                <a:gd name="T78" fmla="*/ 568 w 682"/>
                <a:gd name="T79" fmla="*/ 272 h 569"/>
                <a:gd name="T80" fmla="*/ 677 w 682"/>
                <a:gd name="T81" fmla="*/ 278 h 569"/>
                <a:gd name="T82" fmla="*/ 680 w 682"/>
                <a:gd name="T83" fmla="*/ 287 h 569"/>
                <a:gd name="T84" fmla="*/ 571 w 682"/>
                <a:gd name="T85" fmla="*/ 282 h 569"/>
                <a:gd name="T86" fmla="*/ 536 w 682"/>
                <a:gd name="T87" fmla="*/ 280 h 569"/>
                <a:gd name="T88" fmla="*/ 650 w 682"/>
                <a:gd name="T89" fmla="*/ 303 h 569"/>
                <a:gd name="T90" fmla="*/ 677 w 682"/>
                <a:gd name="T91" fmla="*/ 312 h 569"/>
                <a:gd name="T92" fmla="*/ 603 w 682"/>
                <a:gd name="T93" fmla="*/ 307 h 569"/>
                <a:gd name="T94" fmla="*/ 510 w 682"/>
                <a:gd name="T95" fmla="*/ 285 h 569"/>
                <a:gd name="T96" fmla="*/ 600 w 682"/>
                <a:gd name="T97" fmla="*/ 331 h 569"/>
                <a:gd name="T98" fmla="*/ 643 w 682"/>
                <a:gd name="T99" fmla="*/ 380 h 569"/>
                <a:gd name="T100" fmla="*/ 636 w 682"/>
                <a:gd name="T101" fmla="*/ 386 h 569"/>
                <a:gd name="T102" fmla="*/ 604 w 682"/>
                <a:gd name="T103" fmla="*/ 345 h 569"/>
                <a:gd name="T104" fmla="*/ 520 w 682"/>
                <a:gd name="T105" fmla="*/ 302 h 569"/>
                <a:gd name="T106" fmla="*/ 610 w 682"/>
                <a:gd name="T107" fmla="*/ 412 h 569"/>
                <a:gd name="T108" fmla="*/ 586 w 682"/>
                <a:gd name="T109" fmla="*/ 407 h 569"/>
                <a:gd name="T110" fmla="*/ 456 w 682"/>
                <a:gd name="T111" fmla="*/ 263 h 569"/>
                <a:gd name="T112" fmla="*/ 513 w 682"/>
                <a:gd name="T113" fmla="*/ 414 h 569"/>
                <a:gd name="T114" fmla="*/ 458 w 682"/>
                <a:gd name="T115" fmla="*/ 370 h 569"/>
                <a:gd name="T116" fmla="*/ 444 w 682"/>
                <a:gd name="T117" fmla="*/ 301 h 569"/>
                <a:gd name="T118" fmla="*/ 434 w 682"/>
                <a:gd name="T119" fmla="*/ 372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69">
                  <a:moveTo>
                    <a:pt x="452" y="215"/>
                  </a:moveTo>
                  <a:lnTo>
                    <a:pt x="458" y="207"/>
                  </a:lnTo>
                  <a:lnTo>
                    <a:pt x="463" y="199"/>
                  </a:lnTo>
                  <a:lnTo>
                    <a:pt x="468" y="190"/>
                  </a:lnTo>
                  <a:lnTo>
                    <a:pt x="472" y="182"/>
                  </a:lnTo>
                  <a:lnTo>
                    <a:pt x="476" y="172"/>
                  </a:lnTo>
                  <a:lnTo>
                    <a:pt x="478" y="163"/>
                  </a:lnTo>
                  <a:lnTo>
                    <a:pt x="481" y="153"/>
                  </a:lnTo>
                  <a:lnTo>
                    <a:pt x="482" y="143"/>
                  </a:lnTo>
                  <a:lnTo>
                    <a:pt x="483" y="133"/>
                  </a:lnTo>
                  <a:lnTo>
                    <a:pt x="484" y="124"/>
                  </a:lnTo>
                  <a:lnTo>
                    <a:pt x="452" y="215"/>
                  </a:lnTo>
                  <a:close/>
                  <a:moveTo>
                    <a:pt x="15" y="547"/>
                  </a:moveTo>
                  <a:lnTo>
                    <a:pt x="56" y="508"/>
                  </a:lnTo>
                  <a:lnTo>
                    <a:pt x="97" y="470"/>
                  </a:lnTo>
                  <a:lnTo>
                    <a:pt x="89" y="473"/>
                  </a:lnTo>
                  <a:lnTo>
                    <a:pt x="81" y="476"/>
                  </a:lnTo>
                  <a:lnTo>
                    <a:pt x="74" y="480"/>
                  </a:lnTo>
                  <a:lnTo>
                    <a:pt x="65" y="485"/>
                  </a:lnTo>
                  <a:lnTo>
                    <a:pt x="57" y="491"/>
                  </a:lnTo>
                  <a:lnTo>
                    <a:pt x="50" y="497"/>
                  </a:lnTo>
                  <a:lnTo>
                    <a:pt x="43" y="505"/>
                  </a:lnTo>
                  <a:lnTo>
                    <a:pt x="36" y="512"/>
                  </a:lnTo>
                  <a:lnTo>
                    <a:pt x="30" y="520"/>
                  </a:lnTo>
                  <a:lnTo>
                    <a:pt x="24" y="529"/>
                  </a:lnTo>
                  <a:lnTo>
                    <a:pt x="19" y="538"/>
                  </a:lnTo>
                  <a:lnTo>
                    <a:pt x="15" y="547"/>
                  </a:lnTo>
                  <a:close/>
                  <a:moveTo>
                    <a:pt x="101" y="479"/>
                  </a:moveTo>
                  <a:lnTo>
                    <a:pt x="62" y="515"/>
                  </a:lnTo>
                  <a:lnTo>
                    <a:pt x="24" y="552"/>
                  </a:lnTo>
                  <a:lnTo>
                    <a:pt x="36" y="546"/>
                  </a:lnTo>
                  <a:lnTo>
                    <a:pt x="41" y="542"/>
                  </a:lnTo>
                  <a:lnTo>
                    <a:pt x="47" y="539"/>
                  </a:lnTo>
                  <a:lnTo>
                    <a:pt x="58" y="530"/>
                  </a:lnTo>
                  <a:lnTo>
                    <a:pt x="63" y="526"/>
                  </a:lnTo>
                  <a:lnTo>
                    <a:pt x="68" y="522"/>
                  </a:lnTo>
                  <a:lnTo>
                    <a:pt x="78" y="512"/>
                  </a:lnTo>
                  <a:lnTo>
                    <a:pt x="83" y="507"/>
                  </a:lnTo>
                  <a:lnTo>
                    <a:pt x="87" y="501"/>
                  </a:lnTo>
                  <a:lnTo>
                    <a:pt x="91" y="496"/>
                  </a:lnTo>
                  <a:lnTo>
                    <a:pt x="95" y="490"/>
                  </a:lnTo>
                  <a:lnTo>
                    <a:pt x="98" y="485"/>
                  </a:lnTo>
                  <a:lnTo>
                    <a:pt x="101" y="479"/>
                  </a:lnTo>
                  <a:close/>
                  <a:moveTo>
                    <a:pt x="436" y="242"/>
                  </a:moveTo>
                  <a:lnTo>
                    <a:pt x="420" y="249"/>
                  </a:lnTo>
                  <a:lnTo>
                    <a:pt x="404" y="256"/>
                  </a:lnTo>
                  <a:lnTo>
                    <a:pt x="373" y="271"/>
                  </a:lnTo>
                  <a:lnTo>
                    <a:pt x="358" y="279"/>
                  </a:lnTo>
                  <a:lnTo>
                    <a:pt x="343" y="287"/>
                  </a:lnTo>
                  <a:lnTo>
                    <a:pt x="313" y="304"/>
                  </a:lnTo>
                  <a:lnTo>
                    <a:pt x="299" y="314"/>
                  </a:lnTo>
                  <a:lnTo>
                    <a:pt x="285" y="323"/>
                  </a:lnTo>
                  <a:lnTo>
                    <a:pt x="271" y="333"/>
                  </a:lnTo>
                  <a:lnTo>
                    <a:pt x="257" y="343"/>
                  </a:lnTo>
                  <a:lnTo>
                    <a:pt x="243" y="354"/>
                  </a:lnTo>
                  <a:lnTo>
                    <a:pt x="230" y="365"/>
                  </a:lnTo>
                  <a:lnTo>
                    <a:pt x="204" y="387"/>
                  </a:lnTo>
                  <a:lnTo>
                    <a:pt x="161" y="425"/>
                  </a:lnTo>
                  <a:lnTo>
                    <a:pt x="118" y="463"/>
                  </a:lnTo>
                  <a:lnTo>
                    <a:pt x="114" y="473"/>
                  </a:lnTo>
                  <a:lnTo>
                    <a:pt x="110" y="482"/>
                  </a:lnTo>
                  <a:lnTo>
                    <a:pt x="105" y="491"/>
                  </a:lnTo>
                  <a:lnTo>
                    <a:pt x="100" y="499"/>
                  </a:lnTo>
                  <a:lnTo>
                    <a:pt x="94" y="507"/>
                  </a:lnTo>
                  <a:lnTo>
                    <a:pt x="88" y="515"/>
                  </a:lnTo>
                  <a:lnTo>
                    <a:pt x="85" y="519"/>
                  </a:lnTo>
                  <a:lnTo>
                    <a:pt x="81" y="522"/>
                  </a:lnTo>
                  <a:lnTo>
                    <a:pt x="74" y="529"/>
                  </a:lnTo>
                  <a:lnTo>
                    <a:pt x="67" y="536"/>
                  </a:lnTo>
                  <a:lnTo>
                    <a:pt x="59" y="542"/>
                  </a:lnTo>
                  <a:lnTo>
                    <a:pt x="51" y="547"/>
                  </a:lnTo>
                  <a:lnTo>
                    <a:pt x="42" y="553"/>
                  </a:lnTo>
                  <a:lnTo>
                    <a:pt x="33" y="557"/>
                  </a:lnTo>
                  <a:lnTo>
                    <a:pt x="24" y="562"/>
                  </a:lnTo>
                  <a:lnTo>
                    <a:pt x="15" y="566"/>
                  </a:lnTo>
                  <a:lnTo>
                    <a:pt x="5" y="569"/>
                  </a:lnTo>
                  <a:lnTo>
                    <a:pt x="3" y="568"/>
                  </a:lnTo>
                  <a:lnTo>
                    <a:pt x="1" y="567"/>
                  </a:lnTo>
                  <a:lnTo>
                    <a:pt x="0" y="565"/>
                  </a:lnTo>
                  <a:lnTo>
                    <a:pt x="0" y="564"/>
                  </a:lnTo>
                  <a:lnTo>
                    <a:pt x="4" y="551"/>
                  </a:lnTo>
                  <a:lnTo>
                    <a:pt x="9" y="538"/>
                  </a:lnTo>
                  <a:lnTo>
                    <a:pt x="15" y="526"/>
                  </a:lnTo>
                  <a:lnTo>
                    <a:pt x="19" y="521"/>
                  </a:lnTo>
                  <a:lnTo>
                    <a:pt x="23" y="515"/>
                  </a:lnTo>
                  <a:lnTo>
                    <a:pt x="31" y="504"/>
                  </a:lnTo>
                  <a:lnTo>
                    <a:pt x="35" y="499"/>
                  </a:lnTo>
                  <a:lnTo>
                    <a:pt x="40" y="494"/>
                  </a:lnTo>
                  <a:lnTo>
                    <a:pt x="49" y="485"/>
                  </a:lnTo>
                  <a:lnTo>
                    <a:pt x="55" y="481"/>
                  </a:lnTo>
                  <a:lnTo>
                    <a:pt x="60" y="477"/>
                  </a:lnTo>
                  <a:lnTo>
                    <a:pt x="66" y="473"/>
                  </a:lnTo>
                  <a:lnTo>
                    <a:pt x="73" y="470"/>
                  </a:lnTo>
                  <a:lnTo>
                    <a:pt x="78" y="467"/>
                  </a:lnTo>
                  <a:lnTo>
                    <a:pt x="84" y="464"/>
                  </a:lnTo>
                  <a:lnTo>
                    <a:pt x="97" y="460"/>
                  </a:lnTo>
                  <a:lnTo>
                    <a:pt x="103" y="459"/>
                  </a:lnTo>
                  <a:lnTo>
                    <a:pt x="111" y="458"/>
                  </a:lnTo>
                  <a:lnTo>
                    <a:pt x="154" y="418"/>
                  </a:lnTo>
                  <a:lnTo>
                    <a:pt x="197" y="380"/>
                  </a:lnTo>
                  <a:lnTo>
                    <a:pt x="211" y="368"/>
                  </a:lnTo>
                  <a:lnTo>
                    <a:pt x="224" y="357"/>
                  </a:lnTo>
                  <a:lnTo>
                    <a:pt x="251" y="336"/>
                  </a:lnTo>
                  <a:lnTo>
                    <a:pt x="265" y="325"/>
                  </a:lnTo>
                  <a:lnTo>
                    <a:pt x="279" y="315"/>
                  </a:lnTo>
                  <a:lnTo>
                    <a:pt x="294" y="306"/>
                  </a:lnTo>
                  <a:lnTo>
                    <a:pt x="308" y="296"/>
                  </a:lnTo>
                  <a:lnTo>
                    <a:pt x="323" y="287"/>
                  </a:lnTo>
                  <a:lnTo>
                    <a:pt x="338" y="279"/>
                  </a:lnTo>
                  <a:lnTo>
                    <a:pt x="353" y="270"/>
                  </a:lnTo>
                  <a:lnTo>
                    <a:pt x="369" y="262"/>
                  </a:lnTo>
                  <a:lnTo>
                    <a:pt x="384" y="254"/>
                  </a:lnTo>
                  <a:lnTo>
                    <a:pt x="400" y="247"/>
                  </a:lnTo>
                  <a:lnTo>
                    <a:pt x="416" y="240"/>
                  </a:lnTo>
                  <a:lnTo>
                    <a:pt x="432" y="234"/>
                  </a:lnTo>
                  <a:lnTo>
                    <a:pt x="432" y="230"/>
                  </a:lnTo>
                  <a:lnTo>
                    <a:pt x="350" y="56"/>
                  </a:lnTo>
                  <a:lnTo>
                    <a:pt x="349" y="54"/>
                  </a:lnTo>
                  <a:lnTo>
                    <a:pt x="350" y="52"/>
                  </a:lnTo>
                  <a:lnTo>
                    <a:pt x="351" y="50"/>
                  </a:lnTo>
                  <a:lnTo>
                    <a:pt x="352" y="49"/>
                  </a:lnTo>
                  <a:lnTo>
                    <a:pt x="354" y="49"/>
                  </a:lnTo>
                  <a:lnTo>
                    <a:pt x="355" y="49"/>
                  </a:lnTo>
                  <a:lnTo>
                    <a:pt x="357" y="50"/>
                  </a:lnTo>
                  <a:lnTo>
                    <a:pt x="358" y="52"/>
                  </a:lnTo>
                  <a:lnTo>
                    <a:pt x="428" y="201"/>
                  </a:lnTo>
                  <a:lnTo>
                    <a:pt x="425" y="181"/>
                  </a:lnTo>
                  <a:lnTo>
                    <a:pt x="420" y="161"/>
                  </a:lnTo>
                  <a:lnTo>
                    <a:pt x="415" y="142"/>
                  </a:lnTo>
                  <a:lnTo>
                    <a:pt x="409" y="122"/>
                  </a:lnTo>
                  <a:lnTo>
                    <a:pt x="402" y="104"/>
                  </a:lnTo>
                  <a:lnTo>
                    <a:pt x="398" y="94"/>
                  </a:lnTo>
                  <a:lnTo>
                    <a:pt x="394" y="85"/>
                  </a:lnTo>
                  <a:lnTo>
                    <a:pt x="384" y="67"/>
                  </a:lnTo>
                  <a:lnTo>
                    <a:pt x="374" y="49"/>
                  </a:lnTo>
                  <a:lnTo>
                    <a:pt x="374" y="47"/>
                  </a:lnTo>
                  <a:lnTo>
                    <a:pt x="374" y="46"/>
                  </a:lnTo>
                  <a:lnTo>
                    <a:pt x="375" y="44"/>
                  </a:lnTo>
                  <a:lnTo>
                    <a:pt x="376" y="43"/>
                  </a:lnTo>
                  <a:lnTo>
                    <a:pt x="378" y="42"/>
                  </a:lnTo>
                  <a:lnTo>
                    <a:pt x="379" y="42"/>
                  </a:lnTo>
                  <a:lnTo>
                    <a:pt x="381" y="43"/>
                  </a:lnTo>
                  <a:lnTo>
                    <a:pt x="383" y="44"/>
                  </a:lnTo>
                  <a:lnTo>
                    <a:pt x="389" y="56"/>
                  </a:lnTo>
                  <a:lnTo>
                    <a:pt x="396" y="69"/>
                  </a:lnTo>
                  <a:lnTo>
                    <a:pt x="402" y="81"/>
                  </a:lnTo>
                  <a:lnTo>
                    <a:pt x="408" y="94"/>
                  </a:lnTo>
                  <a:lnTo>
                    <a:pt x="413" y="106"/>
                  </a:lnTo>
                  <a:lnTo>
                    <a:pt x="418" y="119"/>
                  </a:lnTo>
                  <a:lnTo>
                    <a:pt x="426" y="145"/>
                  </a:lnTo>
                  <a:lnTo>
                    <a:pt x="415" y="30"/>
                  </a:lnTo>
                  <a:lnTo>
                    <a:pt x="416" y="28"/>
                  </a:lnTo>
                  <a:lnTo>
                    <a:pt x="416" y="26"/>
                  </a:lnTo>
                  <a:lnTo>
                    <a:pt x="418" y="25"/>
                  </a:lnTo>
                  <a:lnTo>
                    <a:pt x="420" y="25"/>
                  </a:lnTo>
                  <a:lnTo>
                    <a:pt x="421" y="25"/>
                  </a:lnTo>
                  <a:lnTo>
                    <a:pt x="423" y="25"/>
                  </a:lnTo>
                  <a:lnTo>
                    <a:pt x="424" y="26"/>
                  </a:lnTo>
                  <a:lnTo>
                    <a:pt x="424" y="27"/>
                  </a:lnTo>
                  <a:lnTo>
                    <a:pt x="425" y="29"/>
                  </a:lnTo>
                  <a:lnTo>
                    <a:pt x="441" y="205"/>
                  </a:lnTo>
                  <a:lnTo>
                    <a:pt x="446" y="180"/>
                  </a:lnTo>
                  <a:lnTo>
                    <a:pt x="450" y="155"/>
                  </a:lnTo>
                  <a:lnTo>
                    <a:pt x="452" y="131"/>
                  </a:lnTo>
                  <a:lnTo>
                    <a:pt x="453" y="118"/>
                  </a:lnTo>
                  <a:lnTo>
                    <a:pt x="453" y="106"/>
                  </a:lnTo>
                  <a:lnTo>
                    <a:pt x="453" y="94"/>
                  </a:lnTo>
                  <a:lnTo>
                    <a:pt x="453" y="81"/>
                  </a:lnTo>
                  <a:lnTo>
                    <a:pt x="452" y="69"/>
                  </a:lnTo>
                  <a:lnTo>
                    <a:pt x="451" y="57"/>
                  </a:lnTo>
                  <a:lnTo>
                    <a:pt x="450" y="44"/>
                  </a:lnTo>
                  <a:lnTo>
                    <a:pt x="448" y="32"/>
                  </a:lnTo>
                  <a:lnTo>
                    <a:pt x="446" y="19"/>
                  </a:lnTo>
                  <a:lnTo>
                    <a:pt x="443" y="7"/>
                  </a:lnTo>
                  <a:lnTo>
                    <a:pt x="443" y="4"/>
                  </a:lnTo>
                  <a:lnTo>
                    <a:pt x="443" y="3"/>
                  </a:lnTo>
                  <a:lnTo>
                    <a:pt x="444" y="2"/>
                  </a:lnTo>
                  <a:lnTo>
                    <a:pt x="445" y="1"/>
                  </a:lnTo>
                  <a:lnTo>
                    <a:pt x="446" y="0"/>
                  </a:lnTo>
                  <a:lnTo>
                    <a:pt x="448" y="0"/>
                  </a:lnTo>
                  <a:lnTo>
                    <a:pt x="450" y="0"/>
                  </a:lnTo>
                  <a:lnTo>
                    <a:pt x="451" y="2"/>
                  </a:lnTo>
                  <a:lnTo>
                    <a:pt x="452" y="2"/>
                  </a:lnTo>
                  <a:lnTo>
                    <a:pt x="452" y="4"/>
                  </a:lnTo>
                  <a:lnTo>
                    <a:pt x="454" y="15"/>
                  </a:lnTo>
                  <a:lnTo>
                    <a:pt x="456" y="26"/>
                  </a:lnTo>
                  <a:lnTo>
                    <a:pt x="460" y="47"/>
                  </a:lnTo>
                  <a:lnTo>
                    <a:pt x="461" y="57"/>
                  </a:lnTo>
                  <a:lnTo>
                    <a:pt x="462" y="68"/>
                  </a:lnTo>
                  <a:lnTo>
                    <a:pt x="463" y="89"/>
                  </a:lnTo>
                  <a:lnTo>
                    <a:pt x="463" y="109"/>
                  </a:lnTo>
                  <a:lnTo>
                    <a:pt x="462" y="130"/>
                  </a:lnTo>
                  <a:lnTo>
                    <a:pt x="460" y="151"/>
                  </a:lnTo>
                  <a:lnTo>
                    <a:pt x="457" y="172"/>
                  </a:lnTo>
                  <a:lnTo>
                    <a:pt x="482" y="100"/>
                  </a:lnTo>
                  <a:lnTo>
                    <a:pt x="480" y="88"/>
                  </a:lnTo>
                  <a:lnTo>
                    <a:pt x="476" y="75"/>
                  </a:lnTo>
                  <a:lnTo>
                    <a:pt x="476" y="73"/>
                  </a:lnTo>
                  <a:lnTo>
                    <a:pt x="476" y="71"/>
                  </a:lnTo>
                  <a:lnTo>
                    <a:pt x="478" y="70"/>
                  </a:lnTo>
                  <a:lnTo>
                    <a:pt x="479" y="69"/>
                  </a:lnTo>
                  <a:lnTo>
                    <a:pt x="483" y="69"/>
                  </a:lnTo>
                  <a:lnTo>
                    <a:pt x="484" y="70"/>
                  </a:lnTo>
                  <a:lnTo>
                    <a:pt x="485" y="72"/>
                  </a:lnTo>
                  <a:lnTo>
                    <a:pt x="488" y="83"/>
                  </a:lnTo>
                  <a:lnTo>
                    <a:pt x="506" y="33"/>
                  </a:lnTo>
                  <a:lnTo>
                    <a:pt x="507" y="31"/>
                  </a:lnTo>
                  <a:lnTo>
                    <a:pt x="509" y="30"/>
                  </a:lnTo>
                  <a:lnTo>
                    <a:pt x="510" y="29"/>
                  </a:lnTo>
                  <a:lnTo>
                    <a:pt x="512" y="30"/>
                  </a:lnTo>
                  <a:lnTo>
                    <a:pt x="514" y="31"/>
                  </a:lnTo>
                  <a:lnTo>
                    <a:pt x="515" y="32"/>
                  </a:lnTo>
                  <a:lnTo>
                    <a:pt x="515" y="34"/>
                  </a:lnTo>
                  <a:lnTo>
                    <a:pt x="515" y="36"/>
                  </a:lnTo>
                  <a:lnTo>
                    <a:pt x="492" y="102"/>
                  </a:lnTo>
                  <a:lnTo>
                    <a:pt x="493" y="113"/>
                  </a:lnTo>
                  <a:lnTo>
                    <a:pt x="493" y="118"/>
                  </a:lnTo>
                  <a:lnTo>
                    <a:pt x="493" y="124"/>
                  </a:lnTo>
                  <a:lnTo>
                    <a:pt x="493" y="135"/>
                  </a:lnTo>
                  <a:lnTo>
                    <a:pt x="492" y="146"/>
                  </a:lnTo>
                  <a:lnTo>
                    <a:pt x="490" y="157"/>
                  </a:lnTo>
                  <a:lnTo>
                    <a:pt x="487" y="168"/>
                  </a:lnTo>
                  <a:lnTo>
                    <a:pt x="483" y="179"/>
                  </a:lnTo>
                  <a:lnTo>
                    <a:pt x="479" y="189"/>
                  </a:lnTo>
                  <a:lnTo>
                    <a:pt x="475" y="197"/>
                  </a:lnTo>
                  <a:lnTo>
                    <a:pt x="471" y="205"/>
                  </a:lnTo>
                  <a:lnTo>
                    <a:pt x="467" y="212"/>
                  </a:lnTo>
                  <a:lnTo>
                    <a:pt x="462" y="218"/>
                  </a:lnTo>
                  <a:lnTo>
                    <a:pt x="616" y="139"/>
                  </a:lnTo>
                  <a:lnTo>
                    <a:pt x="618" y="139"/>
                  </a:lnTo>
                  <a:lnTo>
                    <a:pt x="620" y="139"/>
                  </a:lnTo>
                  <a:lnTo>
                    <a:pt x="622" y="140"/>
                  </a:lnTo>
                  <a:lnTo>
                    <a:pt x="623" y="141"/>
                  </a:lnTo>
                  <a:lnTo>
                    <a:pt x="623" y="143"/>
                  </a:lnTo>
                  <a:lnTo>
                    <a:pt x="623" y="145"/>
                  </a:lnTo>
                  <a:lnTo>
                    <a:pt x="622" y="146"/>
                  </a:lnTo>
                  <a:lnTo>
                    <a:pt x="621" y="148"/>
                  </a:lnTo>
                  <a:lnTo>
                    <a:pt x="456" y="232"/>
                  </a:lnTo>
                  <a:lnTo>
                    <a:pt x="469" y="232"/>
                  </a:lnTo>
                  <a:lnTo>
                    <a:pt x="483" y="231"/>
                  </a:lnTo>
                  <a:lnTo>
                    <a:pt x="496" y="230"/>
                  </a:lnTo>
                  <a:lnTo>
                    <a:pt x="509" y="228"/>
                  </a:lnTo>
                  <a:lnTo>
                    <a:pt x="536" y="224"/>
                  </a:lnTo>
                  <a:lnTo>
                    <a:pt x="562" y="217"/>
                  </a:lnTo>
                  <a:lnTo>
                    <a:pt x="574" y="214"/>
                  </a:lnTo>
                  <a:lnTo>
                    <a:pt x="587" y="210"/>
                  </a:lnTo>
                  <a:lnTo>
                    <a:pt x="600" y="205"/>
                  </a:lnTo>
                  <a:lnTo>
                    <a:pt x="612" y="200"/>
                  </a:lnTo>
                  <a:lnTo>
                    <a:pt x="624" y="194"/>
                  </a:lnTo>
                  <a:lnTo>
                    <a:pt x="637" y="188"/>
                  </a:lnTo>
                  <a:lnTo>
                    <a:pt x="649" y="182"/>
                  </a:lnTo>
                  <a:lnTo>
                    <a:pt x="660" y="175"/>
                  </a:lnTo>
                  <a:lnTo>
                    <a:pt x="662" y="174"/>
                  </a:lnTo>
                  <a:lnTo>
                    <a:pt x="664" y="175"/>
                  </a:lnTo>
                  <a:lnTo>
                    <a:pt x="666" y="175"/>
                  </a:lnTo>
                  <a:lnTo>
                    <a:pt x="667" y="177"/>
                  </a:lnTo>
                  <a:lnTo>
                    <a:pt x="668" y="178"/>
                  </a:lnTo>
                  <a:lnTo>
                    <a:pt x="668" y="180"/>
                  </a:lnTo>
                  <a:lnTo>
                    <a:pt x="667" y="182"/>
                  </a:lnTo>
                  <a:lnTo>
                    <a:pt x="665" y="183"/>
                  </a:lnTo>
                  <a:lnTo>
                    <a:pt x="654" y="190"/>
                  </a:lnTo>
                  <a:lnTo>
                    <a:pt x="642" y="196"/>
                  </a:lnTo>
                  <a:lnTo>
                    <a:pt x="630" y="202"/>
                  </a:lnTo>
                  <a:lnTo>
                    <a:pt x="618" y="208"/>
                  </a:lnTo>
                  <a:lnTo>
                    <a:pt x="605" y="213"/>
                  </a:lnTo>
                  <a:lnTo>
                    <a:pt x="593" y="218"/>
                  </a:lnTo>
                  <a:lnTo>
                    <a:pt x="581" y="222"/>
                  </a:lnTo>
                  <a:lnTo>
                    <a:pt x="568" y="226"/>
                  </a:lnTo>
                  <a:lnTo>
                    <a:pt x="555" y="229"/>
                  </a:lnTo>
                  <a:lnTo>
                    <a:pt x="542" y="232"/>
                  </a:lnTo>
                  <a:lnTo>
                    <a:pt x="529" y="234"/>
                  </a:lnTo>
                  <a:lnTo>
                    <a:pt x="516" y="237"/>
                  </a:lnTo>
                  <a:lnTo>
                    <a:pt x="490" y="240"/>
                  </a:lnTo>
                  <a:lnTo>
                    <a:pt x="463" y="241"/>
                  </a:lnTo>
                  <a:lnTo>
                    <a:pt x="489" y="251"/>
                  </a:lnTo>
                  <a:lnTo>
                    <a:pt x="515" y="259"/>
                  </a:lnTo>
                  <a:lnTo>
                    <a:pt x="528" y="263"/>
                  </a:lnTo>
                  <a:lnTo>
                    <a:pt x="541" y="266"/>
                  </a:lnTo>
                  <a:lnTo>
                    <a:pt x="554" y="269"/>
                  </a:lnTo>
                  <a:lnTo>
                    <a:pt x="568" y="272"/>
                  </a:lnTo>
                  <a:lnTo>
                    <a:pt x="581" y="274"/>
                  </a:lnTo>
                  <a:lnTo>
                    <a:pt x="594" y="276"/>
                  </a:lnTo>
                  <a:lnTo>
                    <a:pt x="608" y="277"/>
                  </a:lnTo>
                  <a:lnTo>
                    <a:pt x="621" y="278"/>
                  </a:lnTo>
                  <a:lnTo>
                    <a:pt x="649" y="279"/>
                  </a:lnTo>
                  <a:lnTo>
                    <a:pt x="663" y="279"/>
                  </a:lnTo>
                  <a:lnTo>
                    <a:pt x="677" y="278"/>
                  </a:lnTo>
                  <a:lnTo>
                    <a:pt x="679" y="279"/>
                  </a:lnTo>
                  <a:lnTo>
                    <a:pt x="681" y="280"/>
                  </a:lnTo>
                  <a:lnTo>
                    <a:pt x="682" y="281"/>
                  </a:lnTo>
                  <a:lnTo>
                    <a:pt x="682" y="283"/>
                  </a:lnTo>
                  <a:lnTo>
                    <a:pt x="682" y="284"/>
                  </a:lnTo>
                  <a:lnTo>
                    <a:pt x="681" y="286"/>
                  </a:lnTo>
                  <a:lnTo>
                    <a:pt x="680" y="287"/>
                  </a:lnTo>
                  <a:lnTo>
                    <a:pt x="678" y="288"/>
                  </a:lnTo>
                  <a:lnTo>
                    <a:pt x="653" y="289"/>
                  </a:lnTo>
                  <a:lnTo>
                    <a:pt x="630" y="288"/>
                  </a:lnTo>
                  <a:lnTo>
                    <a:pt x="618" y="288"/>
                  </a:lnTo>
                  <a:lnTo>
                    <a:pt x="606" y="287"/>
                  </a:lnTo>
                  <a:lnTo>
                    <a:pt x="583" y="284"/>
                  </a:lnTo>
                  <a:lnTo>
                    <a:pt x="571" y="282"/>
                  </a:lnTo>
                  <a:lnTo>
                    <a:pt x="560" y="280"/>
                  </a:lnTo>
                  <a:lnTo>
                    <a:pt x="537" y="275"/>
                  </a:lnTo>
                  <a:lnTo>
                    <a:pt x="515" y="269"/>
                  </a:lnTo>
                  <a:lnTo>
                    <a:pt x="492" y="262"/>
                  </a:lnTo>
                  <a:lnTo>
                    <a:pt x="503" y="267"/>
                  </a:lnTo>
                  <a:lnTo>
                    <a:pt x="514" y="271"/>
                  </a:lnTo>
                  <a:lnTo>
                    <a:pt x="536" y="280"/>
                  </a:lnTo>
                  <a:lnTo>
                    <a:pt x="558" y="287"/>
                  </a:lnTo>
                  <a:lnTo>
                    <a:pt x="580" y="293"/>
                  </a:lnTo>
                  <a:lnTo>
                    <a:pt x="592" y="295"/>
                  </a:lnTo>
                  <a:lnTo>
                    <a:pt x="603" y="298"/>
                  </a:lnTo>
                  <a:lnTo>
                    <a:pt x="615" y="300"/>
                  </a:lnTo>
                  <a:lnTo>
                    <a:pt x="626" y="301"/>
                  </a:lnTo>
                  <a:lnTo>
                    <a:pt x="650" y="303"/>
                  </a:lnTo>
                  <a:lnTo>
                    <a:pt x="673" y="304"/>
                  </a:lnTo>
                  <a:lnTo>
                    <a:pt x="675" y="305"/>
                  </a:lnTo>
                  <a:lnTo>
                    <a:pt x="677" y="306"/>
                  </a:lnTo>
                  <a:lnTo>
                    <a:pt x="678" y="307"/>
                  </a:lnTo>
                  <a:lnTo>
                    <a:pt x="678" y="309"/>
                  </a:lnTo>
                  <a:lnTo>
                    <a:pt x="678" y="311"/>
                  </a:lnTo>
                  <a:lnTo>
                    <a:pt x="677" y="312"/>
                  </a:lnTo>
                  <a:lnTo>
                    <a:pt x="675" y="313"/>
                  </a:lnTo>
                  <a:lnTo>
                    <a:pt x="673" y="314"/>
                  </a:lnTo>
                  <a:lnTo>
                    <a:pt x="661" y="314"/>
                  </a:lnTo>
                  <a:lnTo>
                    <a:pt x="650" y="313"/>
                  </a:lnTo>
                  <a:lnTo>
                    <a:pt x="626" y="311"/>
                  </a:lnTo>
                  <a:lnTo>
                    <a:pt x="615" y="309"/>
                  </a:lnTo>
                  <a:lnTo>
                    <a:pt x="603" y="307"/>
                  </a:lnTo>
                  <a:lnTo>
                    <a:pt x="592" y="305"/>
                  </a:lnTo>
                  <a:lnTo>
                    <a:pt x="580" y="303"/>
                  </a:lnTo>
                  <a:lnTo>
                    <a:pt x="558" y="297"/>
                  </a:lnTo>
                  <a:lnTo>
                    <a:pt x="535" y="290"/>
                  </a:lnTo>
                  <a:lnTo>
                    <a:pt x="514" y="282"/>
                  </a:lnTo>
                  <a:lnTo>
                    <a:pt x="492" y="272"/>
                  </a:lnTo>
                  <a:lnTo>
                    <a:pt x="510" y="285"/>
                  </a:lnTo>
                  <a:lnTo>
                    <a:pt x="529" y="297"/>
                  </a:lnTo>
                  <a:lnTo>
                    <a:pt x="547" y="307"/>
                  </a:lnTo>
                  <a:lnTo>
                    <a:pt x="556" y="312"/>
                  </a:lnTo>
                  <a:lnTo>
                    <a:pt x="565" y="316"/>
                  </a:lnTo>
                  <a:lnTo>
                    <a:pt x="578" y="321"/>
                  </a:lnTo>
                  <a:lnTo>
                    <a:pt x="589" y="325"/>
                  </a:lnTo>
                  <a:lnTo>
                    <a:pt x="600" y="331"/>
                  </a:lnTo>
                  <a:lnTo>
                    <a:pt x="606" y="335"/>
                  </a:lnTo>
                  <a:lnTo>
                    <a:pt x="611" y="339"/>
                  </a:lnTo>
                  <a:lnTo>
                    <a:pt x="621" y="349"/>
                  </a:lnTo>
                  <a:lnTo>
                    <a:pt x="625" y="353"/>
                  </a:lnTo>
                  <a:lnTo>
                    <a:pt x="629" y="358"/>
                  </a:lnTo>
                  <a:lnTo>
                    <a:pt x="636" y="368"/>
                  </a:lnTo>
                  <a:lnTo>
                    <a:pt x="643" y="380"/>
                  </a:lnTo>
                  <a:lnTo>
                    <a:pt x="644" y="382"/>
                  </a:lnTo>
                  <a:lnTo>
                    <a:pt x="643" y="384"/>
                  </a:lnTo>
                  <a:lnTo>
                    <a:pt x="642" y="386"/>
                  </a:lnTo>
                  <a:lnTo>
                    <a:pt x="641" y="387"/>
                  </a:lnTo>
                  <a:lnTo>
                    <a:pt x="639" y="387"/>
                  </a:lnTo>
                  <a:lnTo>
                    <a:pt x="637" y="387"/>
                  </a:lnTo>
                  <a:lnTo>
                    <a:pt x="636" y="386"/>
                  </a:lnTo>
                  <a:lnTo>
                    <a:pt x="635" y="385"/>
                  </a:lnTo>
                  <a:lnTo>
                    <a:pt x="629" y="375"/>
                  </a:lnTo>
                  <a:lnTo>
                    <a:pt x="624" y="367"/>
                  </a:lnTo>
                  <a:lnTo>
                    <a:pt x="618" y="359"/>
                  </a:lnTo>
                  <a:lnTo>
                    <a:pt x="614" y="355"/>
                  </a:lnTo>
                  <a:lnTo>
                    <a:pt x="611" y="352"/>
                  </a:lnTo>
                  <a:lnTo>
                    <a:pt x="604" y="345"/>
                  </a:lnTo>
                  <a:lnTo>
                    <a:pt x="596" y="340"/>
                  </a:lnTo>
                  <a:lnTo>
                    <a:pt x="587" y="335"/>
                  </a:lnTo>
                  <a:lnTo>
                    <a:pt x="577" y="330"/>
                  </a:lnTo>
                  <a:lnTo>
                    <a:pt x="561" y="324"/>
                  </a:lnTo>
                  <a:lnTo>
                    <a:pt x="553" y="320"/>
                  </a:lnTo>
                  <a:lnTo>
                    <a:pt x="545" y="316"/>
                  </a:lnTo>
                  <a:lnTo>
                    <a:pt x="520" y="302"/>
                  </a:lnTo>
                  <a:lnTo>
                    <a:pt x="498" y="288"/>
                  </a:lnTo>
                  <a:lnTo>
                    <a:pt x="612" y="404"/>
                  </a:lnTo>
                  <a:lnTo>
                    <a:pt x="613" y="406"/>
                  </a:lnTo>
                  <a:lnTo>
                    <a:pt x="613" y="407"/>
                  </a:lnTo>
                  <a:lnTo>
                    <a:pt x="613" y="409"/>
                  </a:lnTo>
                  <a:lnTo>
                    <a:pt x="612" y="411"/>
                  </a:lnTo>
                  <a:lnTo>
                    <a:pt x="610" y="412"/>
                  </a:lnTo>
                  <a:lnTo>
                    <a:pt x="609" y="412"/>
                  </a:lnTo>
                  <a:lnTo>
                    <a:pt x="607" y="412"/>
                  </a:lnTo>
                  <a:lnTo>
                    <a:pt x="605" y="411"/>
                  </a:lnTo>
                  <a:lnTo>
                    <a:pt x="515" y="319"/>
                  </a:lnTo>
                  <a:lnTo>
                    <a:pt x="585" y="403"/>
                  </a:lnTo>
                  <a:lnTo>
                    <a:pt x="586" y="405"/>
                  </a:lnTo>
                  <a:lnTo>
                    <a:pt x="586" y="407"/>
                  </a:lnTo>
                  <a:lnTo>
                    <a:pt x="586" y="409"/>
                  </a:lnTo>
                  <a:lnTo>
                    <a:pt x="584" y="410"/>
                  </a:lnTo>
                  <a:lnTo>
                    <a:pt x="583" y="411"/>
                  </a:lnTo>
                  <a:lnTo>
                    <a:pt x="581" y="411"/>
                  </a:lnTo>
                  <a:lnTo>
                    <a:pt x="579" y="411"/>
                  </a:lnTo>
                  <a:lnTo>
                    <a:pt x="578" y="409"/>
                  </a:lnTo>
                  <a:lnTo>
                    <a:pt x="456" y="263"/>
                  </a:lnTo>
                  <a:lnTo>
                    <a:pt x="519" y="407"/>
                  </a:lnTo>
                  <a:lnTo>
                    <a:pt x="519" y="410"/>
                  </a:lnTo>
                  <a:lnTo>
                    <a:pt x="519" y="411"/>
                  </a:lnTo>
                  <a:lnTo>
                    <a:pt x="518" y="413"/>
                  </a:lnTo>
                  <a:lnTo>
                    <a:pt x="516" y="414"/>
                  </a:lnTo>
                  <a:lnTo>
                    <a:pt x="515" y="414"/>
                  </a:lnTo>
                  <a:lnTo>
                    <a:pt x="513" y="414"/>
                  </a:lnTo>
                  <a:lnTo>
                    <a:pt x="511" y="413"/>
                  </a:lnTo>
                  <a:lnTo>
                    <a:pt x="510" y="411"/>
                  </a:lnTo>
                  <a:lnTo>
                    <a:pt x="450" y="272"/>
                  </a:lnTo>
                  <a:lnTo>
                    <a:pt x="461" y="366"/>
                  </a:lnTo>
                  <a:lnTo>
                    <a:pt x="461" y="368"/>
                  </a:lnTo>
                  <a:lnTo>
                    <a:pt x="460" y="369"/>
                  </a:lnTo>
                  <a:lnTo>
                    <a:pt x="458" y="370"/>
                  </a:lnTo>
                  <a:lnTo>
                    <a:pt x="457" y="371"/>
                  </a:lnTo>
                  <a:lnTo>
                    <a:pt x="455" y="371"/>
                  </a:lnTo>
                  <a:lnTo>
                    <a:pt x="454" y="371"/>
                  </a:lnTo>
                  <a:lnTo>
                    <a:pt x="453" y="370"/>
                  </a:lnTo>
                  <a:lnTo>
                    <a:pt x="452" y="369"/>
                  </a:lnTo>
                  <a:lnTo>
                    <a:pt x="451" y="367"/>
                  </a:lnTo>
                  <a:lnTo>
                    <a:pt x="444" y="301"/>
                  </a:lnTo>
                  <a:lnTo>
                    <a:pt x="442" y="369"/>
                  </a:lnTo>
                  <a:lnTo>
                    <a:pt x="442" y="371"/>
                  </a:lnTo>
                  <a:lnTo>
                    <a:pt x="441" y="373"/>
                  </a:lnTo>
                  <a:lnTo>
                    <a:pt x="439" y="373"/>
                  </a:lnTo>
                  <a:lnTo>
                    <a:pt x="437" y="374"/>
                  </a:lnTo>
                  <a:lnTo>
                    <a:pt x="436" y="373"/>
                  </a:lnTo>
                  <a:lnTo>
                    <a:pt x="434" y="372"/>
                  </a:lnTo>
                  <a:lnTo>
                    <a:pt x="433" y="371"/>
                  </a:lnTo>
                  <a:lnTo>
                    <a:pt x="433" y="370"/>
                  </a:lnTo>
                  <a:lnTo>
                    <a:pt x="433" y="369"/>
                  </a:lnTo>
                  <a:lnTo>
                    <a:pt x="43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8" name="Freeform 1956"/>
            <p:cNvSpPr>
              <a:spLocks noEditPoints="1"/>
            </p:cNvSpPr>
            <p:nvPr userDrawn="1"/>
          </p:nvSpPr>
          <p:spPr bwMode="auto">
            <a:xfrm>
              <a:off x="6311900" y="3792538"/>
              <a:ext cx="1062038" cy="923925"/>
            </a:xfrm>
            <a:custGeom>
              <a:avLst/>
              <a:gdLst>
                <a:gd name="T0" fmla="*/ 148 w 669"/>
                <a:gd name="T1" fmla="*/ 232 h 582"/>
                <a:gd name="T2" fmla="*/ 594 w 669"/>
                <a:gd name="T3" fmla="*/ 543 h 582"/>
                <a:gd name="T4" fmla="*/ 587 w 669"/>
                <a:gd name="T5" fmla="*/ 553 h 582"/>
                <a:gd name="T6" fmla="*/ 555 w 669"/>
                <a:gd name="T7" fmla="*/ 508 h 582"/>
                <a:gd name="T8" fmla="*/ 622 w 669"/>
                <a:gd name="T9" fmla="*/ 540 h 582"/>
                <a:gd name="T10" fmla="*/ 568 w 669"/>
                <a:gd name="T11" fmla="*/ 512 h 582"/>
                <a:gd name="T12" fmla="*/ 284 w 669"/>
                <a:gd name="T13" fmla="*/ 308 h 582"/>
                <a:gd name="T14" fmla="*/ 409 w 669"/>
                <a:gd name="T15" fmla="*/ 415 h 582"/>
                <a:gd name="T16" fmla="*/ 556 w 669"/>
                <a:gd name="T17" fmla="*/ 499 h 582"/>
                <a:gd name="T18" fmla="*/ 619 w 669"/>
                <a:gd name="T19" fmla="*/ 526 h 582"/>
                <a:gd name="T20" fmla="*/ 669 w 669"/>
                <a:gd name="T21" fmla="*/ 576 h 582"/>
                <a:gd name="T22" fmla="*/ 645 w 669"/>
                <a:gd name="T23" fmla="*/ 581 h 582"/>
                <a:gd name="T24" fmla="*/ 587 w 669"/>
                <a:gd name="T25" fmla="*/ 564 h 582"/>
                <a:gd name="T26" fmla="*/ 539 w 669"/>
                <a:gd name="T27" fmla="*/ 518 h 582"/>
                <a:gd name="T28" fmla="*/ 403 w 669"/>
                <a:gd name="T29" fmla="*/ 422 h 582"/>
                <a:gd name="T30" fmla="*/ 277 w 669"/>
                <a:gd name="T31" fmla="*/ 314 h 582"/>
                <a:gd name="T32" fmla="*/ 78 w 669"/>
                <a:gd name="T33" fmla="*/ 386 h 582"/>
                <a:gd name="T34" fmla="*/ 74 w 669"/>
                <a:gd name="T35" fmla="*/ 378 h 582"/>
                <a:gd name="T36" fmla="*/ 112 w 669"/>
                <a:gd name="T37" fmla="*/ 322 h 582"/>
                <a:gd name="T38" fmla="*/ 60 w 669"/>
                <a:gd name="T39" fmla="*/ 364 h 582"/>
                <a:gd name="T40" fmla="*/ 90 w 669"/>
                <a:gd name="T41" fmla="*/ 328 h 582"/>
                <a:gd name="T42" fmla="*/ 36 w 669"/>
                <a:gd name="T43" fmla="*/ 330 h 582"/>
                <a:gd name="T44" fmla="*/ 32 w 669"/>
                <a:gd name="T45" fmla="*/ 322 h 582"/>
                <a:gd name="T46" fmla="*/ 124 w 669"/>
                <a:gd name="T47" fmla="*/ 266 h 582"/>
                <a:gd name="T48" fmla="*/ 41 w 669"/>
                <a:gd name="T49" fmla="*/ 292 h 582"/>
                <a:gd name="T50" fmla="*/ 1 w 669"/>
                <a:gd name="T51" fmla="*/ 307 h 582"/>
                <a:gd name="T52" fmla="*/ 51 w 669"/>
                <a:gd name="T53" fmla="*/ 278 h 582"/>
                <a:gd name="T54" fmla="*/ 86 w 669"/>
                <a:gd name="T55" fmla="*/ 246 h 582"/>
                <a:gd name="T56" fmla="*/ 57 w 669"/>
                <a:gd name="T57" fmla="*/ 257 h 582"/>
                <a:gd name="T58" fmla="*/ 13 w 669"/>
                <a:gd name="T59" fmla="*/ 241 h 582"/>
                <a:gd name="T60" fmla="*/ 15 w 669"/>
                <a:gd name="T61" fmla="*/ 232 h 582"/>
                <a:gd name="T62" fmla="*/ 150 w 669"/>
                <a:gd name="T63" fmla="*/ 222 h 582"/>
                <a:gd name="T64" fmla="*/ 87 w 669"/>
                <a:gd name="T65" fmla="*/ 106 h 582"/>
                <a:gd name="T66" fmla="*/ 92 w 669"/>
                <a:gd name="T67" fmla="*/ 98 h 582"/>
                <a:gd name="T68" fmla="*/ 196 w 669"/>
                <a:gd name="T69" fmla="*/ 172 h 582"/>
                <a:gd name="T70" fmla="*/ 146 w 669"/>
                <a:gd name="T71" fmla="*/ 93 h 582"/>
                <a:gd name="T72" fmla="*/ 108 w 669"/>
                <a:gd name="T73" fmla="*/ 48 h 582"/>
                <a:gd name="T74" fmla="*/ 135 w 669"/>
                <a:gd name="T75" fmla="*/ 66 h 582"/>
                <a:gd name="T76" fmla="*/ 190 w 669"/>
                <a:gd name="T77" fmla="*/ 140 h 582"/>
                <a:gd name="T78" fmla="*/ 229 w 669"/>
                <a:gd name="T79" fmla="*/ 197 h 582"/>
                <a:gd name="T80" fmla="*/ 224 w 669"/>
                <a:gd name="T81" fmla="*/ 89 h 582"/>
                <a:gd name="T82" fmla="*/ 204 w 669"/>
                <a:gd name="T83" fmla="*/ 5 h 582"/>
                <a:gd name="T84" fmla="*/ 220 w 669"/>
                <a:gd name="T85" fmla="*/ 29 h 582"/>
                <a:gd name="T86" fmla="*/ 239 w 669"/>
                <a:gd name="T87" fmla="*/ 145 h 582"/>
                <a:gd name="T88" fmla="*/ 244 w 669"/>
                <a:gd name="T89" fmla="*/ 98 h 582"/>
                <a:gd name="T90" fmla="*/ 230 w 669"/>
                <a:gd name="T91" fmla="*/ 2 h 582"/>
                <a:gd name="T92" fmla="*/ 242 w 669"/>
                <a:gd name="T93" fmla="*/ 14 h 582"/>
                <a:gd name="T94" fmla="*/ 254 w 669"/>
                <a:gd name="T95" fmla="*/ 107 h 582"/>
                <a:gd name="T96" fmla="*/ 260 w 669"/>
                <a:gd name="T97" fmla="*/ 152 h 582"/>
                <a:gd name="T98" fmla="*/ 273 w 669"/>
                <a:gd name="T99" fmla="*/ 79 h 582"/>
                <a:gd name="T100" fmla="*/ 311 w 669"/>
                <a:gd name="T101" fmla="*/ 14 h 582"/>
                <a:gd name="T102" fmla="*/ 319 w 669"/>
                <a:gd name="T103" fmla="*/ 19 h 582"/>
                <a:gd name="T104" fmla="*/ 285 w 669"/>
                <a:gd name="T105" fmla="*/ 71 h 582"/>
                <a:gd name="T106" fmla="*/ 272 w 669"/>
                <a:gd name="T107" fmla="*/ 147 h 582"/>
                <a:gd name="T108" fmla="*/ 347 w 669"/>
                <a:gd name="T109" fmla="*/ 35 h 582"/>
                <a:gd name="T110" fmla="*/ 349 w 669"/>
                <a:gd name="T111" fmla="*/ 63 h 582"/>
                <a:gd name="T112" fmla="*/ 358 w 669"/>
                <a:gd name="T113" fmla="*/ 67 h 582"/>
                <a:gd name="T114" fmla="*/ 378 w 669"/>
                <a:gd name="T115" fmla="*/ 126 h 582"/>
                <a:gd name="T116" fmla="*/ 349 w 669"/>
                <a:gd name="T117" fmla="*/ 192 h 582"/>
                <a:gd name="T118" fmla="*/ 351 w 669"/>
                <a:gd name="T119" fmla="*/ 202 h 582"/>
                <a:gd name="T120" fmla="*/ 362 w 669"/>
                <a:gd name="T121" fmla="*/ 21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9" h="582">
                  <a:moveTo>
                    <a:pt x="205" y="243"/>
                  </a:moveTo>
                  <a:lnTo>
                    <a:pt x="196" y="239"/>
                  </a:lnTo>
                  <a:lnTo>
                    <a:pt x="186" y="236"/>
                  </a:lnTo>
                  <a:lnTo>
                    <a:pt x="177" y="234"/>
                  </a:lnTo>
                  <a:lnTo>
                    <a:pt x="167" y="233"/>
                  </a:lnTo>
                  <a:lnTo>
                    <a:pt x="157" y="232"/>
                  </a:lnTo>
                  <a:lnTo>
                    <a:pt x="148" y="232"/>
                  </a:lnTo>
                  <a:lnTo>
                    <a:pt x="137" y="233"/>
                  </a:lnTo>
                  <a:lnTo>
                    <a:pt x="127" y="234"/>
                  </a:lnTo>
                  <a:lnTo>
                    <a:pt x="117" y="235"/>
                  </a:lnTo>
                  <a:lnTo>
                    <a:pt x="109" y="237"/>
                  </a:lnTo>
                  <a:lnTo>
                    <a:pt x="205" y="243"/>
                  </a:lnTo>
                  <a:close/>
                  <a:moveTo>
                    <a:pt x="644" y="572"/>
                  </a:moveTo>
                  <a:lnTo>
                    <a:pt x="594" y="543"/>
                  </a:lnTo>
                  <a:lnTo>
                    <a:pt x="548" y="515"/>
                  </a:lnTo>
                  <a:lnTo>
                    <a:pt x="553" y="522"/>
                  </a:lnTo>
                  <a:lnTo>
                    <a:pt x="558" y="528"/>
                  </a:lnTo>
                  <a:lnTo>
                    <a:pt x="564" y="535"/>
                  </a:lnTo>
                  <a:lnTo>
                    <a:pt x="571" y="541"/>
                  </a:lnTo>
                  <a:lnTo>
                    <a:pt x="579" y="547"/>
                  </a:lnTo>
                  <a:lnTo>
                    <a:pt x="587" y="553"/>
                  </a:lnTo>
                  <a:lnTo>
                    <a:pt x="596" y="557"/>
                  </a:lnTo>
                  <a:lnTo>
                    <a:pt x="605" y="562"/>
                  </a:lnTo>
                  <a:lnTo>
                    <a:pt x="615" y="565"/>
                  </a:lnTo>
                  <a:lnTo>
                    <a:pt x="625" y="568"/>
                  </a:lnTo>
                  <a:lnTo>
                    <a:pt x="634" y="571"/>
                  </a:lnTo>
                  <a:lnTo>
                    <a:pt x="644" y="572"/>
                  </a:lnTo>
                  <a:close/>
                  <a:moveTo>
                    <a:pt x="555" y="508"/>
                  </a:moveTo>
                  <a:lnTo>
                    <a:pt x="599" y="535"/>
                  </a:lnTo>
                  <a:lnTo>
                    <a:pt x="647" y="563"/>
                  </a:lnTo>
                  <a:lnTo>
                    <a:pt x="642" y="558"/>
                  </a:lnTo>
                  <a:lnTo>
                    <a:pt x="638" y="553"/>
                  </a:lnTo>
                  <a:lnTo>
                    <a:pt x="633" y="549"/>
                  </a:lnTo>
                  <a:lnTo>
                    <a:pt x="628" y="544"/>
                  </a:lnTo>
                  <a:lnTo>
                    <a:pt x="622" y="540"/>
                  </a:lnTo>
                  <a:lnTo>
                    <a:pt x="617" y="536"/>
                  </a:lnTo>
                  <a:lnTo>
                    <a:pt x="611" y="532"/>
                  </a:lnTo>
                  <a:lnTo>
                    <a:pt x="605" y="528"/>
                  </a:lnTo>
                  <a:lnTo>
                    <a:pt x="593" y="522"/>
                  </a:lnTo>
                  <a:lnTo>
                    <a:pt x="587" y="519"/>
                  </a:lnTo>
                  <a:lnTo>
                    <a:pt x="581" y="516"/>
                  </a:lnTo>
                  <a:lnTo>
                    <a:pt x="568" y="512"/>
                  </a:lnTo>
                  <a:lnTo>
                    <a:pt x="561" y="510"/>
                  </a:lnTo>
                  <a:lnTo>
                    <a:pt x="555" y="508"/>
                  </a:lnTo>
                  <a:close/>
                  <a:moveTo>
                    <a:pt x="236" y="251"/>
                  </a:moveTo>
                  <a:lnTo>
                    <a:pt x="251" y="271"/>
                  </a:lnTo>
                  <a:lnTo>
                    <a:pt x="259" y="281"/>
                  </a:lnTo>
                  <a:lnTo>
                    <a:pt x="268" y="290"/>
                  </a:lnTo>
                  <a:lnTo>
                    <a:pt x="284" y="308"/>
                  </a:lnTo>
                  <a:lnTo>
                    <a:pt x="301" y="325"/>
                  </a:lnTo>
                  <a:lnTo>
                    <a:pt x="319" y="342"/>
                  </a:lnTo>
                  <a:lnTo>
                    <a:pt x="337" y="358"/>
                  </a:lnTo>
                  <a:lnTo>
                    <a:pt x="356" y="374"/>
                  </a:lnTo>
                  <a:lnTo>
                    <a:pt x="376" y="390"/>
                  </a:lnTo>
                  <a:lnTo>
                    <a:pt x="393" y="403"/>
                  </a:lnTo>
                  <a:lnTo>
                    <a:pt x="409" y="415"/>
                  </a:lnTo>
                  <a:lnTo>
                    <a:pt x="424" y="425"/>
                  </a:lnTo>
                  <a:lnTo>
                    <a:pt x="439" y="434"/>
                  </a:lnTo>
                  <a:lnTo>
                    <a:pt x="469" y="453"/>
                  </a:lnTo>
                  <a:lnTo>
                    <a:pt x="503" y="476"/>
                  </a:lnTo>
                  <a:lnTo>
                    <a:pt x="536" y="496"/>
                  </a:lnTo>
                  <a:lnTo>
                    <a:pt x="546" y="497"/>
                  </a:lnTo>
                  <a:lnTo>
                    <a:pt x="556" y="499"/>
                  </a:lnTo>
                  <a:lnTo>
                    <a:pt x="566" y="501"/>
                  </a:lnTo>
                  <a:lnTo>
                    <a:pt x="575" y="504"/>
                  </a:lnTo>
                  <a:lnTo>
                    <a:pt x="584" y="508"/>
                  </a:lnTo>
                  <a:lnTo>
                    <a:pt x="594" y="511"/>
                  </a:lnTo>
                  <a:lnTo>
                    <a:pt x="603" y="516"/>
                  </a:lnTo>
                  <a:lnTo>
                    <a:pt x="611" y="521"/>
                  </a:lnTo>
                  <a:lnTo>
                    <a:pt x="619" y="526"/>
                  </a:lnTo>
                  <a:lnTo>
                    <a:pt x="627" y="532"/>
                  </a:lnTo>
                  <a:lnTo>
                    <a:pt x="635" y="538"/>
                  </a:lnTo>
                  <a:lnTo>
                    <a:pt x="642" y="545"/>
                  </a:lnTo>
                  <a:lnTo>
                    <a:pt x="649" y="552"/>
                  </a:lnTo>
                  <a:lnTo>
                    <a:pt x="657" y="560"/>
                  </a:lnTo>
                  <a:lnTo>
                    <a:pt x="663" y="568"/>
                  </a:lnTo>
                  <a:lnTo>
                    <a:pt x="669" y="576"/>
                  </a:lnTo>
                  <a:lnTo>
                    <a:pt x="669" y="578"/>
                  </a:lnTo>
                  <a:lnTo>
                    <a:pt x="668" y="580"/>
                  </a:lnTo>
                  <a:lnTo>
                    <a:pt x="667" y="582"/>
                  </a:lnTo>
                  <a:lnTo>
                    <a:pt x="666" y="582"/>
                  </a:lnTo>
                  <a:lnTo>
                    <a:pt x="659" y="582"/>
                  </a:lnTo>
                  <a:lnTo>
                    <a:pt x="651" y="582"/>
                  </a:lnTo>
                  <a:lnTo>
                    <a:pt x="645" y="581"/>
                  </a:lnTo>
                  <a:lnTo>
                    <a:pt x="638" y="580"/>
                  </a:lnTo>
                  <a:lnTo>
                    <a:pt x="625" y="578"/>
                  </a:lnTo>
                  <a:lnTo>
                    <a:pt x="618" y="576"/>
                  </a:lnTo>
                  <a:lnTo>
                    <a:pt x="612" y="574"/>
                  </a:lnTo>
                  <a:lnTo>
                    <a:pt x="599" y="569"/>
                  </a:lnTo>
                  <a:lnTo>
                    <a:pt x="593" y="567"/>
                  </a:lnTo>
                  <a:lnTo>
                    <a:pt x="587" y="564"/>
                  </a:lnTo>
                  <a:lnTo>
                    <a:pt x="576" y="557"/>
                  </a:lnTo>
                  <a:lnTo>
                    <a:pt x="570" y="553"/>
                  </a:lnTo>
                  <a:lnTo>
                    <a:pt x="565" y="548"/>
                  </a:lnTo>
                  <a:lnTo>
                    <a:pt x="554" y="539"/>
                  </a:lnTo>
                  <a:lnTo>
                    <a:pt x="550" y="534"/>
                  </a:lnTo>
                  <a:lnTo>
                    <a:pt x="546" y="529"/>
                  </a:lnTo>
                  <a:lnTo>
                    <a:pt x="539" y="518"/>
                  </a:lnTo>
                  <a:lnTo>
                    <a:pt x="535" y="512"/>
                  </a:lnTo>
                  <a:lnTo>
                    <a:pt x="532" y="505"/>
                  </a:lnTo>
                  <a:lnTo>
                    <a:pt x="498" y="484"/>
                  </a:lnTo>
                  <a:lnTo>
                    <a:pt x="464" y="461"/>
                  </a:lnTo>
                  <a:lnTo>
                    <a:pt x="433" y="442"/>
                  </a:lnTo>
                  <a:lnTo>
                    <a:pt x="418" y="433"/>
                  </a:lnTo>
                  <a:lnTo>
                    <a:pt x="403" y="422"/>
                  </a:lnTo>
                  <a:lnTo>
                    <a:pt x="388" y="411"/>
                  </a:lnTo>
                  <a:lnTo>
                    <a:pt x="371" y="398"/>
                  </a:lnTo>
                  <a:lnTo>
                    <a:pt x="350" y="382"/>
                  </a:lnTo>
                  <a:lnTo>
                    <a:pt x="331" y="365"/>
                  </a:lnTo>
                  <a:lnTo>
                    <a:pt x="312" y="349"/>
                  </a:lnTo>
                  <a:lnTo>
                    <a:pt x="294" y="332"/>
                  </a:lnTo>
                  <a:lnTo>
                    <a:pt x="277" y="314"/>
                  </a:lnTo>
                  <a:lnTo>
                    <a:pt x="261" y="296"/>
                  </a:lnTo>
                  <a:lnTo>
                    <a:pt x="244" y="277"/>
                  </a:lnTo>
                  <a:lnTo>
                    <a:pt x="236" y="267"/>
                  </a:lnTo>
                  <a:lnTo>
                    <a:pt x="228" y="257"/>
                  </a:lnTo>
                  <a:lnTo>
                    <a:pt x="225" y="258"/>
                  </a:lnTo>
                  <a:lnTo>
                    <a:pt x="80" y="385"/>
                  </a:lnTo>
                  <a:lnTo>
                    <a:pt x="78" y="386"/>
                  </a:lnTo>
                  <a:lnTo>
                    <a:pt x="76" y="386"/>
                  </a:lnTo>
                  <a:lnTo>
                    <a:pt x="75" y="386"/>
                  </a:lnTo>
                  <a:lnTo>
                    <a:pt x="73" y="385"/>
                  </a:lnTo>
                  <a:lnTo>
                    <a:pt x="72" y="383"/>
                  </a:lnTo>
                  <a:lnTo>
                    <a:pt x="72" y="382"/>
                  </a:lnTo>
                  <a:lnTo>
                    <a:pt x="72" y="380"/>
                  </a:lnTo>
                  <a:lnTo>
                    <a:pt x="74" y="378"/>
                  </a:lnTo>
                  <a:lnTo>
                    <a:pt x="198" y="270"/>
                  </a:lnTo>
                  <a:lnTo>
                    <a:pt x="180" y="279"/>
                  </a:lnTo>
                  <a:lnTo>
                    <a:pt x="171" y="283"/>
                  </a:lnTo>
                  <a:lnTo>
                    <a:pt x="162" y="288"/>
                  </a:lnTo>
                  <a:lnTo>
                    <a:pt x="145" y="299"/>
                  </a:lnTo>
                  <a:lnTo>
                    <a:pt x="128" y="310"/>
                  </a:lnTo>
                  <a:lnTo>
                    <a:pt x="112" y="322"/>
                  </a:lnTo>
                  <a:lnTo>
                    <a:pt x="96" y="335"/>
                  </a:lnTo>
                  <a:lnTo>
                    <a:pt x="81" y="349"/>
                  </a:lnTo>
                  <a:lnTo>
                    <a:pt x="67" y="363"/>
                  </a:lnTo>
                  <a:lnTo>
                    <a:pt x="65" y="364"/>
                  </a:lnTo>
                  <a:lnTo>
                    <a:pt x="64" y="365"/>
                  </a:lnTo>
                  <a:lnTo>
                    <a:pt x="62" y="364"/>
                  </a:lnTo>
                  <a:lnTo>
                    <a:pt x="60" y="364"/>
                  </a:lnTo>
                  <a:lnTo>
                    <a:pt x="59" y="362"/>
                  </a:lnTo>
                  <a:lnTo>
                    <a:pt x="59" y="360"/>
                  </a:lnTo>
                  <a:lnTo>
                    <a:pt x="59" y="359"/>
                  </a:lnTo>
                  <a:lnTo>
                    <a:pt x="60" y="357"/>
                  </a:lnTo>
                  <a:lnTo>
                    <a:pt x="70" y="347"/>
                  </a:lnTo>
                  <a:lnTo>
                    <a:pt x="80" y="337"/>
                  </a:lnTo>
                  <a:lnTo>
                    <a:pt x="90" y="328"/>
                  </a:lnTo>
                  <a:lnTo>
                    <a:pt x="100" y="319"/>
                  </a:lnTo>
                  <a:lnTo>
                    <a:pt x="111" y="310"/>
                  </a:lnTo>
                  <a:lnTo>
                    <a:pt x="122" y="302"/>
                  </a:lnTo>
                  <a:lnTo>
                    <a:pt x="134" y="295"/>
                  </a:lnTo>
                  <a:lnTo>
                    <a:pt x="145" y="287"/>
                  </a:lnTo>
                  <a:lnTo>
                    <a:pt x="37" y="329"/>
                  </a:lnTo>
                  <a:lnTo>
                    <a:pt x="36" y="330"/>
                  </a:lnTo>
                  <a:lnTo>
                    <a:pt x="35" y="330"/>
                  </a:lnTo>
                  <a:lnTo>
                    <a:pt x="33" y="329"/>
                  </a:lnTo>
                  <a:lnTo>
                    <a:pt x="32" y="328"/>
                  </a:lnTo>
                  <a:lnTo>
                    <a:pt x="31" y="327"/>
                  </a:lnTo>
                  <a:lnTo>
                    <a:pt x="30" y="325"/>
                  </a:lnTo>
                  <a:lnTo>
                    <a:pt x="31" y="323"/>
                  </a:lnTo>
                  <a:lnTo>
                    <a:pt x="32" y="322"/>
                  </a:lnTo>
                  <a:lnTo>
                    <a:pt x="33" y="320"/>
                  </a:lnTo>
                  <a:lnTo>
                    <a:pt x="198" y="256"/>
                  </a:lnTo>
                  <a:lnTo>
                    <a:pt x="173" y="258"/>
                  </a:lnTo>
                  <a:lnTo>
                    <a:pt x="161" y="260"/>
                  </a:lnTo>
                  <a:lnTo>
                    <a:pt x="148" y="261"/>
                  </a:lnTo>
                  <a:lnTo>
                    <a:pt x="136" y="264"/>
                  </a:lnTo>
                  <a:lnTo>
                    <a:pt x="124" y="266"/>
                  </a:lnTo>
                  <a:lnTo>
                    <a:pt x="112" y="269"/>
                  </a:lnTo>
                  <a:lnTo>
                    <a:pt x="100" y="272"/>
                  </a:lnTo>
                  <a:lnTo>
                    <a:pt x="88" y="275"/>
                  </a:lnTo>
                  <a:lnTo>
                    <a:pt x="76" y="279"/>
                  </a:lnTo>
                  <a:lnTo>
                    <a:pt x="64" y="283"/>
                  </a:lnTo>
                  <a:lnTo>
                    <a:pt x="53" y="287"/>
                  </a:lnTo>
                  <a:lnTo>
                    <a:pt x="41" y="292"/>
                  </a:lnTo>
                  <a:lnTo>
                    <a:pt x="30" y="297"/>
                  </a:lnTo>
                  <a:lnTo>
                    <a:pt x="18" y="303"/>
                  </a:lnTo>
                  <a:lnTo>
                    <a:pt x="7" y="309"/>
                  </a:lnTo>
                  <a:lnTo>
                    <a:pt x="5" y="310"/>
                  </a:lnTo>
                  <a:lnTo>
                    <a:pt x="3" y="310"/>
                  </a:lnTo>
                  <a:lnTo>
                    <a:pt x="2" y="309"/>
                  </a:lnTo>
                  <a:lnTo>
                    <a:pt x="1" y="307"/>
                  </a:lnTo>
                  <a:lnTo>
                    <a:pt x="0" y="306"/>
                  </a:lnTo>
                  <a:lnTo>
                    <a:pt x="0" y="304"/>
                  </a:lnTo>
                  <a:lnTo>
                    <a:pt x="1" y="302"/>
                  </a:lnTo>
                  <a:lnTo>
                    <a:pt x="3" y="301"/>
                  </a:lnTo>
                  <a:lnTo>
                    <a:pt x="22" y="291"/>
                  </a:lnTo>
                  <a:lnTo>
                    <a:pt x="41" y="282"/>
                  </a:lnTo>
                  <a:lnTo>
                    <a:pt x="51" y="278"/>
                  </a:lnTo>
                  <a:lnTo>
                    <a:pt x="61" y="274"/>
                  </a:lnTo>
                  <a:lnTo>
                    <a:pt x="80" y="267"/>
                  </a:lnTo>
                  <a:lnTo>
                    <a:pt x="100" y="262"/>
                  </a:lnTo>
                  <a:lnTo>
                    <a:pt x="121" y="257"/>
                  </a:lnTo>
                  <a:lnTo>
                    <a:pt x="141" y="253"/>
                  </a:lnTo>
                  <a:lnTo>
                    <a:pt x="162" y="250"/>
                  </a:lnTo>
                  <a:lnTo>
                    <a:pt x="86" y="246"/>
                  </a:lnTo>
                  <a:lnTo>
                    <a:pt x="81" y="248"/>
                  </a:lnTo>
                  <a:lnTo>
                    <a:pt x="75" y="251"/>
                  </a:lnTo>
                  <a:lnTo>
                    <a:pt x="64" y="258"/>
                  </a:lnTo>
                  <a:lnTo>
                    <a:pt x="62" y="259"/>
                  </a:lnTo>
                  <a:lnTo>
                    <a:pt x="60" y="259"/>
                  </a:lnTo>
                  <a:lnTo>
                    <a:pt x="59" y="258"/>
                  </a:lnTo>
                  <a:lnTo>
                    <a:pt x="57" y="257"/>
                  </a:lnTo>
                  <a:lnTo>
                    <a:pt x="57" y="256"/>
                  </a:lnTo>
                  <a:lnTo>
                    <a:pt x="56" y="254"/>
                  </a:lnTo>
                  <a:lnTo>
                    <a:pt x="57" y="252"/>
                  </a:lnTo>
                  <a:lnTo>
                    <a:pt x="59" y="251"/>
                  </a:lnTo>
                  <a:lnTo>
                    <a:pt x="68" y="245"/>
                  </a:lnTo>
                  <a:lnTo>
                    <a:pt x="15" y="241"/>
                  </a:lnTo>
                  <a:lnTo>
                    <a:pt x="13" y="241"/>
                  </a:lnTo>
                  <a:lnTo>
                    <a:pt x="11" y="240"/>
                  </a:lnTo>
                  <a:lnTo>
                    <a:pt x="10" y="238"/>
                  </a:lnTo>
                  <a:lnTo>
                    <a:pt x="10" y="236"/>
                  </a:lnTo>
                  <a:lnTo>
                    <a:pt x="11" y="235"/>
                  </a:lnTo>
                  <a:lnTo>
                    <a:pt x="12" y="233"/>
                  </a:lnTo>
                  <a:lnTo>
                    <a:pt x="13" y="232"/>
                  </a:lnTo>
                  <a:lnTo>
                    <a:pt x="15" y="232"/>
                  </a:lnTo>
                  <a:lnTo>
                    <a:pt x="85" y="236"/>
                  </a:lnTo>
                  <a:lnTo>
                    <a:pt x="95" y="232"/>
                  </a:lnTo>
                  <a:lnTo>
                    <a:pt x="106" y="228"/>
                  </a:lnTo>
                  <a:lnTo>
                    <a:pt x="117" y="226"/>
                  </a:lnTo>
                  <a:lnTo>
                    <a:pt x="128" y="224"/>
                  </a:lnTo>
                  <a:lnTo>
                    <a:pt x="139" y="223"/>
                  </a:lnTo>
                  <a:lnTo>
                    <a:pt x="150" y="222"/>
                  </a:lnTo>
                  <a:lnTo>
                    <a:pt x="161" y="223"/>
                  </a:lnTo>
                  <a:lnTo>
                    <a:pt x="172" y="224"/>
                  </a:lnTo>
                  <a:lnTo>
                    <a:pt x="182" y="226"/>
                  </a:lnTo>
                  <a:lnTo>
                    <a:pt x="190" y="228"/>
                  </a:lnTo>
                  <a:lnTo>
                    <a:pt x="198" y="230"/>
                  </a:lnTo>
                  <a:lnTo>
                    <a:pt x="205" y="232"/>
                  </a:lnTo>
                  <a:lnTo>
                    <a:pt x="87" y="106"/>
                  </a:lnTo>
                  <a:lnTo>
                    <a:pt x="86" y="104"/>
                  </a:lnTo>
                  <a:lnTo>
                    <a:pt x="85" y="102"/>
                  </a:lnTo>
                  <a:lnTo>
                    <a:pt x="86" y="101"/>
                  </a:lnTo>
                  <a:lnTo>
                    <a:pt x="87" y="99"/>
                  </a:lnTo>
                  <a:lnTo>
                    <a:pt x="88" y="98"/>
                  </a:lnTo>
                  <a:lnTo>
                    <a:pt x="90" y="98"/>
                  </a:lnTo>
                  <a:lnTo>
                    <a:pt x="92" y="98"/>
                  </a:lnTo>
                  <a:lnTo>
                    <a:pt x="94" y="100"/>
                  </a:lnTo>
                  <a:lnTo>
                    <a:pt x="220" y="235"/>
                  </a:lnTo>
                  <a:lnTo>
                    <a:pt x="216" y="222"/>
                  </a:lnTo>
                  <a:lnTo>
                    <a:pt x="212" y="209"/>
                  </a:lnTo>
                  <a:lnTo>
                    <a:pt x="207" y="197"/>
                  </a:lnTo>
                  <a:lnTo>
                    <a:pt x="202" y="184"/>
                  </a:lnTo>
                  <a:lnTo>
                    <a:pt x="196" y="172"/>
                  </a:lnTo>
                  <a:lnTo>
                    <a:pt x="190" y="160"/>
                  </a:lnTo>
                  <a:lnTo>
                    <a:pt x="184" y="148"/>
                  </a:lnTo>
                  <a:lnTo>
                    <a:pt x="177" y="137"/>
                  </a:lnTo>
                  <a:lnTo>
                    <a:pt x="170" y="126"/>
                  </a:lnTo>
                  <a:lnTo>
                    <a:pt x="162" y="115"/>
                  </a:lnTo>
                  <a:lnTo>
                    <a:pt x="155" y="104"/>
                  </a:lnTo>
                  <a:lnTo>
                    <a:pt x="146" y="93"/>
                  </a:lnTo>
                  <a:lnTo>
                    <a:pt x="138" y="83"/>
                  </a:lnTo>
                  <a:lnTo>
                    <a:pt x="129" y="73"/>
                  </a:lnTo>
                  <a:lnTo>
                    <a:pt x="119" y="63"/>
                  </a:lnTo>
                  <a:lnTo>
                    <a:pt x="109" y="54"/>
                  </a:lnTo>
                  <a:lnTo>
                    <a:pt x="108" y="52"/>
                  </a:lnTo>
                  <a:lnTo>
                    <a:pt x="107" y="50"/>
                  </a:lnTo>
                  <a:lnTo>
                    <a:pt x="108" y="48"/>
                  </a:lnTo>
                  <a:lnTo>
                    <a:pt x="109" y="47"/>
                  </a:lnTo>
                  <a:lnTo>
                    <a:pt x="110" y="46"/>
                  </a:lnTo>
                  <a:lnTo>
                    <a:pt x="112" y="45"/>
                  </a:lnTo>
                  <a:lnTo>
                    <a:pt x="114" y="46"/>
                  </a:lnTo>
                  <a:lnTo>
                    <a:pt x="116" y="47"/>
                  </a:lnTo>
                  <a:lnTo>
                    <a:pt x="125" y="56"/>
                  </a:lnTo>
                  <a:lnTo>
                    <a:pt x="135" y="66"/>
                  </a:lnTo>
                  <a:lnTo>
                    <a:pt x="144" y="76"/>
                  </a:lnTo>
                  <a:lnTo>
                    <a:pt x="152" y="86"/>
                  </a:lnTo>
                  <a:lnTo>
                    <a:pt x="161" y="96"/>
                  </a:lnTo>
                  <a:lnTo>
                    <a:pt x="169" y="107"/>
                  </a:lnTo>
                  <a:lnTo>
                    <a:pt x="176" y="118"/>
                  </a:lnTo>
                  <a:lnTo>
                    <a:pt x="183" y="129"/>
                  </a:lnTo>
                  <a:lnTo>
                    <a:pt x="190" y="140"/>
                  </a:lnTo>
                  <a:lnTo>
                    <a:pt x="196" y="151"/>
                  </a:lnTo>
                  <a:lnTo>
                    <a:pt x="208" y="175"/>
                  </a:lnTo>
                  <a:lnTo>
                    <a:pt x="213" y="187"/>
                  </a:lnTo>
                  <a:lnTo>
                    <a:pt x="218" y="200"/>
                  </a:lnTo>
                  <a:lnTo>
                    <a:pt x="223" y="212"/>
                  </a:lnTo>
                  <a:lnTo>
                    <a:pt x="227" y="225"/>
                  </a:lnTo>
                  <a:lnTo>
                    <a:pt x="229" y="197"/>
                  </a:lnTo>
                  <a:lnTo>
                    <a:pt x="230" y="170"/>
                  </a:lnTo>
                  <a:lnTo>
                    <a:pt x="230" y="157"/>
                  </a:lnTo>
                  <a:lnTo>
                    <a:pt x="230" y="143"/>
                  </a:lnTo>
                  <a:lnTo>
                    <a:pt x="229" y="130"/>
                  </a:lnTo>
                  <a:lnTo>
                    <a:pt x="228" y="116"/>
                  </a:lnTo>
                  <a:lnTo>
                    <a:pt x="226" y="103"/>
                  </a:lnTo>
                  <a:lnTo>
                    <a:pt x="224" y="89"/>
                  </a:lnTo>
                  <a:lnTo>
                    <a:pt x="222" y="76"/>
                  </a:lnTo>
                  <a:lnTo>
                    <a:pt x="219" y="63"/>
                  </a:lnTo>
                  <a:lnTo>
                    <a:pt x="212" y="36"/>
                  </a:lnTo>
                  <a:lnTo>
                    <a:pt x="208" y="23"/>
                  </a:lnTo>
                  <a:lnTo>
                    <a:pt x="204" y="9"/>
                  </a:lnTo>
                  <a:lnTo>
                    <a:pt x="203" y="7"/>
                  </a:lnTo>
                  <a:lnTo>
                    <a:pt x="204" y="5"/>
                  </a:lnTo>
                  <a:lnTo>
                    <a:pt x="205" y="4"/>
                  </a:lnTo>
                  <a:lnTo>
                    <a:pt x="207" y="3"/>
                  </a:lnTo>
                  <a:lnTo>
                    <a:pt x="208" y="3"/>
                  </a:lnTo>
                  <a:lnTo>
                    <a:pt x="210" y="3"/>
                  </a:lnTo>
                  <a:lnTo>
                    <a:pt x="212" y="4"/>
                  </a:lnTo>
                  <a:lnTo>
                    <a:pt x="213" y="6"/>
                  </a:lnTo>
                  <a:lnTo>
                    <a:pt x="220" y="29"/>
                  </a:lnTo>
                  <a:lnTo>
                    <a:pt x="224" y="41"/>
                  </a:lnTo>
                  <a:lnTo>
                    <a:pt x="226" y="52"/>
                  </a:lnTo>
                  <a:lnTo>
                    <a:pt x="231" y="75"/>
                  </a:lnTo>
                  <a:lnTo>
                    <a:pt x="235" y="98"/>
                  </a:lnTo>
                  <a:lnTo>
                    <a:pt x="237" y="110"/>
                  </a:lnTo>
                  <a:lnTo>
                    <a:pt x="238" y="121"/>
                  </a:lnTo>
                  <a:lnTo>
                    <a:pt x="239" y="145"/>
                  </a:lnTo>
                  <a:lnTo>
                    <a:pt x="240" y="168"/>
                  </a:lnTo>
                  <a:lnTo>
                    <a:pt x="239" y="191"/>
                  </a:lnTo>
                  <a:lnTo>
                    <a:pt x="242" y="168"/>
                  </a:lnTo>
                  <a:lnTo>
                    <a:pt x="244" y="145"/>
                  </a:lnTo>
                  <a:lnTo>
                    <a:pt x="245" y="121"/>
                  </a:lnTo>
                  <a:lnTo>
                    <a:pt x="245" y="110"/>
                  </a:lnTo>
                  <a:lnTo>
                    <a:pt x="244" y="98"/>
                  </a:lnTo>
                  <a:lnTo>
                    <a:pt x="244" y="86"/>
                  </a:lnTo>
                  <a:lnTo>
                    <a:pt x="243" y="75"/>
                  </a:lnTo>
                  <a:lnTo>
                    <a:pt x="240" y="52"/>
                  </a:lnTo>
                  <a:lnTo>
                    <a:pt x="235" y="28"/>
                  </a:lnTo>
                  <a:lnTo>
                    <a:pt x="230" y="6"/>
                  </a:lnTo>
                  <a:lnTo>
                    <a:pt x="230" y="3"/>
                  </a:lnTo>
                  <a:lnTo>
                    <a:pt x="230" y="2"/>
                  </a:lnTo>
                  <a:lnTo>
                    <a:pt x="231" y="0"/>
                  </a:lnTo>
                  <a:lnTo>
                    <a:pt x="233" y="0"/>
                  </a:lnTo>
                  <a:lnTo>
                    <a:pt x="235" y="0"/>
                  </a:lnTo>
                  <a:lnTo>
                    <a:pt x="237" y="0"/>
                  </a:lnTo>
                  <a:lnTo>
                    <a:pt x="238" y="1"/>
                  </a:lnTo>
                  <a:lnTo>
                    <a:pt x="239" y="3"/>
                  </a:lnTo>
                  <a:lnTo>
                    <a:pt x="242" y="14"/>
                  </a:lnTo>
                  <a:lnTo>
                    <a:pt x="244" y="26"/>
                  </a:lnTo>
                  <a:lnTo>
                    <a:pt x="247" y="37"/>
                  </a:lnTo>
                  <a:lnTo>
                    <a:pt x="249" y="49"/>
                  </a:lnTo>
                  <a:lnTo>
                    <a:pt x="252" y="72"/>
                  </a:lnTo>
                  <a:lnTo>
                    <a:pt x="253" y="84"/>
                  </a:lnTo>
                  <a:lnTo>
                    <a:pt x="254" y="95"/>
                  </a:lnTo>
                  <a:lnTo>
                    <a:pt x="254" y="107"/>
                  </a:lnTo>
                  <a:lnTo>
                    <a:pt x="254" y="118"/>
                  </a:lnTo>
                  <a:lnTo>
                    <a:pt x="254" y="142"/>
                  </a:lnTo>
                  <a:lnTo>
                    <a:pt x="252" y="165"/>
                  </a:lnTo>
                  <a:lnTo>
                    <a:pt x="249" y="188"/>
                  </a:lnTo>
                  <a:lnTo>
                    <a:pt x="253" y="176"/>
                  </a:lnTo>
                  <a:lnTo>
                    <a:pt x="257" y="164"/>
                  </a:lnTo>
                  <a:lnTo>
                    <a:pt x="260" y="152"/>
                  </a:lnTo>
                  <a:lnTo>
                    <a:pt x="264" y="140"/>
                  </a:lnTo>
                  <a:lnTo>
                    <a:pt x="266" y="128"/>
                  </a:lnTo>
                  <a:lnTo>
                    <a:pt x="269" y="116"/>
                  </a:lnTo>
                  <a:lnTo>
                    <a:pt x="270" y="103"/>
                  </a:lnTo>
                  <a:lnTo>
                    <a:pt x="272" y="90"/>
                  </a:lnTo>
                  <a:lnTo>
                    <a:pt x="273" y="84"/>
                  </a:lnTo>
                  <a:lnTo>
                    <a:pt x="273" y="79"/>
                  </a:lnTo>
                  <a:lnTo>
                    <a:pt x="276" y="68"/>
                  </a:lnTo>
                  <a:lnTo>
                    <a:pt x="280" y="58"/>
                  </a:lnTo>
                  <a:lnTo>
                    <a:pt x="284" y="48"/>
                  </a:lnTo>
                  <a:lnTo>
                    <a:pt x="289" y="39"/>
                  </a:lnTo>
                  <a:lnTo>
                    <a:pt x="296" y="30"/>
                  </a:lnTo>
                  <a:lnTo>
                    <a:pt x="303" y="22"/>
                  </a:lnTo>
                  <a:lnTo>
                    <a:pt x="311" y="14"/>
                  </a:lnTo>
                  <a:lnTo>
                    <a:pt x="313" y="13"/>
                  </a:lnTo>
                  <a:lnTo>
                    <a:pt x="315" y="12"/>
                  </a:lnTo>
                  <a:lnTo>
                    <a:pt x="316" y="13"/>
                  </a:lnTo>
                  <a:lnTo>
                    <a:pt x="318" y="14"/>
                  </a:lnTo>
                  <a:lnTo>
                    <a:pt x="319" y="16"/>
                  </a:lnTo>
                  <a:lnTo>
                    <a:pt x="319" y="17"/>
                  </a:lnTo>
                  <a:lnTo>
                    <a:pt x="319" y="19"/>
                  </a:lnTo>
                  <a:lnTo>
                    <a:pt x="318" y="21"/>
                  </a:lnTo>
                  <a:lnTo>
                    <a:pt x="310" y="28"/>
                  </a:lnTo>
                  <a:lnTo>
                    <a:pt x="303" y="36"/>
                  </a:lnTo>
                  <a:lnTo>
                    <a:pt x="298" y="44"/>
                  </a:lnTo>
                  <a:lnTo>
                    <a:pt x="293" y="52"/>
                  </a:lnTo>
                  <a:lnTo>
                    <a:pt x="288" y="61"/>
                  </a:lnTo>
                  <a:lnTo>
                    <a:pt x="285" y="71"/>
                  </a:lnTo>
                  <a:lnTo>
                    <a:pt x="283" y="81"/>
                  </a:lnTo>
                  <a:lnTo>
                    <a:pt x="282" y="86"/>
                  </a:lnTo>
                  <a:lnTo>
                    <a:pt x="281" y="91"/>
                  </a:lnTo>
                  <a:lnTo>
                    <a:pt x="278" y="114"/>
                  </a:lnTo>
                  <a:lnTo>
                    <a:pt x="277" y="125"/>
                  </a:lnTo>
                  <a:lnTo>
                    <a:pt x="274" y="136"/>
                  </a:lnTo>
                  <a:lnTo>
                    <a:pt x="272" y="147"/>
                  </a:lnTo>
                  <a:lnTo>
                    <a:pt x="269" y="157"/>
                  </a:lnTo>
                  <a:lnTo>
                    <a:pt x="262" y="179"/>
                  </a:lnTo>
                  <a:lnTo>
                    <a:pt x="342" y="37"/>
                  </a:lnTo>
                  <a:lnTo>
                    <a:pt x="343" y="36"/>
                  </a:lnTo>
                  <a:lnTo>
                    <a:pt x="344" y="36"/>
                  </a:lnTo>
                  <a:lnTo>
                    <a:pt x="345" y="35"/>
                  </a:lnTo>
                  <a:lnTo>
                    <a:pt x="347" y="35"/>
                  </a:lnTo>
                  <a:lnTo>
                    <a:pt x="349" y="36"/>
                  </a:lnTo>
                  <a:lnTo>
                    <a:pt x="350" y="37"/>
                  </a:lnTo>
                  <a:lnTo>
                    <a:pt x="351" y="38"/>
                  </a:lnTo>
                  <a:lnTo>
                    <a:pt x="351" y="40"/>
                  </a:lnTo>
                  <a:lnTo>
                    <a:pt x="351" y="42"/>
                  </a:lnTo>
                  <a:lnTo>
                    <a:pt x="287" y="154"/>
                  </a:lnTo>
                  <a:lnTo>
                    <a:pt x="349" y="63"/>
                  </a:lnTo>
                  <a:lnTo>
                    <a:pt x="351" y="62"/>
                  </a:lnTo>
                  <a:lnTo>
                    <a:pt x="353" y="61"/>
                  </a:lnTo>
                  <a:lnTo>
                    <a:pt x="354" y="61"/>
                  </a:lnTo>
                  <a:lnTo>
                    <a:pt x="356" y="62"/>
                  </a:lnTo>
                  <a:lnTo>
                    <a:pt x="357" y="63"/>
                  </a:lnTo>
                  <a:lnTo>
                    <a:pt x="358" y="65"/>
                  </a:lnTo>
                  <a:lnTo>
                    <a:pt x="358" y="67"/>
                  </a:lnTo>
                  <a:lnTo>
                    <a:pt x="357" y="69"/>
                  </a:lnTo>
                  <a:lnTo>
                    <a:pt x="250" y="226"/>
                  </a:lnTo>
                  <a:lnTo>
                    <a:pt x="371" y="126"/>
                  </a:lnTo>
                  <a:lnTo>
                    <a:pt x="373" y="125"/>
                  </a:lnTo>
                  <a:lnTo>
                    <a:pt x="375" y="125"/>
                  </a:lnTo>
                  <a:lnTo>
                    <a:pt x="377" y="125"/>
                  </a:lnTo>
                  <a:lnTo>
                    <a:pt x="378" y="126"/>
                  </a:lnTo>
                  <a:lnTo>
                    <a:pt x="379" y="128"/>
                  </a:lnTo>
                  <a:lnTo>
                    <a:pt x="379" y="130"/>
                  </a:lnTo>
                  <a:lnTo>
                    <a:pt x="379" y="131"/>
                  </a:lnTo>
                  <a:lnTo>
                    <a:pt x="378" y="133"/>
                  </a:lnTo>
                  <a:lnTo>
                    <a:pt x="261" y="229"/>
                  </a:lnTo>
                  <a:lnTo>
                    <a:pt x="347" y="193"/>
                  </a:lnTo>
                  <a:lnTo>
                    <a:pt x="349" y="192"/>
                  </a:lnTo>
                  <a:lnTo>
                    <a:pt x="351" y="193"/>
                  </a:lnTo>
                  <a:lnTo>
                    <a:pt x="353" y="194"/>
                  </a:lnTo>
                  <a:lnTo>
                    <a:pt x="354" y="195"/>
                  </a:lnTo>
                  <a:lnTo>
                    <a:pt x="354" y="197"/>
                  </a:lnTo>
                  <a:lnTo>
                    <a:pt x="354" y="199"/>
                  </a:lnTo>
                  <a:lnTo>
                    <a:pt x="353" y="201"/>
                  </a:lnTo>
                  <a:lnTo>
                    <a:pt x="351" y="202"/>
                  </a:lnTo>
                  <a:lnTo>
                    <a:pt x="290" y="227"/>
                  </a:lnTo>
                  <a:lnTo>
                    <a:pt x="356" y="210"/>
                  </a:lnTo>
                  <a:lnTo>
                    <a:pt x="358" y="210"/>
                  </a:lnTo>
                  <a:lnTo>
                    <a:pt x="360" y="211"/>
                  </a:lnTo>
                  <a:lnTo>
                    <a:pt x="361" y="212"/>
                  </a:lnTo>
                  <a:lnTo>
                    <a:pt x="361" y="213"/>
                  </a:lnTo>
                  <a:lnTo>
                    <a:pt x="362" y="215"/>
                  </a:lnTo>
                  <a:lnTo>
                    <a:pt x="361" y="217"/>
                  </a:lnTo>
                  <a:lnTo>
                    <a:pt x="360" y="218"/>
                  </a:lnTo>
                  <a:lnTo>
                    <a:pt x="358" y="219"/>
                  </a:lnTo>
                  <a:lnTo>
                    <a:pt x="23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9" name="Freeform 1957"/>
            <p:cNvSpPr>
              <a:spLocks noEditPoints="1"/>
            </p:cNvSpPr>
            <p:nvPr userDrawn="1"/>
          </p:nvSpPr>
          <p:spPr bwMode="auto">
            <a:xfrm>
              <a:off x="10429678" y="3202657"/>
              <a:ext cx="836613" cy="1104900"/>
            </a:xfrm>
            <a:custGeom>
              <a:avLst/>
              <a:gdLst>
                <a:gd name="T0" fmla="*/ 285 w 527"/>
                <a:gd name="T1" fmla="*/ 138 h 696"/>
                <a:gd name="T2" fmla="*/ 32 w 527"/>
                <a:gd name="T3" fmla="*/ 619 h 696"/>
                <a:gd name="T4" fmla="*/ 22 w 527"/>
                <a:gd name="T5" fmla="*/ 613 h 696"/>
                <a:gd name="T6" fmla="*/ 62 w 527"/>
                <a:gd name="T7" fmla="*/ 576 h 696"/>
                <a:gd name="T8" fmla="*/ 53 w 527"/>
                <a:gd name="T9" fmla="*/ 615 h 696"/>
                <a:gd name="T10" fmla="*/ 242 w 527"/>
                <a:gd name="T11" fmla="*/ 264 h 696"/>
                <a:gd name="T12" fmla="*/ 156 w 527"/>
                <a:gd name="T13" fmla="*/ 384 h 696"/>
                <a:gd name="T14" fmla="*/ 71 w 527"/>
                <a:gd name="T15" fmla="*/ 575 h 696"/>
                <a:gd name="T16" fmla="*/ 52 w 527"/>
                <a:gd name="T17" fmla="*/ 642 h 696"/>
                <a:gd name="T18" fmla="*/ 8 w 527"/>
                <a:gd name="T19" fmla="*/ 696 h 696"/>
                <a:gd name="T20" fmla="*/ 1 w 527"/>
                <a:gd name="T21" fmla="*/ 653 h 696"/>
                <a:gd name="T22" fmla="*/ 32 w 527"/>
                <a:gd name="T23" fmla="*/ 579 h 696"/>
                <a:gd name="T24" fmla="*/ 79 w 527"/>
                <a:gd name="T25" fmla="*/ 516 h 696"/>
                <a:gd name="T26" fmla="*/ 161 w 527"/>
                <a:gd name="T27" fmla="*/ 357 h 696"/>
                <a:gd name="T28" fmla="*/ 261 w 527"/>
                <a:gd name="T29" fmla="*/ 230 h 696"/>
                <a:gd name="T30" fmla="*/ 125 w 527"/>
                <a:gd name="T31" fmla="*/ 83 h 696"/>
                <a:gd name="T32" fmla="*/ 231 w 527"/>
                <a:gd name="T33" fmla="*/ 159 h 696"/>
                <a:gd name="T34" fmla="*/ 145 w 527"/>
                <a:gd name="T35" fmla="*/ 74 h 696"/>
                <a:gd name="T36" fmla="*/ 149 w 527"/>
                <a:gd name="T37" fmla="*/ 65 h 696"/>
                <a:gd name="T38" fmla="*/ 212 w 527"/>
                <a:gd name="T39" fmla="*/ 121 h 696"/>
                <a:gd name="T40" fmla="*/ 177 w 527"/>
                <a:gd name="T41" fmla="*/ 33 h 696"/>
                <a:gd name="T42" fmla="*/ 259 w 527"/>
                <a:gd name="T43" fmla="*/ 154 h 696"/>
                <a:gd name="T44" fmla="*/ 225 w 527"/>
                <a:gd name="T45" fmla="*/ 61 h 696"/>
                <a:gd name="T46" fmla="*/ 191 w 527"/>
                <a:gd name="T47" fmla="*/ 4 h 696"/>
                <a:gd name="T48" fmla="*/ 199 w 527"/>
                <a:gd name="T49" fmla="*/ 2 h 696"/>
                <a:gd name="T50" fmla="*/ 257 w 527"/>
                <a:gd name="T51" fmla="*/ 114 h 696"/>
                <a:gd name="T52" fmla="*/ 248 w 527"/>
                <a:gd name="T53" fmla="*/ 56 h 696"/>
                <a:gd name="T54" fmla="*/ 256 w 527"/>
                <a:gd name="T55" fmla="*/ 52 h 696"/>
                <a:gd name="T56" fmla="*/ 266 w 527"/>
                <a:gd name="T57" fmla="*/ 2 h 696"/>
                <a:gd name="T58" fmla="*/ 288 w 527"/>
                <a:gd name="T59" fmla="*/ 106 h 696"/>
                <a:gd name="T60" fmla="*/ 295 w 527"/>
                <a:gd name="T61" fmla="*/ 179 h 696"/>
                <a:gd name="T62" fmla="*/ 410 w 527"/>
                <a:gd name="T63" fmla="*/ 61 h 696"/>
                <a:gd name="T64" fmla="*/ 316 w 527"/>
                <a:gd name="T65" fmla="*/ 198 h 696"/>
                <a:gd name="T66" fmla="*/ 404 w 527"/>
                <a:gd name="T67" fmla="*/ 138 h 696"/>
                <a:gd name="T68" fmla="*/ 461 w 527"/>
                <a:gd name="T69" fmla="*/ 76 h 696"/>
                <a:gd name="T70" fmla="*/ 457 w 527"/>
                <a:gd name="T71" fmla="*/ 94 h 696"/>
                <a:gd name="T72" fmla="*/ 392 w 527"/>
                <a:gd name="T73" fmla="*/ 160 h 696"/>
                <a:gd name="T74" fmla="*/ 316 w 527"/>
                <a:gd name="T75" fmla="*/ 215 h 696"/>
                <a:gd name="T76" fmla="*/ 436 w 527"/>
                <a:gd name="T77" fmla="*/ 196 h 696"/>
                <a:gd name="T78" fmla="*/ 517 w 527"/>
                <a:gd name="T79" fmla="*/ 166 h 696"/>
                <a:gd name="T80" fmla="*/ 507 w 527"/>
                <a:gd name="T81" fmla="*/ 180 h 696"/>
                <a:gd name="T82" fmla="*/ 383 w 527"/>
                <a:gd name="T83" fmla="*/ 218 h 696"/>
                <a:gd name="T84" fmla="*/ 430 w 527"/>
                <a:gd name="T85" fmla="*/ 217 h 696"/>
                <a:gd name="T86" fmla="*/ 524 w 527"/>
                <a:gd name="T87" fmla="*/ 192 h 696"/>
                <a:gd name="T88" fmla="*/ 513 w 527"/>
                <a:gd name="T89" fmla="*/ 205 h 696"/>
                <a:gd name="T90" fmla="*/ 411 w 527"/>
                <a:gd name="T91" fmla="*/ 230 h 696"/>
                <a:gd name="T92" fmla="*/ 391 w 527"/>
                <a:gd name="T93" fmla="*/ 242 h 696"/>
                <a:gd name="T94" fmla="*/ 474 w 527"/>
                <a:gd name="T95" fmla="*/ 247 h 696"/>
                <a:gd name="T96" fmla="*/ 524 w 527"/>
                <a:gd name="T97" fmla="*/ 277 h 696"/>
                <a:gd name="T98" fmla="*/ 507 w 527"/>
                <a:gd name="T99" fmla="*/ 274 h 696"/>
                <a:gd name="T100" fmla="*/ 442 w 527"/>
                <a:gd name="T101" fmla="*/ 253 h 696"/>
                <a:gd name="T102" fmla="*/ 505 w 527"/>
                <a:gd name="T103" fmla="*/ 310 h 696"/>
                <a:gd name="T104" fmla="*/ 499 w 527"/>
                <a:gd name="T105" fmla="*/ 316 h 696"/>
                <a:gd name="T106" fmla="*/ 478 w 527"/>
                <a:gd name="T107" fmla="*/ 325 h 696"/>
                <a:gd name="T108" fmla="*/ 420 w 527"/>
                <a:gd name="T109" fmla="*/ 350 h 696"/>
                <a:gd name="T110" fmla="*/ 412 w 527"/>
                <a:gd name="T111" fmla="*/ 354 h 696"/>
                <a:gd name="T112" fmla="*/ 345 w 527"/>
                <a:gd name="T113" fmla="*/ 338 h 696"/>
                <a:gd name="T114" fmla="*/ 332 w 527"/>
                <a:gd name="T115" fmla="*/ 345 h 696"/>
                <a:gd name="T116" fmla="*/ 277 w 527"/>
                <a:gd name="T117" fmla="*/ 22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7" h="696">
                  <a:moveTo>
                    <a:pt x="281" y="196"/>
                  </a:moveTo>
                  <a:lnTo>
                    <a:pt x="284" y="186"/>
                  </a:lnTo>
                  <a:lnTo>
                    <a:pt x="286" y="177"/>
                  </a:lnTo>
                  <a:lnTo>
                    <a:pt x="287" y="167"/>
                  </a:lnTo>
                  <a:lnTo>
                    <a:pt x="287" y="157"/>
                  </a:lnTo>
                  <a:lnTo>
                    <a:pt x="286" y="148"/>
                  </a:lnTo>
                  <a:lnTo>
                    <a:pt x="285" y="138"/>
                  </a:lnTo>
                  <a:lnTo>
                    <a:pt x="284" y="128"/>
                  </a:lnTo>
                  <a:lnTo>
                    <a:pt x="281" y="118"/>
                  </a:lnTo>
                  <a:lnTo>
                    <a:pt x="278" y="108"/>
                  </a:lnTo>
                  <a:lnTo>
                    <a:pt x="275" y="100"/>
                  </a:lnTo>
                  <a:lnTo>
                    <a:pt x="281" y="196"/>
                  </a:lnTo>
                  <a:close/>
                  <a:moveTo>
                    <a:pt x="9" y="672"/>
                  </a:moveTo>
                  <a:lnTo>
                    <a:pt x="32" y="619"/>
                  </a:lnTo>
                  <a:lnTo>
                    <a:pt x="54" y="570"/>
                  </a:lnTo>
                  <a:lnTo>
                    <a:pt x="48" y="575"/>
                  </a:lnTo>
                  <a:lnTo>
                    <a:pt x="42" y="581"/>
                  </a:lnTo>
                  <a:lnTo>
                    <a:pt x="37" y="588"/>
                  </a:lnTo>
                  <a:lnTo>
                    <a:pt x="31" y="596"/>
                  </a:lnTo>
                  <a:lnTo>
                    <a:pt x="26" y="604"/>
                  </a:lnTo>
                  <a:lnTo>
                    <a:pt x="22" y="613"/>
                  </a:lnTo>
                  <a:lnTo>
                    <a:pt x="18" y="622"/>
                  </a:lnTo>
                  <a:lnTo>
                    <a:pt x="15" y="632"/>
                  </a:lnTo>
                  <a:lnTo>
                    <a:pt x="12" y="642"/>
                  </a:lnTo>
                  <a:lnTo>
                    <a:pt x="11" y="652"/>
                  </a:lnTo>
                  <a:lnTo>
                    <a:pt x="9" y="662"/>
                  </a:lnTo>
                  <a:lnTo>
                    <a:pt x="9" y="672"/>
                  </a:lnTo>
                  <a:close/>
                  <a:moveTo>
                    <a:pt x="62" y="576"/>
                  </a:moveTo>
                  <a:lnTo>
                    <a:pt x="40" y="623"/>
                  </a:lnTo>
                  <a:lnTo>
                    <a:pt x="19" y="673"/>
                  </a:lnTo>
                  <a:lnTo>
                    <a:pt x="27" y="663"/>
                  </a:lnTo>
                  <a:lnTo>
                    <a:pt x="35" y="652"/>
                  </a:lnTo>
                  <a:lnTo>
                    <a:pt x="42" y="640"/>
                  </a:lnTo>
                  <a:lnTo>
                    <a:pt x="48" y="628"/>
                  </a:lnTo>
                  <a:lnTo>
                    <a:pt x="53" y="615"/>
                  </a:lnTo>
                  <a:lnTo>
                    <a:pt x="57" y="602"/>
                  </a:lnTo>
                  <a:lnTo>
                    <a:pt x="60" y="589"/>
                  </a:lnTo>
                  <a:lnTo>
                    <a:pt x="62" y="576"/>
                  </a:lnTo>
                  <a:close/>
                  <a:moveTo>
                    <a:pt x="277" y="227"/>
                  </a:moveTo>
                  <a:lnTo>
                    <a:pt x="268" y="237"/>
                  </a:lnTo>
                  <a:lnTo>
                    <a:pt x="259" y="246"/>
                  </a:lnTo>
                  <a:lnTo>
                    <a:pt x="242" y="264"/>
                  </a:lnTo>
                  <a:lnTo>
                    <a:pt x="227" y="282"/>
                  </a:lnTo>
                  <a:lnTo>
                    <a:pt x="219" y="292"/>
                  </a:lnTo>
                  <a:lnTo>
                    <a:pt x="212" y="301"/>
                  </a:lnTo>
                  <a:lnTo>
                    <a:pt x="197" y="321"/>
                  </a:lnTo>
                  <a:lnTo>
                    <a:pt x="183" y="341"/>
                  </a:lnTo>
                  <a:lnTo>
                    <a:pt x="169" y="362"/>
                  </a:lnTo>
                  <a:lnTo>
                    <a:pt x="156" y="384"/>
                  </a:lnTo>
                  <a:lnTo>
                    <a:pt x="145" y="402"/>
                  </a:lnTo>
                  <a:lnTo>
                    <a:pt x="136" y="419"/>
                  </a:lnTo>
                  <a:lnTo>
                    <a:pt x="120" y="451"/>
                  </a:lnTo>
                  <a:lnTo>
                    <a:pt x="88" y="521"/>
                  </a:lnTo>
                  <a:lnTo>
                    <a:pt x="71" y="555"/>
                  </a:lnTo>
                  <a:lnTo>
                    <a:pt x="71" y="565"/>
                  </a:lnTo>
                  <a:lnTo>
                    <a:pt x="71" y="575"/>
                  </a:lnTo>
                  <a:lnTo>
                    <a:pt x="70" y="585"/>
                  </a:lnTo>
                  <a:lnTo>
                    <a:pt x="68" y="595"/>
                  </a:lnTo>
                  <a:lnTo>
                    <a:pt x="66" y="605"/>
                  </a:lnTo>
                  <a:lnTo>
                    <a:pt x="63" y="614"/>
                  </a:lnTo>
                  <a:lnTo>
                    <a:pt x="60" y="624"/>
                  </a:lnTo>
                  <a:lnTo>
                    <a:pt x="56" y="633"/>
                  </a:lnTo>
                  <a:lnTo>
                    <a:pt x="52" y="642"/>
                  </a:lnTo>
                  <a:lnTo>
                    <a:pt x="47" y="650"/>
                  </a:lnTo>
                  <a:lnTo>
                    <a:pt x="42" y="659"/>
                  </a:lnTo>
                  <a:lnTo>
                    <a:pt x="36" y="667"/>
                  </a:lnTo>
                  <a:lnTo>
                    <a:pt x="30" y="675"/>
                  </a:lnTo>
                  <a:lnTo>
                    <a:pt x="23" y="682"/>
                  </a:lnTo>
                  <a:lnTo>
                    <a:pt x="16" y="689"/>
                  </a:lnTo>
                  <a:lnTo>
                    <a:pt x="8" y="696"/>
                  </a:lnTo>
                  <a:lnTo>
                    <a:pt x="6" y="696"/>
                  </a:lnTo>
                  <a:lnTo>
                    <a:pt x="4" y="696"/>
                  </a:lnTo>
                  <a:lnTo>
                    <a:pt x="3" y="695"/>
                  </a:lnTo>
                  <a:lnTo>
                    <a:pt x="1" y="693"/>
                  </a:lnTo>
                  <a:lnTo>
                    <a:pt x="0" y="680"/>
                  </a:lnTo>
                  <a:lnTo>
                    <a:pt x="0" y="667"/>
                  </a:lnTo>
                  <a:lnTo>
                    <a:pt x="1" y="653"/>
                  </a:lnTo>
                  <a:lnTo>
                    <a:pt x="3" y="640"/>
                  </a:lnTo>
                  <a:lnTo>
                    <a:pt x="6" y="627"/>
                  </a:lnTo>
                  <a:lnTo>
                    <a:pt x="11" y="614"/>
                  </a:lnTo>
                  <a:lnTo>
                    <a:pt x="16" y="602"/>
                  </a:lnTo>
                  <a:lnTo>
                    <a:pt x="20" y="596"/>
                  </a:lnTo>
                  <a:lnTo>
                    <a:pt x="23" y="591"/>
                  </a:lnTo>
                  <a:lnTo>
                    <a:pt x="32" y="579"/>
                  </a:lnTo>
                  <a:lnTo>
                    <a:pt x="36" y="574"/>
                  </a:lnTo>
                  <a:lnTo>
                    <a:pt x="40" y="569"/>
                  </a:lnTo>
                  <a:lnTo>
                    <a:pt x="45" y="565"/>
                  </a:lnTo>
                  <a:lnTo>
                    <a:pt x="50" y="561"/>
                  </a:lnTo>
                  <a:lnTo>
                    <a:pt x="56" y="557"/>
                  </a:lnTo>
                  <a:lnTo>
                    <a:pt x="62" y="553"/>
                  </a:lnTo>
                  <a:lnTo>
                    <a:pt x="79" y="516"/>
                  </a:lnTo>
                  <a:lnTo>
                    <a:pt x="96" y="479"/>
                  </a:lnTo>
                  <a:lnTo>
                    <a:pt x="111" y="447"/>
                  </a:lnTo>
                  <a:lnTo>
                    <a:pt x="119" y="431"/>
                  </a:lnTo>
                  <a:lnTo>
                    <a:pt x="128" y="415"/>
                  </a:lnTo>
                  <a:lnTo>
                    <a:pt x="137" y="398"/>
                  </a:lnTo>
                  <a:lnTo>
                    <a:pt x="148" y="379"/>
                  </a:lnTo>
                  <a:lnTo>
                    <a:pt x="161" y="357"/>
                  </a:lnTo>
                  <a:lnTo>
                    <a:pt x="175" y="336"/>
                  </a:lnTo>
                  <a:lnTo>
                    <a:pt x="189" y="315"/>
                  </a:lnTo>
                  <a:lnTo>
                    <a:pt x="204" y="296"/>
                  </a:lnTo>
                  <a:lnTo>
                    <a:pt x="219" y="276"/>
                  </a:lnTo>
                  <a:lnTo>
                    <a:pt x="235" y="258"/>
                  </a:lnTo>
                  <a:lnTo>
                    <a:pt x="252" y="239"/>
                  </a:lnTo>
                  <a:lnTo>
                    <a:pt x="261" y="230"/>
                  </a:lnTo>
                  <a:lnTo>
                    <a:pt x="270" y="221"/>
                  </a:lnTo>
                  <a:lnTo>
                    <a:pt x="269" y="218"/>
                  </a:lnTo>
                  <a:lnTo>
                    <a:pt x="125" y="89"/>
                  </a:lnTo>
                  <a:lnTo>
                    <a:pt x="124" y="88"/>
                  </a:lnTo>
                  <a:lnTo>
                    <a:pt x="123" y="86"/>
                  </a:lnTo>
                  <a:lnTo>
                    <a:pt x="124" y="84"/>
                  </a:lnTo>
                  <a:lnTo>
                    <a:pt x="125" y="83"/>
                  </a:lnTo>
                  <a:lnTo>
                    <a:pt x="126" y="81"/>
                  </a:lnTo>
                  <a:lnTo>
                    <a:pt x="128" y="81"/>
                  </a:lnTo>
                  <a:lnTo>
                    <a:pt x="129" y="81"/>
                  </a:lnTo>
                  <a:lnTo>
                    <a:pt x="131" y="82"/>
                  </a:lnTo>
                  <a:lnTo>
                    <a:pt x="254" y="192"/>
                  </a:lnTo>
                  <a:lnTo>
                    <a:pt x="243" y="175"/>
                  </a:lnTo>
                  <a:lnTo>
                    <a:pt x="231" y="159"/>
                  </a:lnTo>
                  <a:lnTo>
                    <a:pt x="225" y="151"/>
                  </a:lnTo>
                  <a:lnTo>
                    <a:pt x="219" y="143"/>
                  </a:lnTo>
                  <a:lnTo>
                    <a:pt x="205" y="128"/>
                  </a:lnTo>
                  <a:lnTo>
                    <a:pt x="192" y="113"/>
                  </a:lnTo>
                  <a:lnTo>
                    <a:pt x="177" y="99"/>
                  </a:lnTo>
                  <a:lnTo>
                    <a:pt x="161" y="86"/>
                  </a:lnTo>
                  <a:lnTo>
                    <a:pt x="145" y="74"/>
                  </a:lnTo>
                  <a:lnTo>
                    <a:pt x="144" y="72"/>
                  </a:lnTo>
                  <a:lnTo>
                    <a:pt x="143" y="71"/>
                  </a:lnTo>
                  <a:lnTo>
                    <a:pt x="143" y="69"/>
                  </a:lnTo>
                  <a:lnTo>
                    <a:pt x="144" y="67"/>
                  </a:lnTo>
                  <a:lnTo>
                    <a:pt x="145" y="66"/>
                  </a:lnTo>
                  <a:lnTo>
                    <a:pt x="147" y="65"/>
                  </a:lnTo>
                  <a:lnTo>
                    <a:pt x="149" y="65"/>
                  </a:lnTo>
                  <a:lnTo>
                    <a:pt x="151" y="66"/>
                  </a:lnTo>
                  <a:lnTo>
                    <a:pt x="162" y="74"/>
                  </a:lnTo>
                  <a:lnTo>
                    <a:pt x="173" y="83"/>
                  </a:lnTo>
                  <a:lnTo>
                    <a:pt x="183" y="92"/>
                  </a:lnTo>
                  <a:lnTo>
                    <a:pt x="193" y="101"/>
                  </a:lnTo>
                  <a:lnTo>
                    <a:pt x="203" y="111"/>
                  </a:lnTo>
                  <a:lnTo>
                    <a:pt x="212" y="121"/>
                  </a:lnTo>
                  <a:lnTo>
                    <a:pt x="222" y="131"/>
                  </a:lnTo>
                  <a:lnTo>
                    <a:pt x="230" y="142"/>
                  </a:lnTo>
                  <a:lnTo>
                    <a:pt x="175" y="40"/>
                  </a:lnTo>
                  <a:lnTo>
                    <a:pt x="175" y="38"/>
                  </a:lnTo>
                  <a:lnTo>
                    <a:pt x="175" y="36"/>
                  </a:lnTo>
                  <a:lnTo>
                    <a:pt x="176" y="34"/>
                  </a:lnTo>
                  <a:lnTo>
                    <a:pt x="177" y="33"/>
                  </a:lnTo>
                  <a:lnTo>
                    <a:pt x="179" y="33"/>
                  </a:lnTo>
                  <a:lnTo>
                    <a:pt x="181" y="33"/>
                  </a:lnTo>
                  <a:lnTo>
                    <a:pt x="182" y="34"/>
                  </a:lnTo>
                  <a:lnTo>
                    <a:pt x="184" y="35"/>
                  </a:lnTo>
                  <a:lnTo>
                    <a:pt x="267" y="191"/>
                  </a:lnTo>
                  <a:lnTo>
                    <a:pt x="262" y="166"/>
                  </a:lnTo>
                  <a:lnTo>
                    <a:pt x="259" y="154"/>
                  </a:lnTo>
                  <a:lnTo>
                    <a:pt x="256" y="142"/>
                  </a:lnTo>
                  <a:lnTo>
                    <a:pt x="249" y="118"/>
                  </a:lnTo>
                  <a:lnTo>
                    <a:pt x="245" y="107"/>
                  </a:lnTo>
                  <a:lnTo>
                    <a:pt x="240" y="95"/>
                  </a:lnTo>
                  <a:lnTo>
                    <a:pt x="235" y="84"/>
                  </a:lnTo>
                  <a:lnTo>
                    <a:pt x="230" y="72"/>
                  </a:lnTo>
                  <a:lnTo>
                    <a:pt x="225" y="61"/>
                  </a:lnTo>
                  <a:lnTo>
                    <a:pt x="219" y="50"/>
                  </a:lnTo>
                  <a:lnTo>
                    <a:pt x="213" y="40"/>
                  </a:lnTo>
                  <a:lnTo>
                    <a:pt x="206" y="29"/>
                  </a:lnTo>
                  <a:lnTo>
                    <a:pt x="199" y="18"/>
                  </a:lnTo>
                  <a:lnTo>
                    <a:pt x="192" y="8"/>
                  </a:lnTo>
                  <a:lnTo>
                    <a:pt x="191" y="6"/>
                  </a:lnTo>
                  <a:lnTo>
                    <a:pt x="191" y="4"/>
                  </a:lnTo>
                  <a:lnTo>
                    <a:pt x="191" y="3"/>
                  </a:lnTo>
                  <a:lnTo>
                    <a:pt x="191" y="2"/>
                  </a:lnTo>
                  <a:lnTo>
                    <a:pt x="193" y="1"/>
                  </a:lnTo>
                  <a:lnTo>
                    <a:pt x="194" y="0"/>
                  </a:lnTo>
                  <a:lnTo>
                    <a:pt x="196" y="0"/>
                  </a:lnTo>
                  <a:lnTo>
                    <a:pt x="198" y="1"/>
                  </a:lnTo>
                  <a:lnTo>
                    <a:pt x="199" y="2"/>
                  </a:lnTo>
                  <a:lnTo>
                    <a:pt x="211" y="20"/>
                  </a:lnTo>
                  <a:lnTo>
                    <a:pt x="223" y="38"/>
                  </a:lnTo>
                  <a:lnTo>
                    <a:pt x="233" y="56"/>
                  </a:lnTo>
                  <a:lnTo>
                    <a:pt x="242" y="75"/>
                  </a:lnTo>
                  <a:lnTo>
                    <a:pt x="246" y="85"/>
                  </a:lnTo>
                  <a:lnTo>
                    <a:pt x="250" y="94"/>
                  </a:lnTo>
                  <a:lnTo>
                    <a:pt x="257" y="114"/>
                  </a:lnTo>
                  <a:lnTo>
                    <a:pt x="261" y="124"/>
                  </a:lnTo>
                  <a:lnTo>
                    <a:pt x="264" y="134"/>
                  </a:lnTo>
                  <a:lnTo>
                    <a:pt x="269" y="154"/>
                  </a:lnTo>
                  <a:lnTo>
                    <a:pt x="264" y="78"/>
                  </a:lnTo>
                  <a:lnTo>
                    <a:pt x="257" y="68"/>
                  </a:lnTo>
                  <a:lnTo>
                    <a:pt x="249" y="58"/>
                  </a:lnTo>
                  <a:lnTo>
                    <a:pt x="248" y="56"/>
                  </a:lnTo>
                  <a:lnTo>
                    <a:pt x="248" y="54"/>
                  </a:lnTo>
                  <a:lnTo>
                    <a:pt x="248" y="53"/>
                  </a:lnTo>
                  <a:lnTo>
                    <a:pt x="249" y="51"/>
                  </a:lnTo>
                  <a:lnTo>
                    <a:pt x="251" y="50"/>
                  </a:lnTo>
                  <a:lnTo>
                    <a:pt x="253" y="50"/>
                  </a:lnTo>
                  <a:lnTo>
                    <a:pt x="254" y="50"/>
                  </a:lnTo>
                  <a:lnTo>
                    <a:pt x="256" y="52"/>
                  </a:lnTo>
                  <a:lnTo>
                    <a:pt x="263" y="60"/>
                  </a:lnTo>
                  <a:lnTo>
                    <a:pt x="260" y="7"/>
                  </a:lnTo>
                  <a:lnTo>
                    <a:pt x="260" y="5"/>
                  </a:lnTo>
                  <a:lnTo>
                    <a:pt x="261" y="3"/>
                  </a:lnTo>
                  <a:lnTo>
                    <a:pt x="262" y="2"/>
                  </a:lnTo>
                  <a:lnTo>
                    <a:pt x="264" y="2"/>
                  </a:lnTo>
                  <a:lnTo>
                    <a:pt x="266" y="2"/>
                  </a:lnTo>
                  <a:lnTo>
                    <a:pt x="268" y="3"/>
                  </a:lnTo>
                  <a:lnTo>
                    <a:pt x="269" y="4"/>
                  </a:lnTo>
                  <a:lnTo>
                    <a:pt x="269" y="6"/>
                  </a:lnTo>
                  <a:lnTo>
                    <a:pt x="274" y="76"/>
                  </a:lnTo>
                  <a:lnTo>
                    <a:pt x="279" y="86"/>
                  </a:lnTo>
                  <a:lnTo>
                    <a:pt x="284" y="96"/>
                  </a:lnTo>
                  <a:lnTo>
                    <a:pt x="288" y="106"/>
                  </a:lnTo>
                  <a:lnTo>
                    <a:pt x="291" y="117"/>
                  </a:lnTo>
                  <a:lnTo>
                    <a:pt x="293" y="128"/>
                  </a:lnTo>
                  <a:lnTo>
                    <a:pt x="295" y="139"/>
                  </a:lnTo>
                  <a:lnTo>
                    <a:pt x="296" y="150"/>
                  </a:lnTo>
                  <a:lnTo>
                    <a:pt x="296" y="161"/>
                  </a:lnTo>
                  <a:lnTo>
                    <a:pt x="296" y="171"/>
                  </a:lnTo>
                  <a:lnTo>
                    <a:pt x="295" y="179"/>
                  </a:lnTo>
                  <a:lnTo>
                    <a:pt x="294" y="187"/>
                  </a:lnTo>
                  <a:lnTo>
                    <a:pt x="292" y="195"/>
                  </a:lnTo>
                  <a:lnTo>
                    <a:pt x="403" y="62"/>
                  </a:lnTo>
                  <a:lnTo>
                    <a:pt x="405" y="61"/>
                  </a:lnTo>
                  <a:lnTo>
                    <a:pt x="406" y="60"/>
                  </a:lnTo>
                  <a:lnTo>
                    <a:pt x="408" y="61"/>
                  </a:lnTo>
                  <a:lnTo>
                    <a:pt x="410" y="61"/>
                  </a:lnTo>
                  <a:lnTo>
                    <a:pt x="411" y="63"/>
                  </a:lnTo>
                  <a:lnTo>
                    <a:pt x="411" y="64"/>
                  </a:lnTo>
                  <a:lnTo>
                    <a:pt x="411" y="66"/>
                  </a:lnTo>
                  <a:lnTo>
                    <a:pt x="410" y="68"/>
                  </a:lnTo>
                  <a:lnTo>
                    <a:pt x="291" y="210"/>
                  </a:lnTo>
                  <a:lnTo>
                    <a:pt x="304" y="204"/>
                  </a:lnTo>
                  <a:lnTo>
                    <a:pt x="316" y="198"/>
                  </a:lnTo>
                  <a:lnTo>
                    <a:pt x="339" y="185"/>
                  </a:lnTo>
                  <a:lnTo>
                    <a:pt x="351" y="178"/>
                  </a:lnTo>
                  <a:lnTo>
                    <a:pt x="362" y="171"/>
                  </a:lnTo>
                  <a:lnTo>
                    <a:pt x="373" y="163"/>
                  </a:lnTo>
                  <a:lnTo>
                    <a:pt x="383" y="155"/>
                  </a:lnTo>
                  <a:lnTo>
                    <a:pt x="394" y="147"/>
                  </a:lnTo>
                  <a:lnTo>
                    <a:pt x="404" y="138"/>
                  </a:lnTo>
                  <a:lnTo>
                    <a:pt x="423" y="120"/>
                  </a:lnTo>
                  <a:lnTo>
                    <a:pt x="432" y="110"/>
                  </a:lnTo>
                  <a:lnTo>
                    <a:pt x="441" y="99"/>
                  </a:lnTo>
                  <a:lnTo>
                    <a:pt x="449" y="89"/>
                  </a:lnTo>
                  <a:lnTo>
                    <a:pt x="458" y="78"/>
                  </a:lnTo>
                  <a:lnTo>
                    <a:pt x="459" y="76"/>
                  </a:lnTo>
                  <a:lnTo>
                    <a:pt x="461" y="76"/>
                  </a:lnTo>
                  <a:lnTo>
                    <a:pt x="463" y="76"/>
                  </a:lnTo>
                  <a:lnTo>
                    <a:pt x="464" y="77"/>
                  </a:lnTo>
                  <a:lnTo>
                    <a:pt x="466" y="78"/>
                  </a:lnTo>
                  <a:lnTo>
                    <a:pt x="466" y="80"/>
                  </a:lnTo>
                  <a:lnTo>
                    <a:pt x="466" y="81"/>
                  </a:lnTo>
                  <a:lnTo>
                    <a:pt x="465" y="83"/>
                  </a:lnTo>
                  <a:lnTo>
                    <a:pt x="457" y="94"/>
                  </a:lnTo>
                  <a:lnTo>
                    <a:pt x="449" y="105"/>
                  </a:lnTo>
                  <a:lnTo>
                    <a:pt x="440" y="115"/>
                  </a:lnTo>
                  <a:lnTo>
                    <a:pt x="431" y="125"/>
                  </a:lnTo>
                  <a:lnTo>
                    <a:pt x="422" y="134"/>
                  </a:lnTo>
                  <a:lnTo>
                    <a:pt x="412" y="143"/>
                  </a:lnTo>
                  <a:lnTo>
                    <a:pt x="402" y="152"/>
                  </a:lnTo>
                  <a:lnTo>
                    <a:pt x="392" y="160"/>
                  </a:lnTo>
                  <a:lnTo>
                    <a:pt x="382" y="168"/>
                  </a:lnTo>
                  <a:lnTo>
                    <a:pt x="371" y="176"/>
                  </a:lnTo>
                  <a:lnTo>
                    <a:pt x="349" y="191"/>
                  </a:lnTo>
                  <a:lnTo>
                    <a:pt x="326" y="204"/>
                  </a:lnTo>
                  <a:lnTo>
                    <a:pt x="314" y="210"/>
                  </a:lnTo>
                  <a:lnTo>
                    <a:pt x="302" y="216"/>
                  </a:lnTo>
                  <a:lnTo>
                    <a:pt x="316" y="215"/>
                  </a:lnTo>
                  <a:lnTo>
                    <a:pt x="330" y="215"/>
                  </a:lnTo>
                  <a:lnTo>
                    <a:pt x="343" y="213"/>
                  </a:lnTo>
                  <a:lnTo>
                    <a:pt x="357" y="212"/>
                  </a:lnTo>
                  <a:lnTo>
                    <a:pt x="370" y="210"/>
                  </a:lnTo>
                  <a:lnTo>
                    <a:pt x="384" y="208"/>
                  </a:lnTo>
                  <a:lnTo>
                    <a:pt x="410" y="203"/>
                  </a:lnTo>
                  <a:lnTo>
                    <a:pt x="436" y="196"/>
                  </a:lnTo>
                  <a:lnTo>
                    <a:pt x="462" y="188"/>
                  </a:lnTo>
                  <a:lnTo>
                    <a:pt x="475" y="183"/>
                  </a:lnTo>
                  <a:lnTo>
                    <a:pt x="488" y="178"/>
                  </a:lnTo>
                  <a:lnTo>
                    <a:pt x="500" y="172"/>
                  </a:lnTo>
                  <a:lnTo>
                    <a:pt x="513" y="166"/>
                  </a:lnTo>
                  <a:lnTo>
                    <a:pt x="515" y="166"/>
                  </a:lnTo>
                  <a:lnTo>
                    <a:pt x="517" y="166"/>
                  </a:lnTo>
                  <a:lnTo>
                    <a:pt x="519" y="167"/>
                  </a:lnTo>
                  <a:lnTo>
                    <a:pt x="520" y="168"/>
                  </a:lnTo>
                  <a:lnTo>
                    <a:pt x="520" y="170"/>
                  </a:lnTo>
                  <a:lnTo>
                    <a:pt x="520" y="172"/>
                  </a:lnTo>
                  <a:lnTo>
                    <a:pt x="519" y="173"/>
                  </a:lnTo>
                  <a:lnTo>
                    <a:pt x="517" y="175"/>
                  </a:lnTo>
                  <a:lnTo>
                    <a:pt x="507" y="180"/>
                  </a:lnTo>
                  <a:lnTo>
                    <a:pt x="496" y="185"/>
                  </a:lnTo>
                  <a:lnTo>
                    <a:pt x="473" y="194"/>
                  </a:lnTo>
                  <a:lnTo>
                    <a:pt x="451" y="202"/>
                  </a:lnTo>
                  <a:lnTo>
                    <a:pt x="440" y="205"/>
                  </a:lnTo>
                  <a:lnTo>
                    <a:pt x="429" y="208"/>
                  </a:lnTo>
                  <a:lnTo>
                    <a:pt x="406" y="214"/>
                  </a:lnTo>
                  <a:lnTo>
                    <a:pt x="383" y="218"/>
                  </a:lnTo>
                  <a:lnTo>
                    <a:pt x="360" y="221"/>
                  </a:lnTo>
                  <a:lnTo>
                    <a:pt x="337" y="224"/>
                  </a:lnTo>
                  <a:lnTo>
                    <a:pt x="360" y="224"/>
                  </a:lnTo>
                  <a:lnTo>
                    <a:pt x="372" y="223"/>
                  </a:lnTo>
                  <a:lnTo>
                    <a:pt x="384" y="223"/>
                  </a:lnTo>
                  <a:lnTo>
                    <a:pt x="407" y="221"/>
                  </a:lnTo>
                  <a:lnTo>
                    <a:pt x="430" y="217"/>
                  </a:lnTo>
                  <a:lnTo>
                    <a:pt x="453" y="213"/>
                  </a:lnTo>
                  <a:lnTo>
                    <a:pt x="476" y="207"/>
                  </a:lnTo>
                  <a:lnTo>
                    <a:pt x="498" y="200"/>
                  </a:lnTo>
                  <a:lnTo>
                    <a:pt x="509" y="196"/>
                  </a:lnTo>
                  <a:lnTo>
                    <a:pt x="520" y="192"/>
                  </a:lnTo>
                  <a:lnTo>
                    <a:pt x="522" y="191"/>
                  </a:lnTo>
                  <a:lnTo>
                    <a:pt x="524" y="192"/>
                  </a:lnTo>
                  <a:lnTo>
                    <a:pt x="525" y="193"/>
                  </a:lnTo>
                  <a:lnTo>
                    <a:pt x="526" y="194"/>
                  </a:lnTo>
                  <a:lnTo>
                    <a:pt x="527" y="196"/>
                  </a:lnTo>
                  <a:lnTo>
                    <a:pt x="526" y="198"/>
                  </a:lnTo>
                  <a:lnTo>
                    <a:pt x="525" y="199"/>
                  </a:lnTo>
                  <a:lnTo>
                    <a:pt x="524" y="200"/>
                  </a:lnTo>
                  <a:lnTo>
                    <a:pt x="513" y="205"/>
                  </a:lnTo>
                  <a:lnTo>
                    <a:pt x="502" y="209"/>
                  </a:lnTo>
                  <a:lnTo>
                    <a:pt x="491" y="212"/>
                  </a:lnTo>
                  <a:lnTo>
                    <a:pt x="479" y="216"/>
                  </a:lnTo>
                  <a:lnTo>
                    <a:pt x="468" y="219"/>
                  </a:lnTo>
                  <a:lnTo>
                    <a:pt x="457" y="222"/>
                  </a:lnTo>
                  <a:lnTo>
                    <a:pt x="434" y="226"/>
                  </a:lnTo>
                  <a:lnTo>
                    <a:pt x="411" y="230"/>
                  </a:lnTo>
                  <a:lnTo>
                    <a:pt x="388" y="232"/>
                  </a:lnTo>
                  <a:lnTo>
                    <a:pt x="376" y="233"/>
                  </a:lnTo>
                  <a:lnTo>
                    <a:pt x="365" y="233"/>
                  </a:lnTo>
                  <a:lnTo>
                    <a:pt x="341" y="233"/>
                  </a:lnTo>
                  <a:lnTo>
                    <a:pt x="366" y="238"/>
                  </a:lnTo>
                  <a:lnTo>
                    <a:pt x="378" y="240"/>
                  </a:lnTo>
                  <a:lnTo>
                    <a:pt x="391" y="242"/>
                  </a:lnTo>
                  <a:lnTo>
                    <a:pt x="403" y="243"/>
                  </a:lnTo>
                  <a:lnTo>
                    <a:pt x="416" y="244"/>
                  </a:lnTo>
                  <a:lnTo>
                    <a:pt x="428" y="244"/>
                  </a:lnTo>
                  <a:lnTo>
                    <a:pt x="441" y="244"/>
                  </a:lnTo>
                  <a:lnTo>
                    <a:pt x="453" y="244"/>
                  </a:lnTo>
                  <a:lnTo>
                    <a:pt x="464" y="245"/>
                  </a:lnTo>
                  <a:lnTo>
                    <a:pt x="474" y="247"/>
                  </a:lnTo>
                  <a:lnTo>
                    <a:pt x="484" y="251"/>
                  </a:lnTo>
                  <a:lnTo>
                    <a:pt x="494" y="255"/>
                  </a:lnTo>
                  <a:lnTo>
                    <a:pt x="504" y="260"/>
                  </a:lnTo>
                  <a:lnTo>
                    <a:pt x="513" y="266"/>
                  </a:lnTo>
                  <a:lnTo>
                    <a:pt x="522" y="273"/>
                  </a:lnTo>
                  <a:lnTo>
                    <a:pt x="523" y="275"/>
                  </a:lnTo>
                  <a:lnTo>
                    <a:pt x="524" y="277"/>
                  </a:lnTo>
                  <a:lnTo>
                    <a:pt x="523" y="279"/>
                  </a:lnTo>
                  <a:lnTo>
                    <a:pt x="522" y="280"/>
                  </a:lnTo>
                  <a:lnTo>
                    <a:pt x="521" y="281"/>
                  </a:lnTo>
                  <a:lnTo>
                    <a:pt x="519" y="282"/>
                  </a:lnTo>
                  <a:lnTo>
                    <a:pt x="518" y="282"/>
                  </a:lnTo>
                  <a:lnTo>
                    <a:pt x="516" y="281"/>
                  </a:lnTo>
                  <a:lnTo>
                    <a:pt x="507" y="274"/>
                  </a:lnTo>
                  <a:lnTo>
                    <a:pt x="499" y="269"/>
                  </a:lnTo>
                  <a:lnTo>
                    <a:pt x="490" y="264"/>
                  </a:lnTo>
                  <a:lnTo>
                    <a:pt x="481" y="260"/>
                  </a:lnTo>
                  <a:lnTo>
                    <a:pt x="472" y="257"/>
                  </a:lnTo>
                  <a:lnTo>
                    <a:pt x="462" y="255"/>
                  </a:lnTo>
                  <a:lnTo>
                    <a:pt x="452" y="253"/>
                  </a:lnTo>
                  <a:lnTo>
                    <a:pt x="442" y="253"/>
                  </a:lnTo>
                  <a:lnTo>
                    <a:pt x="419" y="253"/>
                  </a:lnTo>
                  <a:lnTo>
                    <a:pt x="396" y="252"/>
                  </a:lnTo>
                  <a:lnTo>
                    <a:pt x="374" y="249"/>
                  </a:lnTo>
                  <a:lnTo>
                    <a:pt x="352" y="245"/>
                  </a:lnTo>
                  <a:lnTo>
                    <a:pt x="502" y="307"/>
                  </a:lnTo>
                  <a:lnTo>
                    <a:pt x="504" y="309"/>
                  </a:lnTo>
                  <a:lnTo>
                    <a:pt x="505" y="310"/>
                  </a:lnTo>
                  <a:lnTo>
                    <a:pt x="505" y="312"/>
                  </a:lnTo>
                  <a:lnTo>
                    <a:pt x="505" y="314"/>
                  </a:lnTo>
                  <a:lnTo>
                    <a:pt x="504" y="315"/>
                  </a:lnTo>
                  <a:lnTo>
                    <a:pt x="502" y="316"/>
                  </a:lnTo>
                  <a:lnTo>
                    <a:pt x="501" y="317"/>
                  </a:lnTo>
                  <a:lnTo>
                    <a:pt x="500" y="316"/>
                  </a:lnTo>
                  <a:lnTo>
                    <a:pt x="499" y="316"/>
                  </a:lnTo>
                  <a:lnTo>
                    <a:pt x="380" y="267"/>
                  </a:lnTo>
                  <a:lnTo>
                    <a:pt x="477" y="317"/>
                  </a:lnTo>
                  <a:lnTo>
                    <a:pt x="479" y="319"/>
                  </a:lnTo>
                  <a:lnTo>
                    <a:pt x="480" y="320"/>
                  </a:lnTo>
                  <a:lnTo>
                    <a:pt x="480" y="322"/>
                  </a:lnTo>
                  <a:lnTo>
                    <a:pt x="479" y="324"/>
                  </a:lnTo>
                  <a:lnTo>
                    <a:pt x="478" y="325"/>
                  </a:lnTo>
                  <a:lnTo>
                    <a:pt x="477" y="326"/>
                  </a:lnTo>
                  <a:lnTo>
                    <a:pt x="475" y="326"/>
                  </a:lnTo>
                  <a:lnTo>
                    <a:pt x="473" y="326"/>
                  </a:lnTo>
                  <a:lnTo>
                    <a:pt x="304" y="238"/>
                  </a:lnTo>
                  <a:lnTo>
                    <a:pt x="418" y="347"/>
                  </a:lnTo>
                  <a:lnTo>
                    <a:pt x="419" y="349"/>
                  </a:lnTo>
                  <a:lnTo>
                    <a:pt x="420" y="350"/>
                  </a:lnTo>
                  <a:lnTo>
                    <a:pt x="419" y="352"/>
                  </a:lnTo>
                  <a:lnTo>
                    <a:pt x="418" y="354"/>
                  </a:lnTo>
                  <a:lnTo>
                    <a:pt x="417" y="355"/>
                  </a:lnTo>
                  <a:lnTo>
                    <a:pt x="415" y="355"/>
                  </a:lnTo>
                  <a:lnTo>
                    <a:pt x="413" y="355"/>
                  </a:lnTo>
                  <a:lnTo>
                    <a:pt x="412" y="355"/>
                  </a:lnTo>
                  <a:lnTo>
                    <a:pt x="412" y="354"/>
                  </a:lnTo>
                  <a:lnTo>
                    <a:pt x="302" y="249"/>
                  </a:lnTo>
                  <a:lnTo>
                    <a:pt x="348" y="331"/>
                  </a:lnTo>
                  <a:lnTo>
                    <a:pt x="349" y="333"/>
                  </a:lnTo>
                  <a:lnTo>
                    <a:pt x="349" y="335"/>
                  </a:lnTo>
                  <a:lnTo>
                    <a:pt x="348" y="337"/>
                  </a:lnTo>
                  <a:lnTo>
                    <a:pt x="347" y="338"/>
                  </a:lnTo>
                  <a:lnTo>
                    <a:pt x="345" y="338"/>
                  </a:lnTo>
                  <a:lnTo>
                    <a:pt x="343" y="338"/>
                  </a:lnTo>
                  <a:lnTo>
                    <a:pt x="342" y="337"/>
                  </a:lnTo>
                  <a:lnTo>
                    <a:pt x="340" y="336"/>
                  </a:lnTo>
                  <a:lnTo>
                    <a:pt x="307" y="278"/>
                  </a:lnTo>
                  <a:lnTo>
                    <a:pt x="333" y="342"/>
                  </a:lnTo>
                  <a:lnTo>
                    <a:pt x="333" y="344"/>
                  </a:lnTo>
                  <a:lnTo>
                    <a:pt x="332" y="345"/>
                  </a:lnTo>
                  <a:lnTo>
                    <a:pt x="331" y="347"/>
                  </a:lnTo>
                  <a:lnTo>
                    <a:pt x="330" y="348"/>
                  </a:lnTo>
                  <a:lnTo>
                    <a:pt x="328" y="348"/>
                  </a:lnTo>
                  <a:lnTo>
                    <a:pt x="326" y="348"/>
                  </a:lnTo>
                  <a:lnTo>
                    <a:pt x="325" y="347"/>
                  </a:lnTo>
                  <a:lnTo>
                    <a:pt x="324" y="345"/>
                  </a:lnTo>
                  <a:lnTo>
                    <a:pt x="277"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0" name="Freeform 1958"/>
            <p:cNvSpPr>
              <a:spLocks/>
            </p:cNvSpPr>
            <p:nvPr userDrawn="1"/>
          </p:nvSpPr>
          <p:spPr bwMode="auto">
            <a:xfrm>
              <a:off x="1065835" y="1882775"/>
              <a:ext cx="2381250" cy="3765550"/>
            </a:xfrm>
            <a:custGeom>
              <a:avLst/>
              <a:gdLst>
                <a:gd name="T0" fmla="*/ 460 w 1500"/>
                <a:gd name="T1" fmla="*/ 1507 h 2372"/>
                <a:gd name="T2" fmla="*/ 542 w 1500"/>
                <a:gd name="T3" fmla="*/ 1919 h 2372"/>
                <a:gd name="T4" fmla="*/ 668 w 1500"/>
                <a:gd name="T5" fmla="*/ 2372 h 2372"/>
                <a:gd name="T6" fmla="*/ 518 w 1500"/>
                <a:gd name="T7" fmla="*/ 1889 h 2372"/>
                <a:gd name="T8" fmla="*/ 444 w 1500"/>
                <a:gd name="T9" fmla="*/ 1510 h 2372"/>
                <a:gd name="T10" fmla="*/ 385 w 1500"/>
                <a:gd name="T11" fmla="*/ 1153 h 2372"/>
                <a:gd name="T12" fmla="*/ 186 w 1500"/>
                <a:gd name="T13" fmla="*/ 1111 h 2372"/>
                <a:gd name="T14" fmla="*/ 72 w 1500"/>
                <a:gd name="T15" fmla="*/ 1082 h 2372"/>
                <a:gd name="T16" fmla="*/ 262 w 1500"/>
                <a:gd name="T17" fmla="*/ 1056 h 2372"/>
                <a:gd name="T18" fmla="*/ 37 w 1500"/>
                <a:gd name="T19" fmla="*/ 916 h 2372"/>
                <a:gd name="T20" fmla="*/ 333 w 1500"/>
                <a:gd name="T21" fmla="*/ 1080 h 2372"/>
                <a:gd name="T22" fmla="*/ 332 w 1500"/>
                <a:gd name="T23" fmla="*/ 1001 h 2372"/>
                <a:gd name="T24" fmla="*/ 222 w 1500"/>
                <a:gd name="T25" fmla="*/ 883 h 2372"/>
                <a:gd name="T26" fmla="*/ 63 w 1500"/>
                <a:gd name="T27" fmla="*/ 779 h 2372"/>
                <a:gd name="T28" fmla="*/ 98 w 1500"/>
                <a:gd name="T29" fmla="*/ 779 h 2372"/>
                <a:gd name="T30" fmla="*/ 280 w 1500"/>
                <a:gd name="T31" fmla="*/ 917 h 2372"/>
                <a:gd name="T32" fmla="*/ 387 w 1500"/>
                <a:gd name="T33" fmla="*/ 1059 h 2372"/>
                <a:gd name="T34" fmla="*/ 276 w 1500"/>
                <a:gd name="T35" fmla="*/ 150 h 2372"/>
                <a:gd name="T36" fmla="*/ 439 w 1500"/>
                <a:gd name="T37" fmla="*/ 1081 h 2372"/>
                <a:gd name="T38" fmla="*/ 524 w 1500"/>
                <a:gd name="T39" fmla="*/ 734 h 2372"/>
                <a:gd name="T40" fmla="*/ 551 w 1500"/>
                <a:gd name="T41" fmla="*/ 405 h 2372"/>
                <a:gd name="T42" fmla="*/ 535 w 1500"/>
                <a:gd name="T43" fmla="*/ 157 h 2372"/>
                <a:gd name="T44" fmla="*/ 512 w 1500"/>
                <a:gd name="T45" fmla="*/ 0 h 2372"/>
                <a:gd name="T46" fmla="*/ 542 w 1500"/>
                <a:gd name="T47" fmla="*/ 99 h 2372"/>
                <a:gd name="T48" fmla="*/ 567 w 1500"/>
                <a:gd name="T49" fmla="*/ 405 h 2372"/>
                <a:gd name="T50" fmla="*/ 540 w 1500"/>
                <a:gd name="T51" fmla="*/ 736 h 2372"/>
                <a:gd name="T52" fmla="*/ 448 w 1500"/>
                <a:gd name="T53" fmla="*/ 1104 h 2372"/>
                <a:gd name="T54" fmla="*/ 688 w 1500"/>
                <a:gd name="T55" fmla="*/ 800 h 2372"/>
                <a:gd name="T56" fmla="*/ 865 w 1500"/>
                <a:gd name="T57" fmla="*/ 506 h 2372"/>
                <a:gd name="T58" fmla="*/ 969 w 1500"/>
                <a:gd name="T59" fmla="*/ 260 h 2372"/>
                <a:gd name="T60" fmla="*/ 1023 w 1500"/>
                <a:gd name="T61" fmla="*/ 99 h 2372"/>
                <a:gd name="T62" fmla="*/ 1012 w 1500"/>
                <a:gd name="T63" fmla="*/ 176 h 2372"/>
                <a:gd name="T64" fmla="*/ 920 w 1500"/>
                <a:gd name="T65" fmla="*/ 429 h 2372"/>
                <a:gd name="T66" fmla="*/ 774 w 1500"/>
                <a:gd name="T67" fmla="*/ 700 h 2372"/>
                <a:gd name="T68" fmla="*/ 533 w 1500"/>
                <a:gd name="T69" fmla="*/ 1031 h 2372"/>
                <a:gd name="T70" fmla="*/ 623 w 1500"/>
                <a:gd name="T71" fmla="*/ 967 h 2372"/>
                <a:gd name="T72" fmla="*/ 853 w 1500"/>
                <a:gd name="T73" fmla="*/ 694 h 2372"/>
                <a:gd name="T74" fmla="*/ 1044 w 1500"/>
                <a:gd name="T75" fmla="*/ 378 h 2372"/>
                <a:gd name="T76" fmla="*/ 1135 w 1500"/>
                <a:gd name="T77" fmla="*/ 160 h 2372"/>
                <a:gd name="T78" fmla="*/ 1147 w 1500"/>
                <a:gd name="T79" fmla="*/ 169 h 2372"/>
                <a:gd name="T80" fmla="*/ 989 w 1500"/>
                <a:gd name="T81" fmla="*/ 512 h 2372"/>
                <a:gd name="T82" fmla="*/ 747 w 1500"/>
                <a:gd name="T83" fmla="*/ 851 h 2372"/>
                <a:gd name="T84" fmla="*/ 635 w 1500"/>
                <a:gd name="T85" fmla="*/ 1001 h 2372"/>
                <a:gd name="T86" fmla="*/ 946 w 1500"/>
                <a:gd name="T87" fmla="*/ 756 h 2372"/>
                <a:gd name="T88" fmla="*/ 1109 w 1500"/>
                <a:gd name="T89" fmla="*/ 580 h 2372"/>
                <a:gd name="T90" fmla="*/ 1260 w 1500"/>
                <a:gd name="T91" fmla="*/ 483 h 2372"/>
                <a:gd name="T92" fmla="*/ 1390 w 1500"/>
                <a:gd name="T93" fmla="*/ 445 h 2372"/>
                <a:gd name="T94" fmla="*/ 1432 w 1500"/>
                <a:gd name="T95" fmla="*/ 452 h 2372"/>
                <a:gd name="T96" fmla="*/ 1280 w 1500"/>
                <a:gd name="T97" fmla="*/ 492 h 2372"/>
                <a:gd name="T98" fmla="*/ 1126 w 1500"/>
                <a:gd name="T99" fmla="*/ 585 h 2372"/>
                <a:gd name="T100" fmla="*/ 987 w 1500"/>
                <a:gd name="T101" fmla="*/ 738 h 2372"/>
                <a:gd name="T102" fmla="*/ 731 w 1500"/>
                <a:gd name="T103" fmla="*/ 953 h 2372"/>
                <a:gd name="T104" fmla="*/ 1497 w 1500"/>
                <a:gd name="T105" fmla="*/ 623 h 2372"/>
                <a:gd name="T106" fmla="*/ 1019 w 1500"/>
                <a:gd name="T107" fmla="*/ 905 h 2372"/>
                <a:gd name="T108" fmla="*/ 1452 w 1500"/>
                <a:gd name="T109" fmla="*/ 758 h 2372"/>
                <a:gd name="T110" fmla="*/ 1357 w 1500"/>
                <a:gd name="T111" fmla="*/ 1064 h 2372"/>
                <a:gd name="T112" fmla="*/ 1058 w 1500"/>
                <a:gd name="T113" fmla="*/ 1265 h 2372"/>
                <a:gd name="T114" fmla="*/ 1059 w 1500"/>
                <a:gd name="T115" fmla="*/ 1281 h 2372"/>
                <a:gd name="T116" fmla="*/ 1045 w 1500"/>
                <a:gd name="T117" fmla="*/ 1370 h 2372"/>
                <a:gd name="T118" fmla="*/ 431 w 1500"/>
                <a:gd name="T119" fmla="*/ 1156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0" h="2372">
                  <a:moveTo>
                    <a:pt x="429" y="1155"/>
                  </a:moveTo>
                  <a:lnTo>
                    <a:pt x="431" y="1210"/>
                  </a:lnTo>
                  <a:lnTo>
                    <a:pt x="434" y="1261"/>
                  </a:lnTo>
                  <a:lnTo>
                    <a:pt x="437" y="1310"/>
                  </a:lnTo>
                  <a:lnTo>
                    <a:pt x="442" y="1357"/>
                  </a:lnTo>
                  <a:lnTo>
                    <a:pt x="447" y="1405"/>
                  </a:lnTo>
                  <a:lnTo>
                    <a:pt x="450" y="1429"/>
                  </a:lnTo>
                  <a:lnTo>
                    <a:pt x="453" y="1454"/>
                  </a:lnTo>
                  <a:lnTo>
                    <a:pt x="460" y="1507"/>
                  </a:lnTo>
                  <a:lnTo>
                    <a:pt x="469" y="1564"/>
                  </a:lnTo>
                  <a:lnTo>
                    <a:pt x="475" y="1605"/>
                  </a:lnTo>
                  <a:lnTo>
                    <a:pt x="482" y="1645"/>
                  </a:lnTo>
                  <a:lnTo>
                    <a:pt x="495" y="1719"/>
                  </a:lnTo>
                  <a:lnTo>
                    <a:pt x="502" y="1754"/>
                  </a:lnTo>
                  <a:lnTo>
                    <a:pt x="510" y="1787"/>
                  </a:lnTo>
                  <a:lnTo>
                    <a:pt x="525" y="1853"/>
                  </a:lnTo>
                  <a:lnTo>
                    <a:pt x="533" y="1886"/>
                  </a:lnTo>
                  <a:lnTo>
                    <a:pt x="542" y="1919"/>
                  </a:lnTo>
                  <a:lnTo>
                    <a:pt x="551" y="1952"/>
                  </a:lnTo>
                  <a:lnTo>
                    <a:pt x="560" y="1986"/>
                  </a:lnTo>
                  <a:lnTo>
                    <a:pt x="581" y="2058"/>
                  </a:lnTo>
                  <a:lnTo>
                    <a:pt x="605" y="2136"/>
                  </a:lnTo>
                  <a:lnTo>
                    <a:pt x="625" y="2200"/>
                  </a:lnTo>
                  <a:lnTo>
                    <a:pt x="645" y="2261"/>
                  </a:lnTo>
                  <a:lnTo>
                    <a:pt x="665" y="2318"/>
                  </a:lnTo>
                  <a:lnTo>
                    <a:pt x="685" y="2372"/>
                  </a:lnTo>
                  <a:lnTo>
                    <a:pt x="668" y="2372"/>
                  </a:lnTo>
                  <a:lnTo>
                    <a:pt x="649" y="2319"/>
                  </a:lnTo>
                  <a:lnTo>
                    <a:pt x="629" y="2263"/>
                  </a:lnTo>
                  <a:lnTo>
                    <a:pt x="609" y="2204"/>
                  </a:lnTo>
                  <a:lnTo>
                    <a:pt x="600" y="2172"/>
                  </a:lnTo>
                  <a:lnTo>
                    <a:pt x="590" y="2140"/>
                  </a:lnTo>
                  <a:lnTo>
                    <a:pt x="566" y="2062"/>
                  </a:lnTo>
                  <a:lnTo>
                    <a:pt x="545" y="1990"/>
                  </a:lnTo>
                  <a:lnTo>
                    <a:pt x="526" y="1922"/>
                  </a:lnTo>
                  <a:lnTo>
                    <a:pt x="518" y="1889"/>
                  </a:lnTo>
                  <a:lnTo>
                    <a:pt x="509" y="1857"/>
                  </a:lnTo>
                  <a:lnTo>
                    <a:pt x="494" y="1791"/>
                  </a:lnTo>
                  <a:lnTo>
                    <a:pt x="487" y="1757"/>
                  </a:lnTo>
                  <a:lnTo>
                    <a:pt x="480" y="1722"/>
                  </a:lnTo>
                  <a:lnTo>
                    <a:pt x="473" y="1686"/>
                  </a:lnTo>
                  <a:lnTo>
                    <a:pt x="466" y="1647"/>
                  </a:lnTo>
                  <a:lnTo>
                    <a:pt x="459" y="1608"/>
                  </a:lnTo>
                  <a:lnTo>
                    <a:pt x="453" y="1567"/>
                  </a:lnTo>
                  <a:lnTo>
                    <a:pt x="444" y="1510"/>
                  </a:lnTo>
                  <a:lnTo>
                    <a:pt x="437" y="1457"/>
                  </a:lnTo>
                  <a:lnTo>
                    <a:pt x="431" y="1408"/>
                  </a:lnTo>
                  <a:lnTo>
                    <a:pt x="426" y="1361"/>
                  </a:lnTo>
                  <a:lnTo>
                    <a:pt x="422" y="1313"/>
                  </a:lnTo>
                  <a:lnTo>
                    <a:pt x="418" y="1265"/>
                  </a:lnTo>
                  <a:lnTo>
                    <a:pt x="415" y="1214"/>
                  </a:lnTo>
                  <a:lnTo>
                    <a:pt x="413" y="1160"/>
                  </a:lnTo>
                  <a:lnTo>
                    <a:pt x="410" y="1160"/>
                  </a:lnTo>
                  <a:lnTo>
                    <a:pt x="385" y="1153"/>
                  </a:lnTo>
                  <a:lnTo>
                    <a:pt x="0" y="1195"/>
                  </a:lnTo>
                  <a:lnTo>
                    <a:pt x="0" y="1178"/>
                  </a:lnTo>
                  <a:lnTo>
                    <a:pt x="340" y="1142"/>
                  </a:lnTo>
                  <a:lnTo>
                    <a:pt x="320" y="1137"/>
                  </a:lnTo>
                  <a:lnTo>
                    <a:pt x="300" y="1133"/>
                  </a:lnTo>
                  <a:lnTo>
                    <a:pt x="280" y="1128"/>
                  </a:lnTo>
                  <a:lnTo>
                    <a:pt x="261" y="1125"/>
                  </a:lnTo>
                  <a:lnTo>
                    <a:pt x="224" y="1118"/>
                  </a:lnTo>
                  <a:lnTo>
                    <a:pt x="186" y="1111"/>
                  </a:lnTo>
                  <a:lnTo>
                    <a:pt x="167" y="1109"/>
                  </a:lnTo>
                  <a:lnTo>
                    <a:pt x="148" y="1106"/>
                  </a:lnTo>
                  <a:lnTo>
                    <a:pt x="108" y="1102"/>
                  </a:lnTo>
                  <a:lnTo>
                    <a:pt x="65" y="1097"/>
                  </a:lnTo>
                  <a:lnTo>
                    <a:pt x="19" y="1094"/>
                  </a:lnTo>
                  <a:lnTo>
                    <a:pt x="0" y="1092"/>
                  </a:lnTo>
                  <a:lnTo>
                    <a:pt x="0" y="1076"/>
                  </a:lnTo>
                  <a:lnTo>
                    <a:pt x="21" y="1078"/>
                  </a:lnTo>
                  <a:lnTo>
                    <a:pt x="72" y="1082"/>
                  </a:lnTo>
                  <a:lnTo>
                    <a:pt x="120" y="1087"/>
                  </a:lnTo>
                  <a:lnTo>
                    <a:pt x="164" y="1092"/>
                  </a:lnTo>
                  <a:lnTo>
                    <a:pt x="207" y="1098"/>
                  </a:lnTo>
                  <a:lnTo>
                    <a:pt x="0" y="1048"/>
                  </a:lnTo>
                  <a:lnTo>
                    <a:pt x="0" y="1032"/>
                  </a:lnTo>
                  <a:lnTo>
                    <a:pt x="364" y="1120"/>
                  </a:lnTo>
                  <a:lnTo>
                    <a:pt x="338" y="1103"/>
                  </a:lnTo>
                  <a:lnTo>
                    <a:pt x="312" y="1086"/>
                  </a:lnTo>
                  <a:lnTo>
                    <a:pt x="262" y="1056"/>
                  </a:lnTo>
                  <a:lnTo>
                    <a:pt x="237" y="1041"/>
                  </a:lnTo>
                  <a:lnTo>
                    <a:pt x="210" y="1026"/>
                  </a:lnTo>
                  <a:lnTo>
                    <a:pt x="182" y="1010"/>
                  </a:lnTo>
                  <a:lnTo>
                    <a:pt x="151" y="993"/>
                  </a:lnTo>
                  <a:lnTo>
                    <a:pt x="71" y="951"/>
                  </a:lnTo>
                  <a:lnTo>
                    <a:pt x="35" y="933"/>
                  </a:lnTo>
                  <a:lnTo>
                    <a:pt x="0" y="916"/>
                  </a:lnTo>
                  <a:lnTo>
                    <a:pt x="0" y="899"/>
                  </a:lnTo>
                  <a:lnTo>
                    <a:pt x="37" y="916"/>
                  </a:lnTo>
                  <a:lnTo>
                    <a:pt x="75" y="935"/>
                  </a:lnTo>
                  <a:lnTo>
                    <a:pt x="115" y="956"/>
                  </a:lnTo>
                  <a:lnTo>
                    <a:pt x="158" y="979"/>
                  </a:lnTo>
                  <a:lnTo>
                    <a:pt x="208" y="1006"/>
                  </a:lnTo>
                  <a:lnTo>
                    <a:pt x="230" y="1018"/>
                  </a:lnTo>
                  <a:lnTo>
                    <a:pt x="251" y="1030"/>
                  </a:lnTo>
                  <a:lnTo>
                    <a:pt x="272" y="1043"/>
                  </a:lnTo>
                  <a:lnTo>
                    <a:pt x="292" y="1055"/>
                  </a:lnTo>
                  <a:lnTo>
                    <a:pt x="333" y="1080"/>
                  </a:lnTo>
                  <a:lnTo>
                    <a:pt x="0" y="817"/>
                  </a:lnTo>
                  <a:lnTo>
                    <a:pt x="0" y="797"/>
                  </a:lnTo>
                  <a:lnTo>
                    <a:pt x="393" y="1108"/>
                  </a:lnTo>
                  <a:lnTo>
                    <a:pt x="379" y="1078"/>
                  </a:lnTo>
                  <a:lnTo>
                    <a:pt x="371" y="1064"/>
                  </a:lnTo>
                  <a:lnTo>
                    <a:pt x="364" y="1051"/>
                  </a:lnTo>
                  <a:lnTo>
                    <a:pt x="348" y="1025"/>
                  </a:lnTo>
                  <a:lnTo>
                    <a:pt x="340" y="1013"/>
                  </a:lnTo>
                  <a:lnTo>
                    <a:pt x="332" y="1001"/>
                  </a:lnTo>
                  <a:lnTo>
                    <a:pt x="323" y="989"/>
                  </a:lnTo>
                  <a:lnTo>
                    <a:pt x="313" y="977"/>
                  </a:lnTo>
                  <a:lnTo>
                    <a:pt x="303" y="965"/>
                  </a:lnTo>
                  <a:lnTo>
                    <a:pt x="293" y="953"/>
                  </a:lnTo>
                  <a:lnTo>
                    <a:pt x="282" y="941"/>
                  </a:lnTo>
                  <a:lnTo>
                    <a:pt x="270" y="929"/>
                  </a:lnTo>
                  <a:lnTo>
                    <a:pt x="258" y="917"/>
                  </a:lnTo>
                  <a:lnTo>
                    <a:pt x="245" y="904"/>
                  </a:lnTo>
                  <a:lnTo>
                    <a:pt x="222" y="883"/>
                  </a:lnTo>
                  <a:lnTo>
                    <a:pt x="201" y="865"/>
                  </a:lnTo>
                  <a:lnTo>
                    <a:pt x="180" y="848"/>
                  </a:lnTo>
                  <a:lnTo>
                    <a:pt x="170" y="841"/>
                  </a:lnTo>
                  <a:lnTo>
                    <a:pt x="160" y="834"/>
                  </a:lnTo>
                  <a:lnTo>
                    <a:pt x="149" y="826"/>
                  </a:lnTo>
                  <a:lnTo>
                    <a:pt x="138" y="820"/>
                  </a:lnTo>
                  <a:lnTo>
                    <a:pt x="115" y="806"/>
                  </a:lnTo>
                  <a:lnTo>
                    <a:pt x="91" y="793"/>
                  </a:lnTo>
                  <a:lnTo>
                    <a:pt x="63" y="779"/>
                  </a:lnTo>
                  <a:lnTo>
                    <a:pt x="31" y="763"/>
                  </a:lnTo>
                  <a:lnTo>
                    <a:pt x="15" y="756"/>
                  </a:lnTo>
                  <a:lnTo>
                    <a:pt x="0" y="750"/>
                  </a:lnTo>
                  <a:lnTo>
                    <a:pt x="0" y="732"/>
                  </a:lnTo>
                  <a:lnTo>
                    <a:pt x="17" y="739"/>
                  </a:lnTo>
                  <a:lnTo>
                    <a:pt x="34" y="747"/>
                  </a:lnTo>
                  <a:lnTo>
                    <a:pt x="52" y="755"/>
                  </a:lnTo>
                  <a:lnTo>
                    <a:pt x="70" y="764"/>
                  </a:lnTo>
                  <a:lnTo>
                    <a:pt x="98" y="779"/>
                  </a:lnTo>
                  <a:lnTo>
                    <a:pt x="123" y="792"/>
                  </a:lnTo>
                  <a:lnTo>
                    <a:pt x="147" y="806"/>
                  </a:lnTo>
                  <a:lnTo>
                    <a:pt x="169" y="820"/>
                  </a:lnTo>
                  <a:lnTo>
                    <a:pt x="190" y="836"/>
                  </a:lnTo>
                  <a:lnTo>
                    <a:pt x="211" y="852"/>
                  </a:lnTo>
                  <a:lnTo>
                    <a:pt x="233" y="871"/>
                  </a:lnTo>
                  <a:lnTo>
                    <a:pt x="256" y="893"/>
                  </a:lnTo>
                  <a:lnTo>
                    <a:pt x="268" y="905"/>
                  </a:lnTo>
                  <a:lnTo>
                    <a:pt x="280" y="917"/>
                  </a:lnTo>
                  <a:lnTo>
                    <a:pt x="303" y="940"/>
                  </a:lnTo>
                  <a:lnTo>
                    <a:pt x="313" y="952"/>
                  </a:lnTo>
                  <a:lnTo>
                    <a:pt x="323" y="963"/>
                  </a:lnTo>
                  <a:lnTo>
                    <a:pt x="341" y="986"/>
                  </a:lnTo>
                  <a:lnTo>
                    <a:pt x="349" y="998"/>
                  </a:lnTo>
                  <a:lnTo>
                    <a:pt x="357" y="1009"/>
                  </a:lnTo>
                  <a:lnTo>
                    <a:pt x="373" y="1034"/>
                  </a:lnTo>
                  <a:lnTo>
                    <a:pt x="380" y="1046"/>
                  </a:lnTo>
                  <a:lnTo>
                    <a:pt x="387" y="1059"/>
                  </a:lnTo>
                  <a:lnTo>
                    <a:pt x="401" y="1087"/>
                  </a:lnTo>
                  <a:lnTo>
                    <a:pt x="335" y="623"/>
                  </a:lnTo>
                  <a:lnTo>
                    <a:pt x="269" y="159"/>
                  </a:lnTo>
                  <a:lnTo>
                    <a:pt x="269" y="157"/>
                  </a:lnTo>
                  <a:lnTo>
                    <a:pt x="270" y="156"/>
                  </a:lnTo>
                  <a:lnTo>
                    <a:pt x="270" y="154"/>
                  </a:lnTo>
                  <a:lnTo>
                    <a:pt x="271" y="153"/>
                  </a:lnTo>
                  <a:lnTo>
                    <a:pt x="273" y="151"/>
                  </a:lnTo>
                  <a:lnTo>
                    <a:pt x="276" y="150"/>
                  </a:lnTo>
                  <a:lnTo>
                    <a:pt x="279" y="150"/>
                  </a:lnTo>
                  <a:lnTo>
                    <a:pt x="282" y="151"/>
                  </a:lnTo>
                  <a:lnTo>
                    <a:pt x="284" y="154"/>
                  </a:lnTo>
                  <a:lnTo>
                    <a:pt x="285" y="157"/>
                  </a:lnTo>
                  <a:lnTo>
                    <a:pt x="353" y="637"/>
                  </a:lnTo>
                  <a:lnTo>
                    <a:pt x="421" y="1117"/>
                  </a:lnTo>
                  <a:lnTo>
                    <a:pt x="424" y="1117"/>
                  </a:lnTo>
                  <a:lnTo>
                    <a:pt x="425" y="1119"/>
                  </a:lnTo>
                  <a:lnTo>
                    <a:pt x="439" y="1081"/>
                  </a:lnTo>
                  <a:lnTo>
                    <a:pt x="450" y="1045"/>
                  </a:lnTo>
                  <a:lnTo>
                    <a:pt x="461" y="1011"/>
                  </a:lnTo>
                  <a:lnTo>
                    <a:pt x="471" y="977"/>
                  </a:lnTo>
                  <a:lnTo>
                    <a:pt x="480" y="943"/>
                  </a:lnTo>
                  <a:lnTo>
                    <a:pt x="488" y="908"/>
                  </a:lnTo>
                  <a:lnTo>
                    <a:pt x="497" y="870"/>
                  </a:lnTo>
                  <a:lnTo>
                    <a:pt x="506" y="828"/>
                  </a:lnTo>
                  <a:lnTo>
                    <a:pt x="516" y="779"/>
                  </a:lnTo>
                  <a:lnTo>
                    <a:pt x="524" y="734"/>
                  </a:lnTo>
                  <a:lnTo>
                    <a:pt x="531" y="691"/>
                  </a:lnTo>
                  <a:lnTo>
                    <a:pt x="537" y="650"/>
                  </a:lnTo>
                  <a:lnTo>
                    <a:pt x="542" y="608"/>
                  </a:lnTo>
                  <a:lnTo>
                    <a:pt x="544" y="587"/>
                  </a:lnTo>
                  <a:lnTo>
                    <a:pt x="546" y="565"/>
                  </a:lnTo>
                  <a:lnTo>
                    <a:pt x="548" y="519"/>
                  </a:lnTo>
                  <a:lnTo>
                    <a:pt x="550" y="469"/>
                  </a:lnTo>
                  <a:lnTo>
                    <a:pt x="551" y="436"/>
                  </a:lnTo>
                  <a:lnTo>
                    <a:pt x="551" y="405"/>
                  </a:lnTo>
                  <a:lnTo>
                    <a:pt x="551" y="375"/>
                  </a:lnTo>
                  <a:lnTo>
                    <a:pt x="551" y="346"/>
                  </a:lnTo>
                  <a:lnTo>
                    <a:pt x="550" y="318"/>
                  </a:lnTo>
                  <a:lnTo>
                    <a:pt x="549" y="291"/>
                  </a:lnTo>
                  <a:lnTo>
                    <a:pt x="547" y="264"/>
                  </a:lnTo>
                  <a:lnTo>
                    <a:pt x="545" y="237"/>
                  </a:lnTo>
                  <a:lnTo>
                    <a:pt x="542" y="211"/>
                  </a:lnTo>
                  <a:lnTo>
                    <a:pt x="539" y="184"/>
                  </a:lnTo>
                  <a:lnTo>
                    <a:pt x="535" y="157"/>
                  </a:lnTo>
                  <a:lnTo>
                    <a:pt x="531" y="130"/>
                  </a:lnTo>
                  <a:lnTo>
                    <a:pt x="526" y="102"/>
                  </a:lnTo>
                  <a:lnTo>
                    <a:pt x="521" y="72"/>
                  </a:lnTo>
                  <a:lnTo>
                    <a:pt x="508" y="10"/>
                  </a:lnTo>
                  <a:lnTo>
                    <a:pt x="507" y="6"/>
                  </a:lnTo>
                  <a:lnTo>
                    <a:pt x="509" y="3"/>
                  </a:lnTo>
                  <a:lnTo>
                    <a:pt x="510" y="2"/>
                  </a:lnTo>
                  <a:lnTo>
                    <a:pt x="511" y="1"/>
                  </a:lnTo>
                  <a:lnTo>
                    <a:pt x="512" y="0"/>
                  </a:lnTo>
                  <a:lnTo>
                    <a:pt x="514" y="0"/>
                  </a:lnTo>
                  <a:lnTo>
                    <a:pt x="517" y="0"/>
                  </a:lnTo>
                  <a:lnTo>
                    <a:pt x="519" y="1"/>
                  </a:lnTo>
                  <a:lnTo>
                    <a:pt x="522" y="3"/>
                  </a:lnTo>
                  <a:lnTo>
                    <a:pt x="523" y="4"/>
                  </a:lnTo>
                  <a:lnTo>
                    <a:pt x="523" y="6"/>
                  </a:lnTo>
                  <a:lnTo>
                    <a:pt x="530" y="39"/>
                  </a:lnTo>
                  <a:lnTo>
                    <a:pt x="536" y="69"/>
                  </a:lnTo>
                  <a:lnTo>
                    <a:pt x="542" y="99"/>
                  </a:lnTo>
                  <a:lnTo>
                    <a:pt x="547" y="128"/>
                  </a:lnTo>
                  <a:lnTo>
                    <a:pt x="555" y="182"/>
                  </a:lnTo>
                  <a:lnTo>
                    <a:pt x="561" y="236"/>
                  </a:lnTo>
                  <a:lnTo>
                    <a:pt x="563" y="262"/>
                  </a:lnTo>
                  <a:lnTo>
                    <a:pt x="565" y="290"/>
                  </a:lnTo>
                  <a:lnTo>
                    <a:pt x="566" y="318"/>
                  </a:lnTo>
                  <a:lnTo>
                    <a:pt x="567" y="346"/>
                  </a:lnTo>
                  <a:lnTo>
                    <a:pt x="567" y="375"/>
                  </a:lnTo>
                  <a:lnTo>
                    <a:pt x="567" y="405"/>
                  </a:lnTo>
                  <a:lnTo>
                    <a:pt x="567" y="436"/>
                  </a:lnTo>
                  <a:lnTo>
                    <a:pt x="566" y="469"/>
                  </a:lnTo>
                  <a:lnTo>
                    <a:pt x="564" y="520"/>
                  </a:lnTo>
                  <a:lnTo>
                    <a:pt x="562" y="566"/>
                  </a:lnTo>
                  <a:lnTo>
                    <a:pt x="560" y="588"/>
                  </a:lnTo>
                  <a:lnTo>
                    <a:pt x="558" y="610"/>
                  </a:lnTo>
                  <a:lnTo>
                    <a:pt x="553" y="652"/>
                  </a:lnTo>
                  <a:lnTo>
                    <a:pt x="547" y="693"/>
                  </a:lnTo>
                  <a:lnTo>
                    <a:pt x="540" y="736"/>
                  </a:lnTo>
                  <a:lnTo>
                    <a:pt x="531" y="782"/>
                  </a:lnTo>
                  <a:lnTo>
                    <a:pt x="521" y="832"/>
                  </a:lnTo>
                  <a:lnTo>
                    <a:pt x="505" y="907"/>
                  </a:lnTo>
                  <a:lnTo>
                    <a:pt x="497" y="941"/>
                  </a:lnTo>
                  <a:lnTo>
                    <a:pt x="488" y="973"/>
                  </a:lnTo>
                  <a:lnTo>
                    <a:pt x="480" y="1005"/>
                  </a:lnTo>
                  <a:lnTo>
                    <a:pt x="470" y="1037"/>
                  </a:lnTo>
                  <a:lnTo>
                    <a:pt x="459" y="1069"/>
                  </a:lnTo>
                  <a:lnTo>
                    <a:pt x="448" y="1104"/>
                  </a:lnTo>
                  <a:lnTo>
                    <a:pt x="473" y="1076"/>
                  </a:lnTo>
                  <a:lnTo>
                    <a:pt x="496" y="1050"/>
                  </a:lnTo>
                  <a:lnTo>
                    <a:pt x="518" y="1024"/>
                  </a:lnTo>
                  <a:lnTo>
                    <a:pt x="539" y="998"/>
                  </a:lnTo>
                  <a:lnTo>
                    <a:pt x="561" y="971"/>
                  </a:lnTo>
                  <a:lnTo>
                    <a:pt x="583" y="943"/>
                  </a:lnTo>
                  <a:lnTo>
                    <a:pt x="630" y="880"/>
                  </a:lnTo>
                  <a:lnTo>
                    <a:pt x="660" y="838"/>
                  </a:lnTo>
                  <a:lnTo>
                    <a:pt x="688" y="800"/>
                  </a:lnTo>
                  <a:lnTo>
                    <a:pt x="714" y="763"/>
                  </a:lnTo>
                  <a:lnTo>
                    <a:pt x="738" y="728"/>
                  </a:lnTo>
                  <a:lnTo>
                    <a:pt x="761" y="691"/>
                  </a:lnTo>
                  <a:lnTo>
                    <a:pt x="772" y="673"/>
                  </a:lnTo>
                  <a:lnTo>
                    <a:pt x="784" y="653"/>
                  </a:lnTo>
                  <a:lnTo>
                    <a:pt x="808" y="612"/>
                  </a:lnTo>
                  <a:lnTo>
                    <a:pt x="833" y="567"/>
                  </a:lnTo>
                  <a:lnTo>
                    <a:pt x="850" y="536"/>
                  </a:lnTo>
                  <a:lnTo>
                    <a:pt x="865" y="506"/>
                  </a:lnTo>
                  <a:lnTo>
                    <a:pt x="879" y="477"/>
                  </a:lnTo>
                  <a:lnTo>
                    <a:pt x="893" y="449"/>
                  </a:lnTo>
                  <a:lnTo>
                    <a:pt x="906" y="422"/>
                  </a:lnTo>
                  <a:lnTo>
                    <a:pt x="917" y="395"/>
                  </a:lnTo>
                  <a:lnTo>
                    <a:pt x="929" y="369"/>
                  </a:lnTo>
                  <a:lnTo>
                    <a:pt x="939" y="343"/>
                  </a:lnTo>
                  <a:lnTo>
                    <a:pt x="950" y="316"/>
                  </a:lnTo>
                  <a:lnTo>
                    <a:pt x="960" y="289"/>
                  </a:lnTo>
                  <a:lnTo>
                    <a:pt x="969" y="260"/>
                  </a:lnTo>
                  <a:lnTo>
                    <a:pt x="979" y="232"/>
                  </a:lnTo>
                  <a:lnTo>
                    <a:pt x="988" y="202"/>
                  </a:lnTo>
                  <a:lnTo>
                    <a:pt x="997" y="172"/>
                  </a:lnTo>
                  <a:lnTo>
                    <a:pt x="1006" y="139"/>
                  </a:lnTo>
                  <a:lnTo>
                    <a:pt x="1016" y="105"/>
                  </a:lnTo>
                  <a:lnTo>
                    <a:pt x="1016" y="103"/>
                  </a:lnTo>
                  <a:lnTo>
                    <a:pt x="1017" y="102"/>
                  </a:lnTo>
                  <a:lnTo>
                    <a:pt x="1020" y="100"/>
                  </a:lnTo>
                  <a:lnTo>
                    <a:pt x="1023" y="99"/>
                  </a:lnTo>
                  <a:lnTo>
                    <a:pt x="1026" y="100"/>
                  </a:lnTo>
                  <a:lnTo>
                    <a:pt x="1028" y="101"/>
                  </a:lnTo>
                  <a:lnTo>
                    <a:pt x="1030" y="103"/>
                  </a:lnTo>
                  <a:lnTo>
                    <a:pt x="1031" y="104"/>
                  </a:lnTo>
                  <a:lnTo>
                    <a:pt x="1031" y="106"/>
                  </a:lnTo>
                  <a:lnTo>
                    <a:pt x="1032" y="108"/>
                  </a:lnTo>
                  <a:lnTo>
                    <a:pt x="1031" y="109"/>
                  </a:lnTo>
                  <a:lnTo>
                    <a:pt x="1022" y="144"/>
                  </a:lnTo>
                  <a:lnTo>
                    <a:pt x="1012" y="176"/>
                  </a:lnTo>
                  <a:lnTo>
                    <a:pt x="1003" y="207"/>
                  </a:lnTo>
                  <a:lnTo>
                    <a:pt x="994" y="237"/>
                  </a:lnTo>
                  <a:lnTo>
                    <a:pt x="984" y="266"/>
                  </a:lnTo>
                  <a:lnTo>
                    <a:pt x="975" y="294"/>
                  </a:lnTo>
                  <a:lnTo>
                    <a:pt x="965" y="322"/>
                  </a:lnTo>
                  <a:lnTo>
                    <a:pt x="954" y="348"/>
                  </a:lnTo>
                  <a:lnTo>
                    <a:pt x="944" y="375"/>
                  </a:lnTo>
                  <a:lnTo>
                    <a:pt x="932" y="402"/>
                  </a:lnTo>
                  <a:lnTo>
                    <a:pt x="920" y="429"/>
                  </a:lnTo>
                  <a:lnTo>
                    <a:pt x="907" y="456"/>
                  </a:lnTo>
                  <a:lnTo>
                    <a:pt x="894" y="484"/>
                  </a:lnTo>
                  <a:lnTo>
                    <a:pt x="879" y="513"/>
                  </a:lnTo>
                  <a:lnTo>
                    <a:pt x="847" y="574"/>
                  </a:lnTo>
                  <a:lnTo>
                    <a:pt x="835" y="598"/>
                  </a:lnTo>
                  <a:lnTo>
                    <a:pt x="822" y="620"/>
                  </a:lnTo>
                  <a:lnTo>
                    <a:pt x="810" y="641"/>
                  </a:lnTo>
                  <a:lnTo>
                    <a:pt x="799" y="662"/>
                  </a:lnTo>
                  <a:lnTo>
                    <a:pt x="774" y="700"/>
                  </a:lnTo>
                  <a:lnTo>
                    <a:pt x="751" y="736"/>
                  </a:lnTo>
                  <a:lnTo>
                    <a:pt x="727" y="772"/>
                  </a:lnTo>
                  <a:lnTo>
                    <a:pt x="701" y="809"/>
                  </a:lnTo>
                  <a:lnTo>
                    <a:pt x="674" y="847"/>
                  </a:lnTo>
                  <a:lnTo>
                    <a:pt x="643" y="889"/>
                  </a:lnTo>
                  <a:lnTo>
                    <a:pt x="596" y="951"/>
                  </a:lnTo>
                  <a:lnTo>
                    <a:pt x="575" y="979"/>
                  </a:lnTo>
                  <a:lnTo>
                    <a:pt x="554" y="1005"/>
                  </a:lnTo>
                  <a:lnTo>
                    <a:pt x="533" y="1031"/>
                  </a:lnTo>
                  <a:lnTo>
                    <a:pt x="512" y="1056"/>
                  </a:lnTo>
                  <a:lnTo>
                    <a:pt x="489" y="1082"/>
                  </a:lnTo>
                  <a:lnTo>
                    <a:pt x="465" y="1109"/>
                  </a:lnTo>
                  <a:lnTo>
                    <a:pt x="472" y="1106"/>
                  </a:lnTo>
                  <a:lnTo>
                    <a:pt x="514" y="1070"/>
                  </a:lnTo>
                  <a:lnTo>
                    <a:pt x="552" y="1035"/>
                  </a:lnTo>
                  <a:lnTo>
                    <a:pt x="588" y="1001"/>
                  </a:lnTo>
                  <a:lnTo>
                    <a:pt x="606" y="984"/>
                  </a:lnTo>
                  <a:lnTo>
                    <a:pt x="623" y="967"/>
                  </a:lnTo>
                  <a:lnTo>
                    <a:pt x="640" y="949"/>
                  </a:lnTo>
                  <a:lnTo>
                    <a:pt x="657" y="931"/>
                  </a:lnTo>
                  <a:lnTo>
                    <a:pt x="691" y="893"/>
                  </a:lnTo>
                  <a:lnTo>
                    <a:pt x="727" y="851"/>
                  </a:lnTo>
                  <a:lnTo>
                    <a:pt x="765" y="805"/>
                  </a:lnTo>
                  <a:lnTo>
                    <a:pt x="798" y="766"/>
                  </a:lnTo>
                  <a:lnTo>
                    <a:pt x="827" y="729"/>
                  </a:lnTo>
                  <a:lnTo>
                    <a:pt x="840" y="712"/>
                  </a:lnTo>
                  <a:lnTo>
                    <a:pt x="853" y="694"/>
                  </a:lnTo>
                  <a:lnTo>
                    <a:pt x="878" y="660"/>
                  </a:lnTo>
                  <a:lnTo>
                    <a:pt x="890" y="643"/>
                  </a:lnTo>
                  <a:lnTo>
                    <a:pt x="902" y="625"/>
                  </a:lnTo>
                  <a:lnTo>
                    <a:pt x="926" y="588"/>
                  </a:lnTo>
                  <a:lnTo>
                    <a:pt x="950" y="548"/>
                  </a:lnTo>
                  <a:lnTo>
                    <a:pt x="976" y="504"/>
                  </a:lnTo>
                  <a:lnTo>
                    <a:pt x="1001" y="459"/>
                  </a:lnTo>
                  <a:lnTo>
                    <a:pt x="1023" y="418"/>
                  </a:lnTo>
                  <a:lnTo>
                    <a:pt x="1044" y="378"/>
                  </a:lnTo>
                  <a:lnTo>
                    <a:pt x="1062" y="339"/>
                  </a:lnTo>
                  <a:lnTo>
                    <a:pt x="1071" y="320"/>
                  </a:lnTo>
                  <a:lnTo>
                    <a:pt x="1080" y="300"/>
                  </a:lnTo>
                  <a:lnTo>
                    <a:pt x="1088" y="280"/>
                  </a:lnTo>
                  <a:lnTo>
                    <a:pt x="1096" y="258"/>
                  </a:lnTo>
                  <a:lnTo>
                    <a:pt x="1113" y="214"/>
                  </a:lnTo>
                  <a:lnTo>
                    <a:pt x="1131" y="165"/>
                  </a:lnTo>
                  <a:lnTo>
                    <a:pt x="1133" y="162"/>
                  </a:lnTo>
                  <a:lnTo>
                    <a:pt x="1135" y="160"/>
                  </a:lnTo>
                  <a:lnTo>
                    <a:pt x="1137" y="160"/>
                  </a:lnTo>
                  <a:lnTo>
                    <a:pt x="1138" y="160"/>
                  </a:lnTo>
                  <a:lnTo>
                    <a:pt x="1141" y="160"/>
                  </a:lnTo>
                  <a:lnTo>
                    <a:pt x="1143" y="161"/>
                  </a:lnTo>
                  <a:lnTo>
                    <a:pt x="1144" y="162"/>
                  </a:lnTo>
                  <a:lnTo>
                    <a:pt x="1146" y="164"/>
                  </a:lnTo>
                  <a:lnTo>
                    <a:pt x="1146" y="165"/>
                  </a:lnTo>
                  <a:lnTo>
                    <a:pt x="1147" y="167"/>
                  </a:lnTo>
                  <a:lnTo>
                    <a:pt x="1147" y="169"/>
                  </a:lnTo>
                  <a:lnTo>
                    <a:pt x="1146" y="170"/>
                  </a:lnTo>
                  <a:lnTo>
                    <a:pt x="1128" y="219"/>
                  </a:lnTo>
                  <a:lnTo>
                    <a:pt x="1111" y="264"/>
                  </a:lnTo>
                  <a:lnTo>
                    <a:pt x="1094" y="306"/>
                  </a:lnTo>
                  <a:lnTo>
                    <a:pt x="1077" y="346"/>
                  </a:lnTo>
                  <a:lnTo>
                    <a:pt x="1058" y="385"/>
                  </a:lnTo>
                  <a:lnTo>
                    <a:pt x="1038" y="425"/>
                  </a:lnTo>
                  <a:lnTo>
                    <a:pt x="1015" y="467"/>
                  </a:lnTo>
                  <a:lnTo>
                    <a:pt x="989" y="512"/>
                  </a:lnTo>
                  <a:lnTo>
                    <a:pt x="964" y="557"/>
                  </a:lnTo>
                  <a:lnTo>
                    <a:pt x="939" y="597"/>
                  </a:lnTo>
                  <a:lnTo>
                    <a:pt x="915" y="634"/>
                  </a:lnTo>
                  <a:lnTo>
                    <a:pt x="891" y="669"/>
                  </a:lnTo>
                  <a:lnTo>
                    <a:pt x="866" y="704"/>
                  </a:lnTo>
                  <a:lnTo>
                    <a:pt x="840" y="739"/>
                  </a:lnTo>
                  <a:lnTo>
                    <a:pt x="810" y="776"/>
                  </a:lnTo>
                  <a:lnTo>
                    <a:pt x="777" y="816"/>
                  </a:lnTo>
                  <a:lnTo>
                    <a:pt x="747" y="851"/>
                  </a:lnTo>
                  <a:lnTo>
                    <a:pt x="719" y="885"/>
                  </a:lnTo>
                  <a:lnTo>
                    <a:pt x="692" y="916"/>
                  </a:lnTo>
                  <a:lnTo>
                    <a:pt x="666" y="945"/>
                  </a:lnTo>
                  <a:lnTo>
                    <a:pt x="639" y="973"/>
                  </a:lnTo>
                  <a:lnTo>
                    <a:pt x="613" y="1000"/>
                  </a:lnTo>
                  <a:lnTo>
                    <a:pt x="585" y="1026"/>
                  </a:lnTo>
                  <a:lnTo>
                    <a:pt x="557" y="1053"/>
                  </a:lnTo>
                  <a:lnTo>
                    <a:pt x="610" y="1018"/>
                  </a:lnTo>
                  <a:lnTo>
                    <a:pt x="635" y="1001"/>
                  </a:lnTo>
                  <a:lnTo>
                    <a:pt x="659" y="985"/>
                  </a:lnTo>
                  <a:lnTo>
                    <a:pt x="682" y="968"/>
                  </a:lnTo>
                  <a:lnTo>
                    <a:pt x="706" y="951"/>
                  </a:lnTo>
                  <a:lnTo>
                    <a:pt x="751" y="917"/>
                  </a:lnTo>
                  <a:lnTo>
                    <a:pt x="774" y="900"/>
                  </a:lnTo>
                  <a:lnTo>
                    <a:pt x="798" y="881"/>
                  </a:lnTo>
                  <a:lnTo>
                    <a:pt x="845" y="843"/>
                  </a:lnTo>
                  <a:lnTo>
                    <a:pt x="894" y="802"/>
                  </a:lnTo>
                  <a:lnTo>
                    <a:pt x="946" y="756"/>
                  </a:lnTo>
                  <a:lnTo>
                    <a:pt x="962" y="741"/>
                  </a:lnTo>
                  <a:lnTo>
                    <a:pt x="977" y="726"/>
                  </a:lnTo>
                  <a:lnTo>
                    <a:pt x="992" y="710"/>
                  </a:lnTo>
                  <a:lnTo>
                    <a:pt x="1006" y="695"/>
                  </a:lnTo>
                  <a:lnTo>
                    <a:pt x="1059" y="632"/>
                  </a:lnTo>
                  <a:lnTo>
                    <a:pt x="1073" y="617"/>
                  </a:lnTo>
                  <a:lnTo>
                    <a:pt x="1087" y="602"/>
                  </a:lnTo>
                  <a:lnTo>
                    <a:pt x="1101" y="587"/>
                  </a:lnTo>
                  <a:lnTo>
                    <a:pt x="1109" y="580"/>
                  </a:lnTo>
                  <a:lnTo>
                    <a:pt x="1116" y="572"/>
                  </a:lnTo>
                  <a:lnTo>
                    <a:pt x="1132" y="559"/>
                  </a:lnTo>
                  <a:lnTo>
                    <a:pt x="1150" y="545"/>
                  </a:lnTo>
                  <a:lnTo>
                    <a:pt x="1168" y="533"/>
                  </a:lnTo>
                  <a:lnTo>
                    <a:pt x="1187" y="521"/>
                  </a:lnTo>
                  <a:lnTo>
                    <a:pt x="1218" y="504"/>
                  </a:lnTo>
                  <a:lnTo>
                    <a:pt x="1232" y="497"/>
                  </a:lnTo>
                  <a:lnTo>
                    <a:pt x="1246" y="490"/>
                  </a:lnTo>
                  <a:lnTo>
                    <a:pt x="1260" y="483"/>
                  </a:lnTo>
                  <a:lnTo>
                    <a:pt x="1274" y="478"/>
                  </a:lnTo>
                  <a:lnTo>
                    <a:pt x="1281" y="475"/>
                  </a:lnTo>
                  <a:lnTo>
                    <a:pt x="1288" y="472"/>
                  </a:lnTo>
                  <a:lnTo>
                    <a:pt x="1301" y="467"/>
                  </a:lnTo>
                  <a:lnTo>
                    <a:pt x="1315" y="463"/>
                  </a:lnTo>
                  <a:lnTo>
                    <a:pt x="1329" y="459"/>
                  </a:lnTo>
                  <a:lnTo>
                    <a:pt x="1344" y="455"/>
                  </a:lnTo>
                  <a:lnTo>
                    <a:pt x="1358" y="451"/>
                  </a:lnTo>
                  <a:lnTo>
                    <a:pt x="1390" y="445"/>
                  </a:lnTo>
                  <a:lnTo>
                    <a:pt x="1424" y="440"/>
                  </a:lnTo>
                  <a:lnTo>
                    <a:pt x="1426" y="440"/>
                  </a:lnTo>
                  <a:lnTo>
                    <a:pt x="1428" y="440"/>
                  </a:lnTo>
                  <a:lnTo>
                    <a:pt x="1429" y="441"/>
                  </a:lnTo>
                  <a:lnTo>
                    <a:pt x="1430" y="441"/>
                  </a:lnTo>
                  <a:lnTo>
                    <a:pt x="1432" y="444"/>
                  </a:lnTo>
                  <a:lnTo>
                    <a:pt x="1433" y="447"/>
                  </a:lnTo>
                  <a:lnTo>
                    <a:pt x="1433" y="450"/>
                  </a:lnTo>
                  <a:lnTo>
                    <a:pt x="1432" y="452"/>
                  </a:lnTo>
                  <a:lnTo>
                    <a:pt x="1430" y="454"/>
                  </a:lnTo>
                  <a:lnTo>
                    <a:pt x="1426" y="456"/>
                  </a:lnTo>
                  <a:lnTo>
                    <a:pt x="1393" y="461"/>
                  </a:lnTo>
                  <a:lnTo>
                    <a:pt x="1362" y="467"/>
                  </a:lnTo>
                  <a:lnTo>
                    <a:pt x="1334" y="474"/>
                  </a:lnTo>
                  <a:lnTo>
                    <a:pt x="1320" y="478"/>
                  </a:lnTo>
                  <a:lnTo>
                    <a:pt x="1306" y="483"/>
                  </a:lnTo>
                  <a:lnTo>
                    <a:pt x="1293" y="487"/>
                  </a:lnTo>
                  <a:lnTo>
                    <a:pt x="1280" y="492"/>
                  </a:lnTo>
                  <a:lnTo>
                    <a:pt x="1267" y="498"/>
                  </a:lnTo>
                  <a:lnTo>
                    <a:pt x="1253" y="504"/>
                  </a:lnTo>
                  <a:lnTo>
                    <a:pt x="1225" y="518"/>
                  </a:lnTo>
                  <a:lnTo>
                    <a:pt x="1195" y="535"/>
                  </a:lnTo>
                  <a:lnTo>
                    <a:pt x="1176" y="546"/>
                  </a:lnTo>
                  <a:lnTo>
                    <a:pt x="1158" y="559"/>
                  </a:lnTo>
                  <a:lnTo>
                    <a:pt x="1142" y="572"/>
                  </a:lnTo>
                  <a:lnTo>
                    <a:pt x="1134" y="579"/>
                  </a:lnTo>
                  <a:lnTo>
                    <a:pt x="1126" y="585"/>
                  </a:lnTo>
                  <a:lnTo>
                    <a:pt x="1111" y="600"/>
                  </a:lnTo>
                  <a:lnTo>
                    <a:pt x="1104" y="607"/>
                  </a:lnTo>
                  <a:lnTo>
                    <a:pt x="1097" y="614"/>
                  </a:lnTo>
                  <a:lnTo>
                    <a:pt x="1083" y="629"/>
                  </a:lnTo>
                  <a:lnTo>
                    <a:pt x="1069" y="645"/>
                  </a:lnTo>
                  <a:lnTo>
                    <a:pt x="1043" y="676"/>
                  </a:lnTo>
                  <a:lnTo>
                    <a:pt x="1016" y="707"/>
                  </a:lnTo>
                  <a:lnTo>
                    <a:pt x="1002" y="723"/>
                  </a:lnTo>
                  <a:lnTo>
                    <a:pt x="987" y="738"/>
                  </a:lnTo>
                  <a:lnTo>
                    <a:pt x="972" y="753"/>
                  </a:lnTo>
                  <a:lnTo>
                    <a:pt x="957" y="768"/>
                  </a:lnTo>
                  <a:lnTo>
                    <a:pt x="907" y="811"/>
                  </a:lnTo>
                  <a:lnTo>
                    <a:pt x="884" y="831"/>
                  </a:lnTo>
                  <a:lnTo>
                    <a:pt x="861" y="850"/>
                  </a:lnTo>
                  <a:lnTo>
                    <a:pt x="839" y="869"/>
                  </a:lnTo>
                  <a:lnTo>
                    <a:pt x="817" y="886"/>
                  </a:lnTo>
                  <a:lnTo>
                    <a:pt x="773" y="920"/>
                  </a:lnTo>
                  <a:lnTo>
                    <a:pt x="731" y="953"/>
                  </a:lnTo>
                  <a:lnTo>
                    <a:pt x="687" y="984"/>
                  </a:lnTo>
                  <a:lnTo>
                    <a:pt x="643" y="1015"/>
                  </a:lnTo>
                  <a:lnTo>
                    <a:pt x="619" y="1031"/>
                  </a:lnTo>
                  <a:lnTo>
                    <a:pt x="595" y="1047"/>
                  </a:lnTo>
                  <a:lnTo>
                    <a:pt x="1042" y="834"/>
                  </a:lnTo>
                  <a:lnTo>
                    <a:pt x="1488" y="622"/>
                  </a:lnTo>
                  <a:lnTo>
                    <a:pt x="1492" y="621"/>
                  </a:lnTo>
                  <a:lnTo>
                    <a:pt x="1495" y="622"/>
                  </a:lnTo>
                  <a:lnTo>
                    <a:pt x="1497" y="623"/>
                  </a:lnTo>
                  <a:lnTo>
                    <a:pt x="1499" y="626"/>
                  </a:lnTo>
                  <a:lnTo>
                    <a:pt x="1500" y="629"/>
                  </a:lnTo>
                  <a:lnTo>
                    <a:pt x="1499" y="632"/>
                  </a:lnTo>
                  <a:lnTo>
                    <a:pt x="1499" y="633"/>
                  </a:lnTo>
                  <a:lnTo>
                    <a:pt x="1498" y="634"/>
                  </a:lnTo>
                  <a:lnTo>
                    <a:pt x="1495" y="636"/>
                  </a:lnTo>
                  <a:lnTo>
                    <a:pt x="1045" y="850"/>
                  </a:lnTo>
                  <a:lnTo>
                    <a:pt x="595" y="1065"/>
                  </a:lnTo>
                  <a:lnTo>
                    <a:pt x="1019" y="905"/>
                  </a:lnTo>
                  <a:lnTo>
                    <a:pt x="1442" y="746"/>
                  </a:lnTo>
                  <a:lnTo>
                    <a:pt x="1444" y="746"/>
                  </a:lnTo>
                  <a:lnTo>
                    <a:pt x="1445" y="746"/>
                  </a:lnTo>
                  <a:lnTo>
                    <a:pt x="1448" y="747"/>
                  </a:lnTo>
                  <a:lnTo>
                    <a:pt x="1451" y="749"/>
                  </a:lnTo>
                  <a:lnTo>
                    <a:pt x="1452" y="751"/>
                  </a:lnTo>
                  <a:lnTo>
                    <a:pt x="1453" y="754"/>
                  </a:lnTo>
                  <a:lnTo>
                    <a:pt x="1452" y="757"/>
                  </a:lnTo>
                  <a:lnTo>
                    <a:pt x="1452" y="758"/>
                  </a:lnTo>
                  <a:lnTo>
                    <a:pt x="1451" y="760"/>
                  </a:lnTo>
                  <a:lnTo>
                    <a:pt x="1448" y="761"/>
                  </a:lnTo>
                  <a:lnTo>
                    <a:pt x="959" y="945"/>
                  </a:lnTo>
                  <a:lnTo>
                    <a:pt x="469" y="1129"/>
                  </a:lnTo>
                  <a:lnTo>
                    <a:pt x="910" y="1095"/>
                  </a:lnTo>
                  <a:lnTo>
                    <a:pt x="1351" y="1062"/>
                  </a:lnTo>
                  <a:lnTo>
                    <a:pt x="1352" y="1062"/>
                  </a:lnTo>
                  <a:lnTo>
                    <a:pt x="1354" y="1062"/>
                  </a:lnTo>
                  <a:lnTo>
                    <a:pt x="1357" y="1064"/>
                  </a:lnTo>
                  <a:lnTo>
                    <a:pt x="1358" y="1066"/>
                  </a:lnTo>
                  <a:lnTo>
                    <a:pt x="1359" y="1069"/>
                  </a:lnTo>
                  <a:lnTo>
                    <a:pt x="1359" y="1072"/>
                  </a:lnTo>
                  <a:lnTo>
                    <a:pt x="1358" y="1075"/>
                  </a:lnTo>
                  <a:lnTo>
                    <a:pt x="1355" y="1077"/>
                  </a:lnTo>
                  <a:lnTo>
                    <a:pt x="1352" y="1078"/>
                  </a:lnTo>
                  <a:lnTo>
                    <a:pt x="927" y="1111"/>
                  </a:lnTo>
                  <a:lnTo>
                    <a:pt x="502" y="1144"/>
                  </a:lnTo>
                  <a:lnTo>
                    <a:pt x="1058" y="1265"/>
                  </a:lnTo>
                  <a:lnTo>
                    <a:pt x="1060" y="1266"/>
                  </a:lnTo>
                  <a:lnTo>
                    <a:pt x="1062" y="1266"/>
                  </a:lnTo>
                  <a:lnTo>
                    <a:pt x="1064" y="1269"/>
                  </a:lnTo>
                  <a:lnTo>
                    <a:pt x="1065" y="1272"/>
                  </a:lnTo>
                  <a:lnTo>
                    <a:pt x="1065" y="1273"/>
                  </a:lnTo>
                  <a:lnTo>
                    <a:pt x="1064" y="1275"/>
                  </a:lnTo>
                  <a:lnTo>
                    <a:pt x="1063" y="1277"/>
                  </a:lnTo>
                  <a:lnTo>
                    <a:pt x="1061" y="1279"/>
                  </a:lnTo>
                  <a:lnTo>
                    <a:pt x="1059" y="1281"/>
                  </a:lnTo>
                  <a:lnTo>
                    <a:pt x="1055" y="1281"/>
                  </a:lnTo>
                  <a:lnTo>
                    <a:pt x="519" y="1164"/>
                  </a:lnTo>
                  <a:lnTo>
                    <a:pt x="1042" y="1357"/>
                  </a:lnTo>
                  <a:lnTo>
                    <a:pt x="1045" y="1359"/>
                  </a:lnTo>
                  <a:lnTo>
                    <a:pt x="1047" y="1361"/>
                  </a:lnTo>
                  <a:lnTo>
                    <a:pt x="1047" y="1364"/>
                  </a:lnTo>
                  <a:lnTo>
                    <a:pt x="1047" y="1367"/>
                  </a:lnTo>
                  <a:lnTo>
                    <a:pt x="1046" y="1369"/>
                  </a:lnTo>
                  <a:lnTo>
                    <a:pt x="1045" y="1370"/>
                  </a:lnTo>
                  <a:lnTo>
                    <a:pt x="1043" y="1372"/>
                  </a:lnTo>
                  <a:lnTo>
                    <a:pt x="1040" y="1373"/>
                  </a:lnTo>
                  <a:lnTo>
                    <a:pt x="1038" y="1372"/>
                  </a:lnTo>
                  <a:lnTo>
                    <a:pt x="1036" y="1372"/>
                  </a:lnTo>
                  <a:lnTo>
                    <a:pt x="441" y="1152"/>
                  </a:lnTo>
                  <a:lnTo>
                    <a:pt x="439" y="1154"/>
                  </a:lnTo>
                  <a:lnTo>
                    <a:pt x="436" y="1156"/>
                  </a:lnTo>
                  <a:lnTo>
                    <a:pt x="433" y="1156"/>
                  </a:lnTo>
                  <a:lnTo>
                    <a:pt x="431" y="1156"/>
                  </a:lnTo>
                  <a:lnTo>
                    <a:pt x="429" y="1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Title 1"/>
          <p:cNvSpPr>
            <a:spLocks noGrp="1"/>
          </p:cNvSpPr>
          <p:nvPr>
            <p:ph type="ctrTitle"/>
          </p:nvPr>
        </p:nvSpPr>
        <p:spPr>
          <a:xfrm>
            <a:off x="623887" y="1916832"/>
            <a:ext cx="10944226" cy="1512168"/>
          </a:xfrm>
        </p:spPr>
        <p:txBody>
          <a:bodyPr anchor="b"/>
          <a:lstStyle>
            <a:lvl1pPr algn="ctr">
              <a:defRPr sz="4000" b="1" spc="-100" baseline="0">
                <a:solidFill>
                  <a:schemeClr val="bg1"/>
                </a:solidFill>
              </a:defRPr>
            </a:lvl1pPr>
          </a:lstStyle>
          <a:p>
            <a:r>
              <a:rPr lang="en-US"/>
              <a:t>Click to edit Master title style</a:t>
            </a:r>
            <a:endParaRPr lang="fi-FI" dirty="0"/>
          </a:p>
        </p:txBody>
      </p:sp>
      <p:sp>
        <p:nvSpPr>
          <p:cNvPr id="3" name="Subtitle 2"/>
          <p:cNvSpPr>
            <a:spLocks noGrp="1"/>
          </p:cNvSpPr>
          <p:nvPr>
            <p:ph type="subTitle" idx="1"/>
          </p:nvPr>
        </p:nvSpPr>
        <p:spPr>
          <a:xfrm>
            <a:off x="623887" y="3645024"/>
            <a:ext cx="10944225" cy="1584201"/>
          </a:xfrm>
        </p:spPr>
        <p:txBody>
          <a:bodyPr/>
          <a:lstStyle>
            <a:lvl1pPr marL="0" indent="0" algn="ctr">
              <a:buNone/>
              <a:defRPr sz="14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
        <p:nvSpPr>
          <p:cNvPr id="4" name="Date Placeholder 3"/>
          <p:cNvSpPr>
            <a:spLocks noGrp="1"/>
          </p:cNvSpPr>
          <p:nvPr>
            <p:ph type="dt" sz="half" idx="10"/>
          </p:nvPr>
        </p:nvSpPr>
        <p:spPr/>
        <p:txBody>
          <a:bodyPr/>
          <a:lstStyle>
            <a:lvl1pPr>
              <a:defRPr>
                <a:noFill/>
              </a:defRPr>
            </a:lvl1pPr>
          </a:lstStyle>
          <a:p>
            <a:fld id="{61A46334-6F9A-481A-9AAA-2BBF24E0304B}" type="datetime4">
              <a:rPr lang="en-GB" smtClean="0"/>
              <a:t>16 February 2023</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CONFIDENTIAL</a:t>
            </a:r>
          </a:p>
        </p:txBody>
      </p:sp>
      <p:sp>
        <p:nvSpPr>
          <p:cNvPr id="6" name="Slide Number Placeholder 5"/>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1" name="Text Placeholder 11"/>
          <p:cNvSpPr>
            <a:spLocks noGrp="1"/>
          </p:cNvSpPr>
          <p:nvPr>
            <p:ph type="body" sz="quarter" idx="14" hasCustomPrompt="1"/>
          </p:nvPr>
        </p:nvSpPr>
        <p:spPr>
          <a:xfrm>
            <a:off x="623889" y="5445224"/>
            <a:ext cx="10944224" cy="432048"/>
          </a:xfrm>
        </p:spPr>
        <p:txBody>
          <a:bodyPr anchor="t" anchorCtr="0"/>
          <a:lstStyle>
            <a:lvl1pPr marL="0" indent="0" algn="ctr">
              <a:lnSpc>
                <a:spcPct val="100000"/>
              </a:lnSpc>
              <a:spcBef>
                <a:spcPts val="200"/>
              </a:spcBef>
              <a:buFontTx/>
              <a:buNone/>
              <a:defRPr sz="1200" b="0" cap="none" baseline="0">
                <a:solidFill>
                  <a:schemeClr val="bg1"/>
                </a:solidFill>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Date Place or other additional info</a:t>
            </a:r>
          </a:p>
        </p:txBody>
      </p:sp>
      <p:pic>
        <p:nvPicPr>
          <p:cNvPr id="21" name="Graphic 20">
            <a:extLst>
              <a:ext uri="{FF2B5EF4-FFF2-40B4-BE49-F238E27FC236}">
                <a16:creationId xmlns:a16="http://schemas.microsoft.com/office/drawing/2014/main" id="{83A3F498-AE7E-4618-9AAA-FE0CE8E863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634852"/>
            <a:ext cx="2301994" cy="920798"/>
          </a:xfrm>
          <a:prstGeom prst="rect">
            <a:avLst/>
          </a:prstGeom>
        </p:spPr>
      </p:pic>
    </p:spTree>
    <p:extLst>
      <p:ext uri="{BB962C8B-B14F-4D97-AF65-F5344CB8AC3E}">
        <p14:creationId xmlns:p14="http://schemas.microsoft.com/office/powerpoint/2010/main" val="287230623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ice and Conditions Public (FI)">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AF6730D-6264-47B3-8522-204497FF5E3A}"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23" name="Text Placeholder 22"/>
          <p:cNvSpPr>
            <a:spLocks noGrp="1"/>
          </p:cNvSpPr>
          <p:nvPr>
            <p:ph type="body" sz="quarter" idx="31" hasCustomPrompt="1"/>
          </p:nvPr>
        </p:nvSpPr>
        <p:spPr>
          <a:xfrm>
            <a:off x="623889" y="1628776"/>
            <a:ext cx="5184774" cy="2808336"/>
          </a:xfrm>
        </p:spPr>
        <p:txBody>
          <a:bodyPr/>
          <a:lstStyle>
            <a:lvl1pPr marL="0" indent="0">
              <a:buFontTx/>
              <a:buNone/>
              <a:defRPr sz="4000" b="1" baseline="0"/>
            </a:lvl1pPr>
            <a:lvl2pPr marL="0" indent="0">
              <a:buFontTx/>
              <a:buNone/>
              <a:defRPr sz="1400"/>
            </a:lvl2pPr>
            <a:lvl3pPr marL="0" indent="0">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err="1"/>
              <a:t>Hinta</a:t>
            </a:r>
            <a:r>
              <a:rPr lang="en-US" dirty="0"/>
              <a:t> ja ALV%</a:t>
            </a:r>
          </a:p>
          <a:p>
            <a:pPr lvl="1"/>
            <a:r>
              <a:rPr lang="en-US" dirty="0"/>
              <a:t>Second level</a:t>
            </a:r>
          </a:p>
          <a:p>
            <a:pPr lvl="2"/>
            <a:r>
              <a:rPr lang="en-US" dirty="0"/>
              <a:t>Third level</a:t>
            </a:r>
          </a:p>
        </p:txBody>
      </p:sp>
      <p:sp>
        <p:nvSpPr>
          <p:cNvPr id="2" name="Title 1"/>
          <p:cNvSpPr>
            <a:spLocks noGrp="1"/>
          </p:cNvSpPr>
          <p:nvPr>
            <p:ph type="title"/>
          </p:nvPr>
        </p:nvSpPr>
        <p:spPr/>
        <p:txBody>
          <a:bodyPr/>
          <a:lstStyle/>
          <a:p>
            <a:r>
              <a:rPr lang="en-US"/>
              <a:t>Click to edit Master title style</a:t>
            </a:r>
            <a:endParaRPr lang="fi-FI"/>
          </a:p>
        </p:txBody>
      </p:sp>
      <p:sp>
        <p:nvSpPr>
          <p:cNvPr id="13" name="Text Placeholder 27"/>
          <p:cNvSpPr>
            <a:spLocks noGrp="1"/>
          </p:cNvSpPr>
          <p:nvPr>
            <p:ph type="body" sz="quarter" idx="36" hasCustomPrompt="1"/>
          </p:nvPr>
        </p:nvSpPr>
        <p:spPr>
          <a:xfrm>
            <a:off x="623888" y="4725144"/>
            <a:ext cx="5184775"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Place and date</a:t>
            </a:r>
          </a:p>
        </p:txBody>
      </p:sp>
      <p:sp>
        <p:nvSpPr>
          <p:cNvPr id="14" name="Text Placeholder 27"/>
          <p:cNvSpPr>
            <a:spLocks noGrp="1"/>
          </p:cNvSpPr>
          <p:nvPr>
            <p:ph type="body" sz="quarter" idx="37" hasCustomPrompt="1"/>
          </p:nvPr>
        </p:nvSpPr>
        <p:spPr>
          <a:xfrm>
            <a:off x="623888" y="5589265"/>
            <a:ext cx="5184775"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First name Last name</a:t>
            </a:r>
          </a:p>
        </p:txBody>
      </p:sp>
      <p:sp>
        <p:nvSpPr>
          <p:cNvPr id="4" name="Picture Placeholder 3"/>
          <p:cNvSpPr>
            <a:spLocks noGrp="1"/>
          </p:cNvSpPr>
          <p:nvPr>
            <p:ph type="pic" sz="quarter" idx="39" hasCustomPrompt="1"/>
          </p:nvPr>
        </p:nvSpPr>
        <p:spPr>
          <a:xfrm>
            <a:off x="623888" y="5085184"/>
            <a:ext cx="1943100" cy="432048"/>
          </a:xfrm>
        </p:spPr>
        <p:txBody>
          <a:bodyPr/>
          <a:lstStyle>
            <a:lvl1pPr marL="0" indent="0">
              <a:buFontTx/>
              <a:buNone/>
              <a:defRPr sz="1200"/>
            </a:lvl1pPr>
          </a:lstStyle>
          <a:p>
            <a:r>
              <a:rPr lang="fi-FI" dirty="0"/>
              <a:t>Signature</a:t>
            </a:r>
          </a:p>
        </p:txBody>
      </p:sp>
      <p:cxnSp>
        <p:nvCxnSpPr>
          <p:cNvPr id="10" name="Straight Connector 9"/>
          <p:cNvCxnSpPr/>
          <p:nvPr userDrawn="1"/>
        </p:nvCxnSpPr>
        <p:spPr>
          <a:xfrm>
            <a:off x="623888" y="4581128"/>
            <a:ext cx="51847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
        <p:nvSpPr>
          <p:cNvPr id="17" name="Text Placeholder 27"/>
          <p:cNvSpPr>
            <a:spLocks noGrp="1"/>
          </p:cNvSpPr>
          <p:nvPr>
            <p:ph type="body" sz="quarter" idx="40" hasCustomPrompt="1"/>
          </p:nvPr>
        </p:nvSpPr>
        <p:spPr>
          <a:xfrm>
            <a:off x="6384032" y="5805389"/>
            <a:ext cx="5184081" cy="215999"/>
          </a:xfrm>
        </p:spPr>
        <p:txBody>
          <a:bodyPr/>
          <a:lstStyle>
            <a:lvl1pPr marL="0" indent="0">
              <a:lnSpc>
                <a:spcPct val="100000"/>
              </a:lnSpc>
              <a:buFontTx/>
              <a:buNone/>
              <a:defRPr sz="1200" b="1"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Insert date</a:t>
            </a:r>
          </a:p>
        </p:txBody>
      </p:sp>
      <p:sp>
        <p:nvSpPr>
          <p:cNvPr id="18" name="TextBox 17"/>
          <p:cNvSpPr txBox="1"/>
          <p:nvPr userDrawn="1"/>
        </p:nvSpPr>
        <p:spPr>
          <a:xfrm>
            <a:off x="6384032" y="5589240"/>
            <a:ext cx="5184081" cy="216024"/>
          </a:xfrm>
          <a:prstGeom prst="rect">
            <a:avLst/>
          </a:prstGeom>
          <a:noFill/>
        </p:spPr>
        <p:txBody>
          <a:bodyPr wrap="square" lIns="0" tIns="0" rIns="0" bIns="0" rtlCol="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err="1">
                <a:solidFill>
                  <a:srgbClr val="404040"/>
                </a:solidFill>
              </a:rPr>
              <a:t>Tarjous</a:t>
            </a:r>
            <a:r>
              <a:rPr lang="en-US" sz="1200" dirty="0">
                <a:solidFill>
                  <a:srgbClr val="404040"/>
                </a:solidFill>
              </a:rPr>
              <a:t> on </a:t>
            </a:r>
            <a:r>
              <a:rPr lang="en-US" sz="1200" dirty="0" err="1">
                <a:solidFill>
                  <a:srgbClr val="404040"/>
                </a:solidFill>
              </a:rPr>
              <a:t>voimassa</a:t>
            </a:r>
            <a:r>
              <a:rPr lang="en-US" sz="1200" dirty="0">
                <a:solidFill>
                  <a:srgbClr val="404040"/>
                </a:solidFill>
              </a:rPr>
              <a:t> </a:t>
            </a:r>
          </a:p>
        </p:txBody>
      </p:sp>
      <p:sp>
        <p:nvSpPr>
          <p:cNvPr id="19" name="TextBox 18">
            <a:extLst>
              <a:ext uri="{FF2B5EF4-FFF2-40B4-BE49-F238E27FC236}">
                <a16:creationId xmlns:a16="http://schemas.microsoft.com/office/drawing/2014/main" id="{019F147F-6A0E-46D5-883F-32D738574455}"/>
              </a:ext>
            </a:extLst>
          </p:cNvPr>
          <p:cNvSpPr txBox="1"/>
          <p:nvPr userDrawn="1"/>
        </p:nvSpPr>
        <p:spPr>
          <a:xfrm>
            <a:off x="551384" y="5744289"/>
            <a:ext cx="20882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404040"/>
                </a:solidFill>
              </a:rPr>
              <a:t>Gaia Consulting Oy</a:t>
            </a:r>
          </a:p>
        </p:txBody>
      </p:sp>
    </p:spTree>
    <p:extLst>
      <p:ext uri="{BB962C8B-B14F-4D97-AF65-F5344CB8AC3E}">
        <p14:creationId xmlns:p14="http://schemas.microsoft.com/office/powerpoint/2010/main" val="339558397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eferenc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02A4C62-CAC3-44FF-8876-58022AA5792A}"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Case heading</a:t>
            </a:r>
          </a:p>
        </p:txBody>
      </p:sp>
      <p:sp>
        <p:nvSpPr>
          <p:cNvPr id="2" name="Title 1"/>
          <p:cNvSpPr>
            <a:spLocks noGrp="1"/>
          </p:cNvSpPr>
          <p:nvPr>
            <p:ph type="title" hasCustomPrompt="1"/>
          </p:nvPr>
        </p:nvSpPr>
        <p:spPr/>
        <p:txBody>
          <a:bodyPr/>
          <a:lstStyle>
            <a:lvl1pPr>
              <a:defRPr/>
            </a:lvl1pPr>
          </a:lstStyle>
          <a:p>
            <a:r>
              <a:rPr lang="en-US" dirty="0"/>
              <a:t>Company</a:t>
            </a:r>
            <a:endParaRPr lang="fi-FI" dirty="0"/>
          </a:p>
        </p:txBody>
      </p:sp>
      <p:sp>
        <p:nvSpPr>
          <p:cNvPr id="9" name="Picture Placeholder 10"/>
          <p:cNvSpPr>
            <a:spLocks noGrp="1"/>
          </p:cNvSpPr>
          <p:nvPr>
            <p:ph type="pic" sz="quarter" idx="30"/>
          </p:nvPr>
        </p:nvSpPr>
        <p:spPr>
          <a:xfrm>
            <a:off x="8103975" y="1628775"/>
            <a:ext cx="3464138" cy="3385692"/>
          </a:xfrm>
          <a:solidFill>
            <a:schemeClr val="bg2"/>
          </a:solidFill>
        </p:spPr>
        <p:txBody>
          <a:bodyPr/>
          <a:lstStyle>
            <a:lvl1pPr marL="0" indent="0">
              <a:buFontTx/>
              <a:buNone/>
              <a:defRPr sz="1200"/>
            </a:lvl1pPr>
          </a:lstStyle>
          <a:p>
            <a:r>
              <a:rPr lang="en-US"/>
              <a:t>Click icon to add picture</a:t>
            </a:r>
            <a:endParaRPr lang="fi-FI"/>
          </a:p>
        </p:txBody>
      </p:sp>
      <p:sp>
        <p:nvSpPr>
          <p:cNvPr id="10" name="Text Placeholder 27"/>
          <p:cNvSpPr>
            <a:spLocks noGrp="1"/>
          </p:cNvSpPr>
          <p:nvPr>
            <p:ph type="body" sz="quarter" idx="33" hasCustomPrompt="1"/>
          </p:nvPr>
        </p:nvSpPr>
        <p:spPr>
          <a:xfrm>
            <a:off x="623888" y="1628775"/>
            <a:ext cx="6984280" cy="1368177"/>
          </a:xfrm>
        </p:spPr>
        <p:txBody>
          <a:bodyPr/>
          <a:lstStyle>
            <a:lvl1pPr marL="0" indent="0">
              <a:buFontTx/>
              <a:buNone/>
              <a:defRPr sz="1600" b="1" cap="none" baseline="0"/>
            </a:lvl1pPr>
            <a:lvl2pPr marL="0" indent="0">
              <a:buFontTx/>
              <a:buNone/>
              <a:defRPr sz="1400" cap="none" baseline="0"/>
            </a:lvl2pPr>
            <a:lvl3pPr marL="0" indent="0">
              <a:buFontTx/>
              <a:buNone/>
              <a:defRPr sz="1400" cap="none" baseline="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TARGET</a:t>
            </a:r>
          </a:p>
          <a:p>
            <a:pPr lvl="1"/>
            <a:r>
              <a:rPr lang="en-US" dirty="0"/>
              <a:t>Second level</a:t>
            </a:r>
          </a:p>
          <a:p>
            <a:pPr lvl="2"/>
            <a:r>
              <a:rPr lang="en-US" dirty="0"/>
              <a:t>Third level</a:t>
            </a:r>
          </a:p>
        </p:txBody>
      </p:sp>
      <p:sp>
        <p:nvSpPr>
          <p:cNvPr id="16" name="Text Placeholder 27"/>
          <p:cNvSpPr>
            <a:spLocks noGrp="1"/>
          </p:cNvSpPr>
          <p:nvPr>
            <p:ph type="body" sz="quarter" idx="34" hasCustomPrompt="1"/>
          </p:nvPr>
        </p:nvSpPr>
        <p:spPr>
          <a:xfrm>
            <a:off x="623888" y="3141663"/>
            <a:ext cx="6984280" cy="1368177"/>
          </a:xfrm>
        </p:spPr>
        <p:txBody>
          <a:bodyPr/>
          <a:lstStyle>
            <a:lvl1pPr marL="0" indent="0">
              <a:buFontTx/>
              <a:buNone/>
              <a:defRPr sz="1600" b="1" cap="none" baseline="0"/>
            </a:lvl1pPr>
            <a:lvl2pPr marL="0" indent="0">
              <a:buFontTx/>
              <a:buNone/>
              <a:defRPr sz="1400" cap="none" baseline="0"/>
            </a:lvl2pPr>
            <a:lvl3pPr marL="0" indent="0">
              <a:buFontTx/>
              <a:buNone/>
              <a:defRPr sz="1400" cap="none" baseline="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ROLE</a:t>
            </a:r>
          </a:p>
          <a:p>
            <a:pPr lvl="1"/>
            <a:r>
              <a:rPr lang="en-US" dirty="0"/>
              <a:t>Second level</a:t>
            </a:r>
          </a:p>
          <a:p>
            <a:pPr lvl="2"/>
            <a:r>
              <a:rPr lang="en-US" dirty="0"/>
              <a:t>Third level</a:t>
            </a:r>
          </a:p>
        </p:txBody>
      </p:sp>
      <p:sp>
        <p:nvSpPr>
          <p:cNvPr id="17" name="Text Placeholder 27"/>
          <p:cNvSpPr>
            <a:spLocks noGrp="1"/>
          </p:cNvSpPr>
          <p:nvPr>
            <p:ph type="body" sz="quarter" idx="35" hasCustomPrompt="1"/>
          </p:nvPr>
        </p:nvSpPr>
        <p:spPr>
          <a:xfrm>
            <a:off x="623888" y="4656258"/>
            <a:ext cx="6984280" cy="1368177"/>
          </a:xfrm>
        </p:spPr>
        <p:txBody>
          <a:bodyPr/>
          <a:lstStyle>
            <a:lvl1pPr marL="0" indent="0">
              <a:buFontTx/>
              <a:buNone/>
              <a:defRPr sz="1600" b="1" cap="none" baseline="0"/>
            </a:lvl1pPr>
            <a:lvl2pPr marL="0" indent="0">
              <a:buFontTx/>
              <a:buNone/>
              <a:defRPr sz="1400" cap="none" baseline="0"/>
            </a:lvl2pPr>
            <a:lvl3pPr marL="0" indent="0">
              <a:buFontTx/>
              <a:buNone/>
              <a:defRPr sz="1400" cap="none" baseline="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RESULTS</a:t>
            </a:r>
          </a:p>
          <a:p>
            <a:pPr lvl="1"/>
            <a:r>
              <a:rPr lang="en-US" dirty="0"/>
              <a:t>Second level</a:t>
            </a:r>
          </a:p>
          <a:p>
            <a:pPr lvl="2"/>
            <a:r>
              <a:rPr lang="en-US" dirty="0"/>
              <a:t>Third level</a:t>
            </a:r>
          </a:p>
        </p:txBody>
      </p:sp>
      <p:sp>
        <p:nvSpPr>
          <p:cNvPr id="18" name="Text Placeholder 27"/>
          <p:cNvSpPr>
            <a:spLocks noGrp="1"/>
          </p:cNvSpPr>
          <p:nvPr>
            <p:ph type="body" sz="quarter" idx="36" hasCustomPrompt="1"/>
          </p:nvPr>
        </p:nvSpPr>
        <p:spPr>
          <a:xfrm>
            <a:off x="8112223" y="5229225"/>
            <a:ext cx="3449903"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Project schedule (mm-mm-year)</a:t>
            </a:r>
          </a:p>
        </p:txBody>
      </p:sp>
      <p:sp>
        <p:nvSpPr>
          <p:cNvPr id="19" name="Text Placeholder 27"/>
          <p:cNvSpPr>
            <a:spLocks noGrp="1"/>
          </p:cNvSpPr>
          <p:nvPr>
            <p:ph type="body" sz="quarter" idx="37" hasCustomPrompt="1"/>
          </p:nvPr>
        </p:nvSpPr>
        <p:spPr>
          <a:xfrm>
            <a:off x="8112223" y="5517257"/>
            <a:ext cx="3449903" cy="215999"/>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Responsible (names)</a:t>
            </a:r>
          </a:p>
        </p:txBody>
      </p:sp>
      <p:sp>
        <p:nvSpPr>
          <p:cNvPr id="20" name="Text Placeholder 27"/>
          <p:cNvSpPr>
            <a:spLocks noGrp="1"/>
          </p:cNvSpPr>
          <p:nvPr>
            <p:ph type="body" sz="quarter" idx="38" hasCustomPrompt="1"/>
          </p:nvPr>
        </p:nvSpPr>
        <p:spPr>
          <a:xfrm>
            <a:off x="8112223" y="5805264"/>
            <a:ext cx="3449903" cy="216024"/>
          </a:xfrm>
        </p:spPr>
        <p:txBody>
          <a:bodyPr/>
          <a:lstStyle>
            <a:lvl1pPr marL="0" indent="0">
              <a:lnSpc>
                <a:spcPct val="100000"/>
              </a:lnSpc>
              <a:buFontTx/>
              <a:buNone/>
              <a:defRPr sz="1200" b="0" cap="none"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Place (city/</a:t>
            </a:r>
            <a:r>
              <a:rPr lang="en-US" dirty="0" err="1"/>
              <a:t>coutry</a:t>
            </a:r>
            <a:r>
              <a:rPr lang="en-US" dirty="0"/>
              <a:t>)</a:t>
            </a:r>
          </a:p>
        </p:txBody>
      </p:sp>
      <p:sp>
        <p:nvSpPr>
          <p:cNvPr id="15"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4742318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 2">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277764BC-11FB-4D8A-8482-AE00DD0222AD}"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Case heading</a:t>
            </a:r>
          </a:p>
        </p:txBody>
      </p:sp>
      <p:sp>
        <p:nvSpPr>
          <p:cNvPr id="2" name="Title 1"/>
          <p:cNvSpPr>
            <a:spLocks noGrp="1"/>
          </p:cNvSpPr>
          <p:nvPr>
            <p:ph type="title" hasCustomPrompt="1"/>
          </p:nvPr>
        </p:nvSpPr>
        <p:spPr/>
        <p:txBody>
          <a:bodyPr/>
          <a:lstStyle>
            <a:lvl1pPr>
              <a:defRPr/>
            </a:lvl1pPr>
          </a:lstStyle>
          <a:p>
            <a:r>
              <a:rPr lang="en-US" dirty="0"/>
              <a:t>Company</a:t>
            </a:r>
            <a:endParaRPr lang="fi-FI" dirty="0"/>
          </a:p>
        </p:txBody>
      </p:sp>
      <p:sp>
        <p:nvSpPr>
          <p:cNvPr id="10" name="Text Placeholder 27"/>
          <p:cNvSpPr>
            <a:spLocks noGrp="1"/>
          </p:cNvSpPr>
          <p:nvPr>
            <p:ph type="body" sz="quarter" idx="33" hasCustomPrompt="1"/>
          </p:nvPr>
        </p:nvSpPr>
        <p:spPr>
          <a:xfrm>
            <a:off x="623888" y="1628775"/>
            <a:ext cx="3455987" cy="4392613"/>
          </a:xfrm>
          <a:noFill/>
        </p:spPr>
        <p:txBody>
          <a:bodyPr lIns="0" tIns="0" rIns="0" bIns="0"/>
          <a:lstStyle>
            <a:lvl1pPr marL="0" indent="0">
              <a:buFontTx/>
              <a:buNone/>
              <a:defRPr sz="1600" b="1" cap="none" baseline="0"/>
            </a:lvl1pPr>
            <a:lvl2pPr marL="0" indent="0">
              <a:buFontTx/>
              <a:buNone/>
              <a:defRPr sz="1400" cap="none" baseline="0"/>
            </a:lvl2pPr>
            <a:lvl3pPr marL="0" indent="0">
              <a:buFontTx/>
              <a:buNone/>
              <a:defRPr sz="1400" cap="none" baseline="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TARGET</a:t>
            </a:r>
          </a:p>
          <a:p>
            <a:pPr lvl="1"/>
            <a:r>
              <a:rPr lang="en-US" dirty="0"/>
              <a:t>Second level</a:t>
            </a:r>
          </a:p>
          <a:p>
            <a:pPr lvl="2"/>
            <a:r>
              <a:rPr lang="en-US" dirty="0"/>
              <a:t>Third level</a:t>
            </a:r>
          </a:p>
        </p:txBody>
      </p:sp>
      <p:sp>
        <p:nvSpPr>
          <p:cNvPr id="17" name="Text Placeholder 27"/>
          <p:cNvSpPr>
            <a:spLocks noGrp="1"/>
          </p:cNvSpPr>
          <p:nvPr>
            <p:ph type="body" sz="quarter" idx="35" hasCustomPrompt="1"/>
          </p:nvPr>
        </p:nvSpPr>
        <p:spPr>
          <a:xfrm>
            <a:off x="4367212" y="1628776"/>
            <a:ext cx="3457576" cy="4395660"/>
          </a:xfrm>
          <a:noFill/>
        </p:spPr>
        <p:txBody>
          <a:bodyPr lIns="0" tIns="0" rIns="0" bIns="0"/>
          <a:lstStyle>
            <a:lvl1pPr marL="0" indent="0">
              <a:buFontTx/>
              <a:buNone/>
              <a:defRPr sz="1600" b="1" cap="none" baseline="0"/>
            </a:lvl1pPr>
            <a:lvl2pPr marL="0" indent="0">
              <a:buFontTx/>
              <a:buNone/>
              <a:defRPr sz="1400" cap="none" baseline="0"/>
            </a:lvl2pPr>
            <a:lvl3pPr marL="0" indent="0">
              <a:buFontTx/>
              <a:buNone/>
              <a:defRPr sz="1400" cap="none" baseline="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RESULTS</a:t>
            </a:r>
          </a:p>
          <a:p>
            <a:pPr lvl="1"/>
            <a:r>
              <a:rPr lang="en-US" dirty="0"/>
              <a:t>Second level</a:t>
            </a:r>
          </a:p>
          <a:p>
            <a:pPr lvl="2"/>
            <a:r>
              <a:rPr lang="en-US" dirty="0"/>
              <a:t>Third level</a:t>
            </a:r>
          </a:p>
        </p:txBody>
      </p:sp>
      <p:sp>
        <p:nvSpPr>
          <p:cNvPr id="14" name="Text Placeholder 27"/>
          <p:cNvSpPr>
            <a:spLocks noGrp="1"/>
          </p:cNvSpPr>
          <p:nvPr>
            <p:ph type="body" sz="quarter" idx="32"/>
          </p:nvPr>
        </p:nvSpPr>
        <p:spPr>
          <a:xfrm>
            <a:off x="8112224" y="5229225"/>
            <a:ext cx="3455888" cy="792163"/>
          </a:xfrm>
        </p:spPr>
        <p:txBody>
          <a:bodyPr/>
          <a:lstStyle>
            <a:lvl1pPr>
              <a:defRPr sz="1400"/>
            </a:lvl1pPr>
            <a:lvl2pPr>
              <a:defRPr sz="14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p:txBody>
      </p:sp>
      <p:sp>
        <p:nvSpPr>
          <p:cNvPr id="15" name="Chart Placeholder 3"/>
          <p:cNvSpPr>
            <a:spLocks noGrp="1"/>
          </p:cNvSpPr>
          <p:nvPr>
            <p:ph type="chart" sz="quarter" idx="39"/>
          </p:nvPr>
        </p:nvSpPr>
        <p:spPr>
          <a:xfrm>
            <a:off x="8112125" y="1628775"/>
            <a:ext cx="3455988" cy="3384550"/>
          </a:xfrm>
        </p:spPr>
        <p:txBody>
          <a:bodyPr/>
          <a:lstStyle>
            <a:lvl1pPr marL="0" indent="0">
              <a:buFontTx/>
              <a:buNone/>
              <a:defRPr sz="1200"/>
            </a:lvl1pPr>
          </a:lstStyle>
          <a:p>
            <a:r>
              <a:rPr lang="en-US"/>
              <a:t>Click icon to add chart</a:t>
            </a:r>
            <a:endParaRPr lang="fi-FI" dirty="0"/>
          </a:p>
        </p:txBody>
      </p:sp>
      <p:sp>
        <p:nvSpPr>
          <p:cNvPr id="12"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416495942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eference 3">
    <p:spTree>
      <p:nvGrpSpPr>
        <p:cNvPr id="1" name=""/>
        <p:cNvGrpSpPr/>
        <p:nvPr/>
      </p:nvGrpSpPr>
      <p:grpSpPr>
        <a:xfrm>
          <a:off x="0" y="0"/>
          <a:ext cx="0" cy="0"/>
          <a:chOff x="0" y="0"/>
          <a:chExt cx="0" cy="0"/>
        </a:xfrm>
      </p:grpSpPr>
      <p:sp>
        <p:nvSpPr>
          <p:cNvPr id="22" name="Picture Placeholder 14"/>
          <p:cNvSpPr>
            <a:spLocks noGrp="1"/>
          </p:cNvSpPr>
          <p:nvPr>
            <p:ph type="pic" sz="quarter" idx="20" hasCustomPrompt="1"/>
          </p:nvPr>
        </p:nvSpPr>
        <p:spPr>
          <a:xfrm>
            <a:off x="0" y="1"/>
            <a:ext cx="12191999" cy="6858000"/>
          </a:xfrm>
          <a:blipFill>
            <a:blip r:embed="rId2"/>
            <a:stretch>
              <a:fillRect/>
            </a:stretch>
          </a:blipFill>
        </p:spPr>
        <p:txBody>
          <a:bodyPr/>
          <a:lstStyle>
            <a:lvl1pPr marL="0" indent="0">
              <a:buFontTx/>
              <a:buNone/>
              <a:defRPr sz="1200" baseline="0">
                <a:solidFill>
                  <a:schemeClr val="bg1"/>
                </a:solidFill>
              </a:defRPr>
            </a:lvl1pPr>
          </a:lstStyle>
          <a:p>
            <a:r>
              <a:rPr lang="fi-FI" dirty="0"/>
              <a:t>Select shape and insert picture to change background</a:t>
            </a:r>
          </a:p>
        </p:txBody>
      </p:sp>
      <p:sp>
        <p:nvSpPr>
          <p:cNvPr id="5" name="Date Placeholder 4"/>
          <p:cNvSpPr>
            <a:spLocks noGrp="1"/>
          </p:cNvSpPr>
          <p:nvPr>
            <p:ph type="dt" sz="half" idx="10"/>
          </p:nvPr>
        </p:nvSpPr>
        <p:spPr/>
        <p:txBody>
          <a:bodyPr/>
          <a:lstStyle>
            <a:lvl1pPr>
              <a:defRPr>
                <a:solidFill>
                  <a:schemeClr val="bg1"/>
                </a:solidFill>
              </a:defRPr>
            </a:lvl1pPr>
          </a:lstStyle>
          <a:p>
            <a:fld id="{FD8F47CA-A91C-4584-8145-E3C65E47628E}" type="datetime4">
              <a:rPr lang="en-GB" smtClean="0"/>
              <a:t>16 February 2023</a:t>
            </a:fld>
            <a:endParaRPr lang="fi-FI"/>
          </a:p>
        </p:txBody>
      </p:sp>
      <p:sp>
        <p:nvSpPr>
          <p:cNvPr id="6" name="Footer Placeholder 5"/>
          <p:cNvSpPr>
            <a:spLocks noGrp="1"/>
          </p:cNvSpPr>
          <p:nvPr>
            <p:ph type="ftr" sz="quarter" idx="11"/>
          </p:nvPr>
        </p:nvSpPr>
        <p:spPr/>
        <p:txBody>
          <a:bodyPr/>
          <a:lstStyle>
            <a:lvl1pPr>
              <a:defRPr>
                <a:solidFill>
                  <a:schemeClr val="bg1"/>
                </a:solidFill>
              </a:defRPr>
            </a:lvl1pPr>
          </a:lstStyle>
          <a:p>
            <a:r>
              <a:rPr lang="fi-FI"/>
              <a:t>CONFIDENTIAL</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C681002B-9E36-49F2-803E-4F1D6FC85B63}" type="slidenum">
              <a:rPr lang="fi-FI" smtClean="0"/>
              <a:pPr/>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Case heading</a:t>
            </a: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ompany</a:t>
            </a:r>
            <a:endParaRPr lang="fi-FI" dirty="0"/>
          </a:p>
        </p:txBody>
      </p:sp>
      <p:sp>
        <p:nvSpPr>
          <p:cNvPr id="10" name="Text Placeholder 27"/>
          <p:cNvSpPr>
            <a:spLocks noGrp="1"/>
          </p:cNvSpPr>
          <p:nvPr>
            <p:ph type="body" sz="quarter" idx="33" hasCustomPrompt="1"/>
          </p:nvPr>
        </p:nvSpPr>
        <p:spPr>
          <a:xfrm>
            <a:off x="623888" y="1628775"/>
            <a:ext cx="3455987" cy="4392613"/>
          </a:xfrm>
          <a:solidFill>
            <a:srgbClr val="FFFFFF">
              <a:alpha val="89804"/>
            </a:srgbClr>
          </a:solidFill>
        </p:spPr>
        <p:txBody>
          <a:bodyPr lIns="216000" tIns="180000" rIns="216000" bIns="180000"/>
          <a:lstStyle>
            <a:lvl1pPr marL="0" indent="0">
              <a:buFontTx/>
              <a:buNone/>
              <a:defRPr sz="1600" b="1" cap="none" baseline="0"/>
            </a:lvl1pPr>
            <a:lvl2pPr marL="0" indent="0">
              <a:buFontTx/>
              <a:buNone/>
              <a:defRPr sz="1400" cap="none" baseline="0"/>
            </a:lvl2pPr>
            <a:lvl3pPr marL="0" indent="0">
              <a:buFontTx/>
              <a:buNone/>
              <a:defRPr sz="1400" cap="none" baseline="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TARGET</a:t>
            </a:r>
          </a:p>
          <a:p>
            <a:pPr lvl="1"/>
            <a:r>
              <a:rPr lang="en-US" dirty="0"/>
              <a:t>Second level</a:t>
            </a:r>
          </a:p>
          <a:p>
            <a:pPr lvl="2"/>
            <a:r>
              <a:rPr lang="en-US" dirty="0"/>
              <a:t>Third level</a:t>
            </a:r>
          </a:p>
        </p:txBody>
      </p:sp>
      <p:sp>
        <p:nvSpPr>
          <p:cNvPr id="17" name="Text Placeholder 27"/>
          <p:cNvSpPr>
            <a:spLocks noGrp="1"/>
          </p:cNvSpPr>
          <p:nvPr>
            <p:ph type="body" sz="quarter" idx="35" hasCustomPrompt="1"/>
          </p:nvPr>
        </p:nvSpPr>
        <p:spPr>
          <a:xfrm>
            <a:off x="4367212" y="1628776"/>
            <a:ext cx="3457576" cy="4395660"/>
          </a:xfrm>
          <a:solidFill>
            <a:srgbClr val="FFFFFF">
              <a:alpha val="89804"/>
            </a:srgbClr>
          </a:solidFill>
        </p:spPr>
        <p:txBody>
          <a:bodyPr lIns="216000" tIns="180000" rIns="216000" bIns="180000"/>
          <a:lstStyle>
            <a:lvl1pPr marL="0" indent="0">
              <a:buFontTx/>
              <a:buNone/>
              <a:defRPr sz="1600" b="1" cap="none" baseline="0"/>
            </a:lvl1pPr>
            <a:lvl2pPr marL="0" indent="0">
              <a:buFontTx/>
              <a:buNone/>
              <a:defRPr sz="1400" cap="none" baseline="0"/>
            </a:lvl2pPr>
            <a:lvl3pPr marL="0" indent="0">
              <a:buFontTx/>
              <a:buNone/>
              <a:defRPr sz="1400" cap="none" baseline="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RESULTS</a:t>
            </a:r>
          </a:p>
          <a:p>
            <a:pPr lvl="1"/>
            <a:r>
              <a:rPr lang="en-US" dirty="0"/>
              <a:t>Second level</a:t>
            </a:r>
          </a:p>
          <a:p>
            <a:pPr lvl="2"/>
            <a:r>
              <a:rPr lang="en-US" dirty="0"/>
              <a:t>Third level</a:t>
            </a:r>
          </a:p>
        </p:txBody>
      </p:sp>
      <p:sp>
        <p:nvSpPr>
          <p:cNvPr id="15" name="Text Placeholder 27"/>
          <p:cNvSpPr>
            <a:spLocks noGrp="1"/>
          </p:cNvSpPr>
          <p:nvPr>
            <p:ph type="body" sz="quarter" idx="32"/>
          </p:nvPr>
        </p:nvSpPr>
        <p:spPr>
          <a:xfrm>
            <a:off x="8112224" y="5229225"/>
            <a:ext cx="3455888" cy="792163"/>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21" name="Chart Placeholder 3"/>
          <p:cNvSpPr>
            <a:spLocks noGrp="1"/>
          </p:cNvSpPr>
          <p:nvPr>
            <p:ph type="chart" sz="quarter" idx="39"/>
          </p:nvPr>
        </p:nvSpPr>
        <p:spPr>
          <a:xfrm>
            <a:off x="8112125" y="1628775"/>
            <a:ext cx="3455988" cy="3384550"/>
          </a:xfrm>
        </p:spPr>
        <p:txBody>
          <a:bodyPr/>
          <a:lstStyle>
            <a:lvl1pPr marL="0" indent="0">
              <a:buFontTx/>
              <a:buNone/>
              <a:defRPr sz="1200">
                <a:solidFill>
                  <a:schemeClr val="bg1"/>
                </a:solidFill>
              </a:defRPr>
            </a:lvl1pPr>
          </a:lstStyle>
          <a:p>
            <a:r>
              <a:rPr lang="en-US"/>
              <a:t>Click icon to add chart</a:t>
            </a:r>
            <a:endParaRPr lang="fi-FI" dirty="0"/>
          </a:p>
        </p:txBody>
      </p:sp>
      <p:sp>
        <p:nvSpPr>
          <p:cNvPr id="13"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chemeClr val="bg1"/>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425710385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3">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6287E90-B1FD-45C6-9CA7-23A0AB41E22D}"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23" name="Text Placeholder 22"/>
          <p:cNvSpPr>
            <a:spLocks noGrp="1"/>
          </p:cNvSpPr>
          <p:nvPr>
            <p:ph type="body" sz="quarter" idx="31" hasCustomPrompt="1"/>
          </p:nvPr>
        </p:nvSpPr>
        <p:spPr>
          <a:xfrm>
            <a:off x="623889" y="3645024"/>
            <a:ext cx="3455986" cy="2376364"/>
          </a:xfrm>
        </p:spPr>
        <p:txBody>
          <a:bodyPr/>
          <a:lstStyle>
            <a:lvl1pPr marL="0" indent="0" algn="l">
              <a:buFontTx/>
              <a:buNone/>
              <a:defRPr sz="1600" b="1" baseline="0"/>
            </a:lvl1pPr>
            <a:lvl2pPr marL="0" indent="0" algn="l">
              <a:buFontTx/>
              <a:buNone/>
              <a:defRPr sz="1400"/>
            </a:lvl2pPr>
            <a:lvl3pPr marL="0" indent="0" algn="l">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Name</a:t>
            </a:r>
          </a:p>
          <a:p>
            <a:pPr lvl="1"/>
            <a:r>
              <a:rPr lang="en-US" dirty="0"/>
              <a:t>Title</a:t>
            </a:r>
          </a:p>
          <a:p>
            <a:pPr lvl="2"/>
            <a:r>
              <a:rPr lang="en-US" dirty="0"/>
              <a:t>Role, Relevant competence for the project</a:t>
            </a:r>
          </a:p>
        </p:txBody>
      </p:sp>
      <p:sp>
        <p:nvSpPr>
          <p:cNvPr id="2" name="Title 1"/>
          <p:cNvSpPr>
            <a:spLocks noGrp="1"/>
          </p:cNvSpPr>
          <p:nvPr>
            <p:ph type="title"/>
          </p:nvPr>
        </p:nvSpPr>
        <p:spPr/>
        <p:txBody>
          <a:bodyPr/>
          <a:lstStyle/>
          <a:p>
            <a:r>
              <a:rPr lang="en-US"/>
              <a:t>Click to edit Master title style</a:t>
            </a:r>
            <a:endParaRPr lang="fi-FI"/>
          </a:p>
        </p:txBody>
      </p:sp>
      <p:sp>
        <p:nvSpPr>
          <p:cNvPr id="4" name="Picture Placeholder 3"/>
          <p:cNvSpPr>
            <a:spLocks noGrp="1" noChangeAspect="1"/>
          </p:cNvSpPr>
          <p:nvPr>
            <p:ph type="pic" sz="quarter" idx="32"/>
          </p:nvPr>
        </p:nvSpPr>
        <p:spPr>
          <a:xfrm>
            <a:off x="623889" y="1628775"/>
            <a:ext cx="1799704" cy="1800225"/>
          </a:xfrm>
          <a:prstGeom prst="rect">
            <a:avLst/>
          </a:prstGeom>
          <a:solidFill>
            <a:schemeClr val="bg2"/>
          </a:solidFill>
        </p:spPr>
        <p:txBody>
          <a:bodyPr/>
          <a:lstStyle>
            <a:lvl1pPr marL="0" indent="0" algn="l">
              <a:buFontTx/>
              <a:buNone/>
              <a:defRPr sz="1200"/>
            </a:lvl1pPr>
          </a:lstStyle>
          <a:p>
            <a:r>
              <a:rPr lang="en-US"/>
              <a:t>Click icon to add picture</a:t>
            </a:r>
            <a:endParaRPr lang="fi-FI" dirty="0"/>
          </a:p>
        </p:txBody>
      </p:sp>
      <p:sp>
        <p:nvSpPr>
          <p:cNvPr id="15" name="Text Placeholder 22"/>
          <p:cNvSpPr>
            <a:spLocks noGrp="1"/>
          </p:cNvSpPr>
          <p:nvPr>
            <p:ph type="body" sz="quarter" idx="33" hasCustomPrompt="1"/>
          </p:nvPr>
        </p:nvSpPr>
        <p:spPr>
          <a:xfrm>
            <a:off x="4353953" y="3645024"/>
            <a:ext cx="3455986" cy="2376364"/>
          </a:xfrm>
        </p:spPr>
        <p:txBody>
          <a:bodyPr/>
          <a:lstStyle>
            <a:lvl1pPr marL="0" indent="0" algn="l">
              <a:buFontTx/>
              <a:buNone/>
              <a:defRPr sz="1600" b="1" baseline="0"/>
            </a:lvl1pPr>
            <a:lvl2pPr marL="0" indent="0" algn="l">
              <a:buFontTx/>
              <a:buNone/>
              <a:defRPr sz="1400"/>
            </a:lvl2pPr>
            <a:lvl3pPr marL="0" marR="0" indent="0" algn="l" defTabSz="914400" rtl="0" eaLnBrk="1" fontAlgn="auto" latinLnBrk="0" hangingPunct="1">
              <a:lnSpc>
                <a:spcPct val="110000"/>
              </a:lnSpc>
              <a:spcBef>
                <a:spcPts val="400"/>
              </a:spcBef>
              <a:spcAft>
                <a:spcPts val="0"/>
              </a:spcAft>
              <a:buClrTx/>
              <a:buSzTx/>
              <a:buFontTx/>
              <a:buNone/>
              <a:tabLst/>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Name</a:t>
            </a:r>
          </a:p>
          <a:p>
            <a:pPr lvl="1"/>
            <a:r>
              <a:rPr lang="en-US" dirty="0"/>
              <a:t>Title</a:t>
            </a:r>
          </a:p>
          <a:p>
            <a:pPr lvl="2"/>
            <a:r>
              <a:rPr lang="en-US" dirty="0"/>
              <a:t>Role, Relevant competence for the project</a:t>
            </a:r>
          </a:p>
        </p:txBody>
      </p:sp>
      <p:sp>
        <p:nvSpPr>
          <p:cNvPr id="16" name="Picture Placeholder 3"/>
          <p:cNvSpPr>
            <a:spLocks noGrp="1" noChangeAspect="1"/>
          </p:cNvSpPr>
          <p:nvPr>
            <p:ph type="pic" sz="quarter" idx="34"/>
          </p:nvPr>
        </p:nvSpPr>
        <p:spPr>
          <a:xfrm>
            <a:off x="4367783" y="1628775"/>
            <a:ext cx="1800225" cy="1800225"/>
          </a:xfrm>
          <a:prstGeom prst="rect">
            <a:avLst/>
          </a:prstGeom>
          <a:solidFill>
            <a:schemeClr val="bg2"/>
          </a:solidFill>
        </p:spPr>
        <p:txBody>
          <a:bodyPr/>
          <a:lstStyle>
            <a:lvl1pPr marL="0" indent="0" algn="l">
              <a:buFontTx/>
              <a:buNone/>
              <a:defRPr sz="1200"/>
            </a:lvl1pPr>
          </a:lstStyle>
          <a:p>
            <a:r>
              <a:rPr lang="en-US"/>
              <a:t>Click icon to add picture</a:t>
            </a:r>
            <a:endParaRPr lang="fi-FI" dirty="0"/>
          </a:p>
        </p:txBody>
      </p:sp>
      <p:sp>
        <p:nvSpPr>
          <p:cNvPr id="18" name="Text Placeholder 22"/>
          <p:cNvSpPr>
            <a:spLocks noGrp="1"/>
          </p:cNvSpPr>
          <p:nvPr>
            <p:ph type="body" sz="quarter" idx="35" hasCustomPrompt="1"/>
          </p:nvPr>
        </p:nvSpPr>
        <p:spPr>
          <a:xfrm>
            <a:off x="8113675" y="3645024"/>
            <a:ext cx="3455986" cy="2376364"/>
          </a:xfrm>
        </p:spPr>
        <p:txBody>
          <a:bodyPr/>
          <a:lstStyle>
            <a:lvl1pPr marL="0" indent="0" algn="l">
              <a:buFontTx/>
              <a:buNone/>
              <a:defRPr sz="1600" b="1" baseline="0"/>
            </a:lvl1pPr>
            <a:lvl2pPr marL="0" indent="0" algn="l">
              <a:buFontTx/>
              <a:buNone/>
              <a:defRPr sz="1400"/>
            </a:lvl2pPr>
            <a:lvl3pPr marL="0" marR="0" indent="0" algn="l" defTabSz="914400" rtl="0" eaLnBrk="1" fontAlgn="auto" latinLnBrk="0" hangingPunct="1">
              <a:lnSpc>
                <a:spcPct val="110000"/>
              </a:lnSpc>
              <a:spcBef>
                <a:spcPts val="400"/>
              </a:spcBef>
              <a:spcAft>
                <a:spcPts val="0"/>
              </a:spcAft>
              <a:buClrTx/>
              <a:buSzTx/>
              <a:buFontTx/>
              <a:buNone/>
              <a:tabLst/>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Name</a:t>
            </a:r>
          </a:p>
          <a:p>
            <a:pPr lvl="1"/>
            <a:r>
              <a:rPr lang="en-US" dirty="0"/>
              <a:t>Title</a:t>
            </a:r>
          </a:p>
          <a:p>
            <a:pPr lvl="2"/>
            <a:r>
              <a:rPr lang="en-US" dirty="0"/>
              <a:t>Role, Relevant competence for the project</a:t>
            </a:r>
          </a:p>
        </p:txBody>
      </p:sp>
      <p:sp>
        <p:nvSpPr>
          <p:cNvPr id="19" name="Picture Placeholder 3"/>
          <p:cNvSpPr>
            <a:spLocks noGrp="1" noChangeAspect="1"/>
          </p:cNvSpPr>
          <p:nvPr>
            <p:ph type="pic" sz="quarter" idx="36"/>
          </p:nvPr>
        </p:nvSpPr>
        <p:spPr>
          <a:xfrm>
            <a:off x="8112224" y="1628775"/>
            <a:ext cx="1800225" cy="1800225"/>
          </a:xfrm>
          <a:prstGeom prst="rect">
            <a:avLst/>
          </a:prstGeom>
          <a:solidFill>
            <a:schemeClr val="bg2"/>
          </a:solidFill>
        </p:spPr>
        <p:txBody>
          <a:bodyPr/>
          <a:lstStyle>
            <a:lvl1pPr marL="0" indent="0" algn="l">
              <a:buFontTx/>
              <a:buNone/>
              <a:defRPr sz="1200"/>
            </a:lvl1pPr>
          </a:lstStyle>
          <a:p>
            <a:r>
              <a:rPr lang="en-US"/>
              <a:t>Click icon to add picture</a:t>
            </a:r>
            <a:endParaRPr lang="fi-FI" dirty="0"/>
          </a:p>
        </p:txBody>
      </p:sp>
      <p:sp>
        <p:nvSpPr>
          <p:cNvPr id="14"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324146773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6">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6287E90-B1FD-45C6-9CA7-23A0AB41E22D}"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23" name="Text Placeholder 22"/>
          <p:cNvSpPr>
            <a:spLocks noGrp="1"/>
          </p:cNvSpPr>
          <p:nvPr>
            <p:ph type="body" sz="quarter" idx="31" hasCustomPrompt="1"/>
          </p:nvPr>
        </p:nvSpPr>
        <p:spPr>
          <a:xfrm>
            <a:off x="1775519" y="1628775"/>
            <a:ext cx="2304355" cy="2088257"/>
          </a:xfrm>
        </p:spPr>
        <p:txBody>
          <a:bodyPr/>
          <a:lstStyle>
            <a:lvl1pPr marL="0" indent="0" algn="l">
              <a:buFontTx/>
              <a:buNone/>
              <a:defRPr sz="1600" b="1" baseline="0"/>
            </a:lvl1pPr>
            <a:lvl2pPr marL="0" indent="0" algn="l">
              <a:buFontTx/>
              <a:buNone/>
              <a:defRPr sz="1200"/>
            </a:lvl2pPr>
            <a:lvl3pPr marL="0" indent="0" algn="l">
              <a:buFontTx/>
              <a:buNone/>
              <a:defRPr sz="11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Name</a:t>
            </a:r>
          </a:p>
          <a:p>
            <a:pPr lvl="1"/>
            <a:r>
              <a:rPr lang="en-US" dirty="0"/>
              <a:t>Title</a:t>
            </a:r>
          </a:p>
          <a:p>
            <a:pPr lvl="2"/>
            <a:r>
              <a:rPr lang="en-US" dirty="0"/>
              <a:t>Role, Relevant competence for the project</a:t>
            </a:r>
          </a:p>
        </p:txBody>
      </p:sp>
      <p:sp>
        <p:nvSpPr>
          <p:cNvPr id="2" name="Title 1"/>
          <p:cNvSpPr>
            <a:spLocks noGrp="1"/>
          </p:cNvSpPr>
          <p:nvPr>
            <p:ph type="title"/>
          </p:nvPr>
        </p:nvSpPr>
        <p:spPr/>
        <p:txBody>
          <a:bodyPr/>
          <a:lstStyle/>
          <a:p>
            <a:r>
              <a:rPr lang="en-US"/>
              <a:t>Click to edit Master title style</a:t>
            </a:r>
            <a:endParaRPr lang="fi-FI"/>
          </a:p>
        </p:txBody>
      </p:sp>
      <p:sp>
        <p:nvSpPr>
          <p:cNvPr id="4" name="Picture Placeholder 3"/>
          <p:cNvSpPr>
            <a:spLocks noGrp="1"/>
          </p:cNvSpPr>
          <p:nvPr>
            <p:ph type="pic" sz="quarter" idx="32"/>
          </p:nvPr>
        </p:nvSpPr>
        <p:spPr>
          <a:xfrm>
            <a:off x="623889" y="1628775"/>
            <a:ext cx="1007616" cy="1008136"/>
          </a:xfrm>
          <a:prstGeom prst="rect">
            <a:avLst/>
          </a:prstGeom>
          <a:solidFill>
            <a:schemeClr val="bg2"/>
          </a:solidFill>
        </p:spPr>
        <p:txBody>
          <a:bodyPr/>
          <a:lstStyle>
            <a:lvl1pPr marL="0" indent="0" algn="l">
              <a:buFontTx/>
              <a:buNone/>
              <a:defRPr sz="1000"/>
            </a:lvl1pPr>
          </a:lstStyle>
          <a:p>
            <a:r>
              <a:rPr lang="en-US"/>
              <a:t>Click icon to add picture</a:t>
            </a:r>
            <a:endParaRPr lang="fi-FI" dirty="0"/>
          </a:p>
        </p:txBody>
      </p:sp>
      <p:sp>
        <p:nvSpPr>
          <p:cNvPr id="15" name="Text Placeholder 22"/>
          <p:cNvSpPr>
            <a:spLocks noGrp="1"/>
          </p:cNvSpPr>
          <p:nvPr>
            <p:ph type="body" sz="quarter" idx="33" hasCustomPrompt="1"/>
          </p:nvPr>
        </p:nvSpPr>
        <p:spPr>
          <a:xfrm>
            <a:off x="5519935" y="1628776"/>
            <a:ext cx="2290003" cy="2088256"/>
          </a:xfrm>
        </p:spPr>
        <p:txBody>
          <a:bodyPr/>
          <a:lstStyle>
            <a:lvl1pPr marL="0" indent="0" algn="l">
              <a:buFontTx/>
              <a:buNone/>
              <a:defRPr sz="1600" b="1" baseline="0"/>
            </a:lvl1pPr>
            <a:lvl2pPr marL="0" indent="0" algn="l">
              <a:buFontTx/>
              <a:buNone/>
              <a:defRPr sz="1200"/>
            </a:lvl2pPr>
            <a:lvl3pPr marL="0" indent="0" algn="l">
              <a:buFontTx/>
              <a:buNone/>
              <a:defRPr sz="11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Name</a:t>
            </a:r>
          </a:p>
          <a:p>
            <a:pPr lvl="1"/>
            <a:r>
              <a:rPr lang="en-US" dirty="0"/>
              <a:t>Title</a:t>
            </a:r>
          </a:p>
          <a:p>
            <a:pPr lvl="2"/>
            <a:r>
              <a:rPr lang="en-US" dirty="0"/>
              <a:t>Role, Relevant competence for the project</a:t>
            </a:r>
          </a:p>
        </p:txBody>
      </p:sp>
      <p:sp>
        <p:nvSpPr>
          <p:cNvPr id="16" name="Picture Placeholder 3"/>
          <p:cNvSpPr>
            <a:spLocks noGrp="1"/>
          </p:cNvSpPr>
          <p:nvPr>
            <p:ph type="pic" sz="quarter" idx="34"/>
          </p:nvPr>
        </p:nvSpPr>
        <p:spPr>
          <a:xfrm>
            <a:off x="4367808" y="1628775"/>
            <a:ext cx="1008111" cy="1008136"/>
          </a:xfrm>
          <a:prstGeom prst="rect">
            <a:avLst/>
          </a:prstGeom>
          <a:solidFill>
            <a:schemeClr val="bg2"/>
          </a:solidFill>
        </p:spPr>
        <p:txBody>
          <a:bodyPr/>
          <a:lstStyle>
            <a:lvl1pPr marL="0" indent="0" algn="l">
              <a:buFontTx/>
              <a:buNone/>
              <a:defRPr sz="1000"/>
            </a:lvl1pPr>
          </a:lstStyle>
          <a:p>
            <a:r>
              <a:rPr lang="en-US"/>
              <a:t>Click icon to add picture</a:t>
            </a:r>
            <a:endParaRPr lang="fi-FI" dirty="0"/>
          </a:p>
        </p:txBody>
      </p:sp>
      <p:sp>
        <p:nvSpPr>
          <p:cNvPr id="18" name="Text Placeholder 22"/>
          <p:cNvSpPr>
            <a:spLocks noGrp="1"/>
          </p:cNvSpPr>
          <p:nvPr>
            <p:ph type="body" sz="quarter" idx="35" hasCustomPrompt="1"/>
          </p:nvPr>
        </p:nvSpPr>
        <p:spPr>
          <a:xfrm>
            <a:off x="9264351" y="1628776"/>
            <a:ext cx="2305309" cy="2088256"/>
          </a:xfrm>
        </p:spPr>
        <p:txBody>
          <a:bodyPr/>
          <a:lstStyle>
            <a:lvl1pPr marL="0" indent="0" algn="l">
              <a:buFontTx/>
              <a:buNone/>
              <a:defRPr sz="1600" b="1" baseline="0"/>
            </a:lvl1pPr>
            <a:lvl2pPr marL="0" indent="0" algn="l">
              <a:buFontTx/>
              <a:buNone/>
              <a:defRPr sz="1200"/>
            </a:lvl2pPr>
            <a:lvl3pPr marL="0" marR="0" indent="0" algn="l" defTabSz="914400" rtl="0" eaLnBrk="1" fontAlgn="auto" latinLnBrk="0" hangingPunct="1">
              <a:lnSpc>
                <a:spcPct val="110000"/>
              </a:lnSpc>
              <a:spcBef>
                <a:spcPts val="400"/>
              </a:spcBef>
              <a:spcAft>
                <a:spcPts val="0"/>
              </a:spcAft>
              <a:buClrTx/>
              <a:buSzTx/>
              <a:buFontTx/>
              <a:buNone/>
              <a:tabLst/>
              <a:defRPr sz="11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Name</a:t>
            </a:r>
          </a:p>
          <a:p>
            <a:pPr lvl="1"/>
            <a:r>
              <a:rPr lang="en-US" dirty="0"/>
              <a:t>Title</a:t>
            </a:r>
          </a:p>
          <a:p>
            <a:pPr lvl="2"/>
            <a:r>
              <a:rPr lang="en-US" dirty="0"/>
              <a:t>Role, Relevant competence for the project</a:t>
            </a:r>
          </a:p>
        </p:txBody>
      </p:sp>
      <p:sp>
        <p:nvSpPr>
          <p:cNvPr id="19" name="Picture Placeholder 3"/>
          <p:cNvSpPr>
            <a:spLocks noGrp="1"/>
          </p:cNvSpPr>
          <p:nvPr>
            <p:ph type="pic" sz="quarter" idx="36"/>
          </p:nvPr>
        </p:nvSpPr>
        <p:spPr>
          <a:xfrm>
            <a:off x="8112225" y="1628775"/>
            <a:ext cx="1008112" cy="1008136"/>
          </a:xfrm>
          <a:prstGeom prst="rect">
            <a:avLst/>
          </a:prstGeom>
          <a:solidFill>
            <a:schemeClr val="bg2"/>
          </a:solidFill>
        </p:spPr>
        <p:txBody>
          <a:bodyPr/>
          <a:lstStyle>
            <a:lvl1pPr marL="0" indent="0" algn="l">
              <a:buFontTx/>
              <a:buNone/>
              <a:defRPr sz="1000"/>
            </a:lvl1pPr>
          </a:lstStyle>
          <a:p>
            <a:r>
              <a:rPr lang="en-US"/>
              <a:t>Click icon to add picture</a:t>
            </a:r>
            <a:endParaRPr lang="fi-FI" dirty="0"/>
          </a:p>
        </p:txBody>
      </p:sp>
      <p:sp>
        <p:nvSpPr>
          <p:cNvPr id="14"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
        <p:nvSpPr>
          <p:cNvPr id="17" name="Text Placeholder 22"/>
          <p:cNvSpPr>
            <a:spLocks noGrp="1"/>
          </p:cNvSpPr>
          <p:nvPr>
            <p:ph type="body" sz="quarter" idx="37" hasCustomPrompt="1"/>
          </p:nvPr>
        </p:nvSpPr>
        <p:spPr>
          <a:xfrm>
            <a:off x="1775519" y="3861049"/>
            <a:ext cx="2304355" cy="2088257"/>
          </a:xfrm>
        </p:spPr>
        <p:txBody>
          <a:bodyPr/>
          <a:lstStyle>
            <a:lvl1pPr marL="0" indent="0" algn="l">
              <a:buFontTx/>
              <a:buNone/>
              <a:defRPr sz="1600" b="1" baseline="0"/>
            </a:lvl1pPr>
            <a:lvl2pPr marL="0" indent="0" algn="l">
              <a:buFontTx/>
              <a:buNone/>
              <a:defRPr sz="1200"/>
            </a:lvl2pPr>
            <a:lvl3pPr marL="0" indent="0" algn="l">
              <a:buFontTx/>
              <a:buNone/>
              <a:defRPr sz="11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Name</a:t>
            </a:r>
          </a:p>
          <a:p>
            <a:pPr lvl="1"/>
            <a:r>
              <a:rPr lang="en-US" dirty="0"/>
              <a:t>Title</a:t>
            </a:r>
          </a:p>
          <a:p>
            <a:pPr lvl="2"/>
            <a:r>
              <a:rPr lang="en-US" dirty="0"/>
              <a:t>Role, Relevant competence for the project</a:t>
            </a:r>
          </a:p>
        </p:txBody>
      </p:sp>
      <p:sp>
        <p:nvSpPr>
          <p:cNvPr id="20" name="Picture Placeholder 3"/>
          <p:cNvSpPr>
            <a:spLocks noGrp="1"/>
          </p:cNvSpPr>
          <p:nvPr>
            <p:ph type="pic" sz="quarter" idx="38"/>
          </p:nvPr>
        </p:nvSpPr>
        <p:spPr>
          <a:xfrm>
            <a:off x="623889" y="3861048"/>
            <a:ext cx="1007616" cy="1008137"/>
          </a:xfrm>
          <a:prstGeom prst="rect">
            <a:avLst/>
          </a:prstGeom>
          <a:solidFill>
            <a:schemeClr val="bg2"/>
          </a:solidFill>
        </p:spPr>
        <p:txBody>
          <a:bodyPr/>
          <a:lstStyle>
            <a:lvl1pPr marL="0" indent="0" algn="l">
              <a:buFontTx/>
              <a:buNone/>
              <a:defRPr sz="1000"/>
            </a:lvl1pPr>
          </a:lstStyle>
          <a:p>
            <a:r>
              <a:rPr lang="en-US"/>
              <a:t>Click icon to add picture</a:t>
            </a:r>
            <a:endParaRPr lang="fi-FI" dirty="0"/>
          </a:p>
        </p:txBody>
      </p:sp>
      <p:sp>
        <p:nvSpPr>
          <p:cNvPr id="21" name="Text Placeholder 22"/>
          <p:cNvSpPr>
            <a:spLocks noGrp="1"/>
          </p:cNvSpPr>
          <p:nvPr>
            <p:ph type="body" sz="quarter" idx="39" hasCustomPrompt="1"/>
          </p:nvPr>
        </p:nvSpPr>
        <p:spPr>
          <a:xfrm>
            <a:off x="5519935" y="3861050"/>
            <a:ext cx="2290003" cy="2088256"/>
          </a:xfrm>
        </p:spPr>
        <p:txBody>
          <a:bodyPr/>
          <a:lstStyle>
            <a:lvl1pPr marL="0" indent="0" algn="l">
              <a:buFontTx/>
              <a:buNone/>
              <a:defRPr sz="1600" b="1" baseline="0"/>
            </a:lvl1pPr>
            <a:lvl2pPr marL="0" indent="0" algn="l">
              <a:buFontTx/>
              <a:buNone/>
              <a:defRPr sz="1200"/>
            </a:lvl2pPr>
            <a:lvl3pPr marL="0" indent="0" algn="l">
              <a:buFontTx/>
              <a:buNone/>
              <a:defRPr sz="11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Name</a:t>
            </a:r>
          </a:p>
          <a:p>
            <a:pPr lvl="1"/>
            <a:r>
              <a:rPr lang="en-US" dirty="0"/>
              <a:t>Title</a:t>
            </a:r>
          </a:p>
          <a:p>
            <a:pPr lvl="2"/>
            <a:r>
              <a:rPr lang="en-US" dirty="0"/>
              <a:t>Role, Relevant competence for the project</a:t>
            </a:r>
          </a:p>
        </p:txBody>
      </p:sp>
      <p:sp>
        <p:nvSpPr>
          <p:cNvPr id="22" name="Picture Placeholder 3"/>
          <p:cNvSpPr>
            <a:spLocks noGrp="1"/>
          </p:cNvSpPr>
          <p:nvPr>
            <p:ph type="pic" sz="quarter" idx="40"/>
          </p:nvPr>
        </p:nvSpPr>
        <p:spPr>
          <a:xfrm>
            <a:off x="4367808" y="3861048"/>
            <a:ext cx="1008111" cy="1008137"/>
          </a:xfrm>
          <a:prstGeom prst="rect">
            <a:avLst/>
          </a:prstGeom>
          <a:solidFill>
            <a:schemeClr val="bg2"/>
          </a:solidFill>
        </p:spPr>
        <p:txBody>
          <a:bodyPr/>
          <a:lstStyle>
            <a:lvl1pPr marL="0" indent="0" algn="l">
              <a:buFontTx/>
              <a:buNone/>
              <a:defRPr sz="1000"/>
            </a:lvl1pPr>
          </a:lstStyle>
          <a:p>
            <a:r>
              <a:rPr lang="en-US"/>
              <a:t>Click icon to add picture</a:t>
            </a:r>
            <a:endParaRPr lang="fi-FI" dirty="0"/>
          </a:p>
        </p:txBody>
      </p:sp>
      <p:sp>
        <p:nvSpPr>
          <p:cNvPr id="24" name="Text Placeholder 22"/>
          <p:cNvSpPr>
            <a:spLocks noGrp="1"/>
          </p:cNvSpPr>
          <p:nvPr>
            <p:ph type="body" sz="quarter" idx="41" hasCustomPrompt="1"/>
          </p:nvPr>
        </p:nvSpPr>
        <p:spPr>
          <a:xfrm>
            <a:off x="9264351" y="3861050"/>
            <a:ext cx="2305309" cy="2088256"/>
          </a:xfrm>
        </p:spPr>
        <p:txBody>
          <a:bodyPr/>
          <a:lstStyle>
            <a:lvl1pPr marL="0" indent="0" algn="l">
              <a:buFontTx/>
              <a:buNone/>
              <a:defRPr sz="1600" b="1" baseline="0"/>
            </a:lvl1pPr>
            <a:lvl2pPr marL="0" indent="0" algn="l">
              <a:buFontTx/>
              <a:buNone/>
              <a:defRPr sz="1200"/>
            </a:lvl2pPr>
            <a:lvl3pPr marL="0" marR="0" indent="0" algn="l" defTabSz="914400" rtl="0" eaLnBrk="1" fontAlgn="auto" latinLnBrk="0" hangingPunct="1">
              <a:lnSpc>
                <a:spcPct val="110000"/>
              </a:lnSpc>
              <a:spcBef>
                <a:spcPts val="400"/>
              </a:spcBef>
              <a:spcAft>
                <a:spcPts val="0"/>
              </a:spcAft>
              <a:buClrTx/>
              <a:buSzTx/>
              <a:buFontTx/>
              <a:buNone/>
              <a:tabLst/>
              <a:defRPr sz="11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Name</a:t>
            </a:r>
          </a:p>
          <a:p>
            <a:pPr lvl="1"/>
            <a:r>
              <a:rPr lang="en-US" dirty="0"/>
              <a:t>Title</a:t>
            </a:r>
          </a:p>
          <a:p>
            <a:pPr lvl="2"/>
            <a:r>
              <a:rPr lang="en-US" dirty="0"/>
              <a:t>Role, Relevant competence for the project</a:t>
            </a:r>
          </a:p>
        </p:txBody>
      </p:sp>
      <p:sp>
        <p:nvSpPr>
          <p:cNvPr id="25" name="Picture Placeholder 3"/>
          <p:cNvSpPr>
            <a:spLocks noGrp="1"/>
          </p:cNvSpPr>
          <p:nvPr>
            <p:ph type="pic" sz="quarter" idx="42"/>
          </p:nvPr>
        </p:nvSpPr>
        <p:spPr>
          <a:xfrm>
            <a:off x="8112225" y="3861049"/>
            <a:ext cx="1008112" cy="1008136"/>
          </a:xfrm>
          <a:prstGeom prst="rect">
            <a:avLst/>
          </a:prstGeom>
          <a:solidFill>
            <a:schemeClr val="bg2"/>
          </a:solidFill>
        </p:spPr>
        <p:txBody>
          <a:bodyPr/>
          <a:lstStyle>
            <a:lvl1pPr marL="0" indent="0" algn="l">
              <a:buFontTx/>
              <a:buNone/>
              <a:defRPr sz="1000"/>
            </a:lvl1pPr>
          </a:lstStyle>
          <a:p>
            <a:r>
              <a:rPr lang="en-US"/>
              <a:t>Click icon to add picture</a:t>
            </a:r>
            <a:endParaRPr lang="fi-FI" dirty="0"/>
          </a:p>
        </p:txBody>
      </p:sp>
    </p:spTree>
    <p:extLst>
      <p:ext uri="{BB962C8B-B14F-4D97-AF65-F5344CB8AC3E}">
        <p14:creationId xmlns:p14="http://schemas.microsoft.com/office/powerpoint/2010/main" val="261009714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wo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Content Placeholder 2"/>
          <p:cNvSpPr>
            <a:spLocks noGrp="1"/>
          </p:cNvSpPr>
          <p:nvPr>
            <p:ph sz="half" idx="1"/>
          </p:nvPr>
        </p:nvSpPr>
        <p:spPr>
          <a:xfrm>
            <a:off x="623887" y="1628775"/>
            <a:ext cx="5184775" cy="2016249"/>
          </a:xfrm>
          <a:solidFill>
            <a:schemeClr val="bg2"/>
          </a:solidFill>
        </p:spPr>
        <p:txBody>
          <a:bodyPr lIns="216000" tIns="180000" rIns="216000" bIns="180000"/>
          <a:lstStyle>
            <a:lvl1pPr>
              <a:defRPr sz="16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 name="Content Placeholder 3"/>
          <p:cNvSpPr>
            <a:spLocks noGrp="1"/>
          </p:cNvSpPr>
          <p:nvPr>
            <p:ph sz="half" idx="2"/>
          </p:nvPr>
        </p:nvSpPr>
        <p:spPr>
          <a:xfrm>
            <a:off x="6383337" y="1628775"/>
            <a:ext cx="5184775" cy="2016249"/>
          </a:xfrm>
          <a:solidFill>
            <a:schemeClr val="bg2"/>
          </a:solidFill>
        </p:spPr>
        <p:txBody>
          <a:bodyPr lIns="216000" tIns="180000" rIns="216000" bIns="180000"/>
          <a:lstStyle>
            <a:lvl1pPr>
              <a:defRPr sz="16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5" name="Date Placeholder 4"/>
          <p:cNvSpPr>
            <a:spLocks noGrp="1"/>
          </p:cNvSpPr>
          <p:nvPr>
            <p:ph type="dt" sz="half" idx="10"/>
          </p:nvPr>
        </p:nvSpPr>
        <p:spPr/>
        <p:txBody>
          <a:bodyPr/>
          <a:lstStyle/>
          <a:p>
            <a:fld id="{09E59689-B30C-4857-8960-264A940DF31B}"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0" name="Content Placeholder 3"/>
          <p:cNvSpPr>
            <a:spLocks noGrp="1"/>
          </p:cNvSpPr>
          <p:nvPr>
            <p:ph sz="half" idx="28"/>
          </p:nvPr>
        </p:nvSpPr>
        <p:spPr>
          <a:xfrm>
            <a:off x="623888" y="3933055"/>
            <a:ext cx="5184775" cy="2088333"/>
          </a:xfrm>
          <a:solidFill>
            <a:schemeClr val="bg2"/>
          </a:solidFill>
        </p:spPr>
        <p:txBody>
          <a:bodyPr lIns="216000" tIns="180000" rIns="216000" bIns="180000"/>
          <a:lstStyle>
            <a:lvl1pPr>
              <a:defRPr sz="16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11" name="Content Placeholder 3"/>
          <p:cNvSpPr>
            <a:spLocks noGrp="1"/>
          </p:cNvSpPr>
          <p:nvPr>
            <p:ph sz="half" idx="29"/>
          </p:nvPr>
        </p:nvSpPr>
        <p:spPr>
          <a:xfrm>
            <a:off x="6383338" y="3933056"/>
            <a:ext cx="5184775" cy="2088332"/>
          </a:xfrm>
          <a:solidFill>
            <a:schemeClr val="bg2"/>
          </a:solidFill>
        </p:spPr>
        <p:txBody>
          <a:bodyPr lIns="216000" tIns="180000" rIns="216000" bIns="180000"/>
          <a:lstStyle>
            <a:lvl1pPr>
              <a:defRPr sz="16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13"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359988492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ork Plan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9ED41288-BE79-4319-93BB-C10AED727793}" type="datetime4">
              <a:rPr lang="en-GB" smtClean="0"/>
              <a:t>16 February 2023</a:t>
            </a:fld>
            <a:endParaRPr lang="fi-FI"/>
          </a:p>
        </p:txBody>
      </p:sp>
      <p:sp>
        <p:nvSpPr>
          <p:cNvPr id="8" name="Footer Placeholder 7"/>
          <p:cNvSpPr>
            <a:spLocks noGrp="1"/>
          </p:cNvSpPr>
          <p:nvPr>
            <p:ph type="ftr" sz="quarter" idx="11"/>
          </p:nvPr>
        </p:nvSpPr>
        <p:spPr/>
        <p:txBody>
          <a:bodyPr/>
          <a:lstStyle/>
          <a:p>
            <a:r>
              <a:rPr lang="fi-FI"/>
              <a:t>CONFIDENTIAL</a:t>
            </a:r>
          </a:p>
        </p:txBody>
      </p:sp>
      <p:sp>
        <p:nvSpPr>
          <p:cNvPr id="9" name="Slide Number Placeholder 8"/>
          <p:cNvSpPr>
            <a:spLocks noGrp="1"/>
          </p:cNvSpPr>
          <p:nvPr>
            <p:ph type="sldNum" sz="quarter" idx="12"/>
          </p:nvPr>
        </p:nvSpPr>
        <p:spPr/>
        <p:txBody>
          <a:bodyPr/>
          <a:lstStyle/>
          <a:p>
            <a:fld id="{C681002B-9E36-49F2-803E-4F1D6FC85B63}" type="slidenum">
              <a:rPr lang="fi-FI" smtClean="0"/>
              <a:t>‹#›</a:t>
            </a:fld>
            <a:endParaRPr lang="fi-FI"/>
          </a:p>
        </p:txBody>
      </p:sp>
      <p:sp>
        <p:nvSpPr>
          <p:cNvPr id="10" name="Title 9"/>
          <p:cNvSpPr>
            <a:spLocks noGrp="1"/>
          </p:cNvSpPr>
          <p:nvPr>
            <p:ph type="title"/>
          </p:nvPr>
        </p:nvSpPr>
        <p:spPr/>
        <p:txBody>
          <a:bodyPr/>
          <a:lstStyle/>
          <a:p>
            <a:r>
              <a:rPr lang="en-US"/>
              <a:t>Click to edit Master title style</a:t>
            </a:r>
            <a:endParaRPr lang="fi-FI"/>
          </a:p>
        </p:txBody>
      </p:sp>
      <p:sp>
        <p:nvSpPr>
          <p:cNvPr id="11"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2"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cxnSp>
        <p:nvCxnSpPr>
          <p:cNvPr id="23" name="Straight Connector 22"/>
          <p:cNvCxnSpPr/>
          <p:nvPr userDrawn="1"/>
        </p:nvCxnSpPr>
        <p:spPr>
          <a:xfrm>
            <a:off x="3359696" y="1628775"/>
            <a:ext cx="0" cy="367243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6094658" y="1628775"/>
            <a:ext cx="0" cy="367243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a:off x="8832304" y="1628775"/>
            <a:ext cx="0" cy="367243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623888" y="1628775"/>
            <a:ext cx="2735808" cy="648097"/>
          </a:xfrm>
        </p:spPr>
        <p:txBody>
          <a:bodyPr lIns="144000" tIns="72000" rIns="144000" bIns="72000" anchor="t" anchorCtr="0"/>
          <a:lstStyle>
            <a:lvl1pPr marL="0" indent="0">
              <a:buNone/>
              <a:defRPr sz="12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14"/>
          <p:cNvSpPr>
            <a:spLocks noGrp="1"/>
          </p:cNvSpPr>
          <p:nvPr>
            <p:ph type="body" sz="quarter" idx="28"/>
          </p:nvPr>
        </p:nvSpPr>
        <p:spPr>
          <a:xfrm>
            <a:off x="623889" y="2276872"/>
            <a:ext cx="2735807" cy="3096344"/>
          </a:xfrm>
        </p:spPr>
        <p:txBody>
          <a:bodyPr lIns="144000" tIns="72000" rIns="144000" bIns="72000"/>
          <a:lstStyle>
            <a:lvl1pPr>
              <a:defRPr sz="1200" b="1"/>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2"/>
          <p:cNvSpPr>
            <a:spLocks noGrp="1"/>
          </p:cNvSpPr>
          <p:nvPr>
            <p:ph type="body" idx="29"/>
          </p:nvPr>
        </p:nvSpPr>
        <p:spPr>
          <a:xfrm>
            <a:off x="3359696" y="1628775"/>
            <a:ext cx="2736304" cy="648097"/>
          </a:xfrm>
        </p:spPr>
        <p:txBody>
          <a:bodyPr lIns="144000" tIns="72000" rIns="144000" bIns="72000" anchor="t" anchorCtr="0"/>
          <a:lstStyle>
            <a:lvl1pPr marL="0" indent="0">
              <a:buNone/>
              <a:defRPr sz="12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5" name="Text Placeholder 14"/>
          <p:cNvSpPr>
            <a:spLocks noGrp="1"/>
          </p:cNvSpPr>
          <p:nvPr>
            <p:ph type="body" sz="quarter" idx="30"/>
          </p:nvPr>
        </p:nvSpPr>
        <p:spPr>
          <a:xfrm>
            <a:off x="3359697" y="2276872"/>
            <a:ext cx="2736303" cy="3096344"/>
          </a:xfrm>
        </p:spPr>
        <p:txBody>
          <a:bodyPr lIns="144000" tIns="72000" rIns="144000" bIns="72000"/>
          <a:lstStyle>
            <a:lvl1pPr>
              <a:defRPr sz="1200" b="1"/>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26"/>
          <p:cNvSpPr>
            <a:spLocks noGrp="1"/>
          </p:cNvSpPr>
          <p:nvPr>
            <p:ph type="body" sz="quarter" idx="31"/>
          </p:nvPr>
        </p:nvSpPr>
        <p:spPr>
          <a:xfrm>
            <a:off x="623888" y="5373217"/>
            <a:ext cx="2735808" cy="639482"/>
          </a:xfrm>
          <a:solidFill>
            <a:schemeClr val="bg2"/>
          </a:solidFill>
        </p:spPr>
        <p:txBody>
          <a:bodyPr lIns="144000" tIns="72000" rIns="144000" bIns="72000" anchor="ctr" anchorCtr="0"/>
          <a:lstStyle>
            <a:lvl1pPr marL="0" indent="0" algn="ctr">
              <a:buFontTx/>
              <a:buNone/>
              <a:defRPr sz="1400" b="1"/>
            </a:lvl1pPr>
            <a:lvl2pPr marL="0" indent="0" algn="ctr">
              <a:buFontTx/>
              <a:buNone/>
              <a:defRPr sz="1200"/>
            </a:lvl2pPr>
            <a:lvl3pPr marL="0" indent="0" algn="ctr">
              <a:buFontTx/>
              <a:buNone/>
              <a:defRPr sz="1200"/>
            </a:lvl3pPr>
            <a:lvl4pPr marL="0" indent="0" algn="ctr">
              <a:buFontTx/>
              <a:buNone/>
              <a:defRPr sz="1200"/>
            </a:lvl4pPr>
            <a:lvl5pPr marL="0" indent="0" algn="ctr">
              <a:buFontTx/>
              <a:buNone/>
              <a:defRPr sz="1200"/>
            </a:lvl5pPr>
          </a:lstStyle>
          <a:p>
            <a:pPr lvl="0"/>
            <a:r>
              <a:rPr lang="en-US"/>
              <a:t>Click to edit Master text styles</a:t>
            </a:r>
          </a:p>
        </p:txBody>
      </p:sp>
      <p:sp>
        <p:nvSpPr>
          <p:cNvPr id="28" name="Text Placeholder 26"/>
          <p:cNvSpPr>
            <a:spLocks noGrp="1"/>
          </p:cNvSpPr>
          <p:nvPr>
            <p:ph type="body" sz="quarter" idx="32"/>
          </p:nvPr>
        </p:nvSpPr>
        <p:spPr>
          <a:xfrm>
            <a:off x="3359696" y="5373217"/>
            <a:ext cx="2736304" cy="639482"/>
          </a:xfrm>
          <a:solidFill>
            <a:schemeClr val="bg2"/>
          </a:solidFill>
        </p:spPr>
        <p:txBody>
          <a:bodyPr lIns="144000" tIns="72000" rIns="144000" bIns="72000" anchor="ctr" anchorCtr="0"/>
          <a:lstStyle>
            <a:lvl1pPr marL="0" indent="0" algn="ctr">
              <a:buFontTx/>
              <a:buNone/>
              <a:defRPr sz="1400" b="1"/>
            </a:lvl1pPr>
            <a:lvl2pPr marL="0" indent="0" algn="ctr">
              <a:buFontTx/>
              <a:buNone/>
              <a:defRPr sz="1200"/>
            </a:lvl2pPr>
            <a:lvl3pPr marL="0" indent="0" algn="ctr">
              <a:buFontTx/>
              <a:buNone/>
              <a:defRPr sz="1200"/>
            </a:lvl3pPr>
            <a:lvl4pPr marL="0" indent="0" algn="ctr">
              <a:buFontTx/>
              <a:buNone/>
              <a:defRPr sz="1200"/>
            </a:lvl4pPr>
            <a:lvl5pPr marL="0" indent="0" algn="ctr">
              <a:buFontTx/>
              <a:buNone/>
              <a:defRPr sz="1200"/>
            </a:lvl5pPr>
          </a:lstStyle>
          <a:p>
            <a:pPr lvl="0"/>
            <a:r>
              <a:rPr lang="en-US"/>
              <a:t>Click to edit Master text styles</a:t>
            </a:r>
          </a:p>
        </p:txBody>
      </p:sp>
      <p:sp>
        <p:nvSpPr>
          <p:cNvPr id="29" name="Text Placeholder 2"/>
          <p:cNvSpPr>
            <a:spLocks noGrp="1"/>
          </p:cNvSpPr>
          <p:nvPr>
            <p:ph type="body" idx="33"/>
          </p:nvPr>
        </p:nvSpPr>
        <p:spPr>
          <a:xfrm>
            <a:off x="6095999" y="1628775"/>
            <a:ext cx="2736303" cy="648097"/>
          </a:xfrm>
        </p:spPr>
        <p:txBody>
          <a:bodyPr lIns="144000" tIns="72000" rIns="144000" bIns="72000" anchor="t" anchorCtr="0"/>
          <a:lstStyle>
            <a:lvl1pPr marL="0" indent="0">
              <a:buNone/>
              <a:defRPr sz="12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Text Placeholder 14"/>
          <p:cNvSpPr>
            <a:spLocks noGrp="1"/>
          </p:cNvSpPr>
          <p:nvPr>
            <p:ph type="body" sz="quarter" idx="34"/>
          </p:nvPr>
        </p:nvSpPr>
        <p:spPr>
          <a:xfrm>
            <a:off x="6096000" y="2276872"/>
            <a:ext cx="2736304" cy="3096344"/>
          </a:xfrm>
        </p:spPr>
        <p:txBody>
          <a:bodyPr lIns="144000" tIns="72000" rIns="144000" bIns="72000"/>
          <a:lstStyle>
            <a:lvl1pPr>
              <a:defRPr sz="1200" b="1"/>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Text Placeholder 26"/>
          <p:cNvSpPr>
            <a:spLocks noGrp="1"/>
          </p:cNvSpPr>
          <p:nvPr>
            <p:ph type="body" sz="quarter" idx="35"/>
          </p:nvPr>
        </p:nvSpPr>
        <p:spPr>
          <a:xfrm>
            <a:off x="6095999" y="5373217"/>
            <a:ext cx="2736303" cy="639482"/>
          </a:xfrm>
          <a:solidFill>
            <a:schemeClr val="bg2"/>
          </a:solidFill>
        </p:spPr>
        <p:txBody>
          <a:bodyPr lIns="144000" tIns="72000" rIns="144000" bIns="72000" anchor="ctr" anchorCtr="0"/>
          <a:lstStyle>
            <a:lvl1pPr marL="0" indent="0" algn="ctr">
              <a:buFontTx/>
              <a:buNone/>
              <a:defRPr sz="1400" b="1"/>
            </a:lvl1pPr>
            <a:lvl2pPr marL="0" indent="0" algn="ctr">
              <a:buFontTx/>
              <a:buNone/>
              <a:defRPr sz="1200"/>
            </a:lvl2pPr>
            <a:lvl3pPr marL="0" indent="0" algn="ctr">
              <a:buFontTx/>
              <a:buNone/>
              <a:defRPr sz="1200"/>
            </a:lvl3pPr>
            <a:lvl4pPr marL="0" indent="0" algn="ctr">
              <a:buFontTx/>
              <a:buNone/>
              <a:defRPr sz="1200"/>
            </a:lvl4pPr>
            <a:lvl5pPr marL="0" indent="0" algn="ctr">
              <a:buFontTx/>
              <a:buNone/>
              <a:defRPr sz="1200"/>
            </a:lvl5pPr>
          </a:lstStyle>
          <a:p>
            <a:pPr lvl="0"/>
            <a:r>
              <a:rPr lang="en-US"/>
              <a:t>Click to edit Master text styles</a:t>
            </a:r>
          </a:p>
        </p:txBody>
      </p:sp>
      <p:sp>
        <p:nvSpPr>
          <p:cNvPr id="32" name="Text Placeholder 2"/>
          <p:cNvSpPr>
            <a:spLocks noGrp="1"/>
          </p:cNvSpPr>
          <p:nvPr>
            <p:ph type="body" idx="36"/>
          </p:nvPr>
        </p:nvSpPr>
        <p:spPr>
          <a:xfrm>
            <a:off x="8832302" y="1628775"/>
            <a:ext cx="2735810" cy="648097"/>
          </a:xfrm>
        </p:spPr>
        <p:txBody>
          <a:bodyPr lIns="144000" tIns="72000" rIns="144000" bIns="72000" anchor="t" anchorCtr="0"/>
          <a:lstStyle>
            <a:lvl1pPr marL="0" indent="0">
              <a:buNone/>
              <a:defRPr sz="12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3" name="Text Placeholder 14"/>
          <p:cNvSpPr>
            <a:spLocks noGrp="1"/>
          </p:cNvSpPr>
          <p:nvPr>
            <p:ph type="body" sz="quarter" idx="37"/>
          </p:nvPr>
        </p:nvSpPr>
        <p:spPr>
          <a:xfrm>
            <a:off x="8832303" y="2276872"/>
            <a:ext cx="2735810" cy="3096344"/>
          </a:xfrm>
        </p:spPr>
        <p:txBody>
          <a:bodyPr lIns="144000" tIns="72000" rIns="144000" bIns="72000"/>
          <a:lstStyle>
            <a:lvl1pPr>
              <a:defRPr sz="1200" b="1"/>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ext Placeholder 26"/>
          <p:cNvSpPr>
            <a:spLocks noGrp="1"/>
          </p:cNvSpPr>
          <p:nvPr>
            <p:ph type="body" sz="quarter" idx="38"/>
          </p:nvPr>
        </p:nvSpPr>
        <p:spPr>
          <a:xfrm>
            <a:off x="8832302" y="5373217"/>
            <a:ext cx="2735810" cy="639482"/>
          </a:xfrm>
          <a:solidFill>
            <a:schemeClr val="bg2"/>
          </a:solidFill>
        </p:spPr>
        <p:txBody>
          <a:bodyPr lIns="144000" tIns="72000" rIns="144000" bIns="72000" anchor="ctr" anchorCtr="0"/>
          <a:lstStyle>
            <a:lvl1pPr marL="0" indent="0" algn="ctr">
              <a:buFontTx/>
              <a:buNone/>
              <a:defRPr sz="1400" b="1"/>
            </a:lvl1pPr>
            <a:lvl2pPr marL="0" indent="0" algn="ctr">
              <a:buFontTx/>
              <a:buNone/>
              <a:defRPr sz="1200"/>
            </a:lvl2pPr>
            <a:lvl3pPr marL="0" indent="0" algn="ctr">
              <a:buFontTx/>
              <a:buNone/>
              <a:defRPr sz="1200"/>
            </a:lvl3pPr>
            <a:lvl4pPr marL="0" indent="0" algn="ctr">
              <a:buFontTx/>
              <a:buNone/>
              <a:defRPr sz="1200"/>
            </a:lvl4pPr>
            <a:lvl5pPr marL="0" indent="0" algn="ctr">
              <a:buFontTx/>
              <a:buNone/>
              <a:defRPr sz="1200"/>
            </a:lvl5pPr>
          </a:lstStyle>
          <a:p>
            <a:pPr lvl="0"/>
            <a:r>
              <a:rPr lang="en-US"/>
              <a:t>Click to edit Master text styles</a:t>
            </a:r>
          </a:p>
        </p:txBody>
      </p:sp>
    </p:spTree>
    <p:extLst>
      <p:ext uri="{BB962C8B-B14F-4D97-AF65-F5344CB8AC3E}">
        <p14:creationId xmlns:p14="http://schemas.microsoft.com/office/powerpoint/2010/main" val="103880825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ork Plan 2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9ED41288-BE79-4319-93BB-C10AED727793}" type="datetime4">
              <a:rPr lang="en-GB" smtClean="0"/>
              <a:t>16 February 2023</a:t>
            </a:fld>
            <a:endParaRPr lang="fi-FI"/>
          </a:p>
        </p:txBody>
      </p:sp>
      <p:sp>
        <p:nvSpPr>
          <p:cNvPr id="8" name="Footer Placeholder 7"/>
          <p:cNvSpPr>
            <a:spLocks noGrp="1"/>
          </p:cNvSpPr>
          <p:nvPr>
            <p:ph type="ftr" sz="quarter" idx="11"/>
          </p:nvPr>
        </p:nvSpPr>
        <p:spPr/>
        <p:txBody>
          <a:bodyPr/>
          <a:lstStyle/>
          <a:p>
            <a:r>
              <a:rPr lang="fi-FI"/>
              <a:t>CONFIDENTIAL</a:t>
            </a:r>
          </a:p>
        </p:txBody>
      </p:sp>
      <p:sp>
        <p:nvSpPr>
          <p:cNvPr id="9" name="Slide Number Placeholder 8"/>
          <p:cNvSpPr>
            <a:spLocks noGrp="1"/>
          </p:cNvSpPr>
          <p:nvPr>
            <p:ph type="sldNum" sz="quarter" idx="12"/>
          </p:nvPr>
        </p:nvSpPr>
        <p:spPr/>
        <p:txBody>
          <a:bodyPr/>
          <a:lstStyle/>
          <a:p>
            <a:fld id="{C681002B-9E36-49F2-803E-4F1D6FC85B63}" type="slidenum">
              <a:rPr lang="fi-FI" smtClean="0"/>
              <a:t>‹#›</a:t>
            </a:fld>
            <a:endParaRPr lang="fi-FI"/>
          </a:p>
        </p:txBody>
      </p:sp>
      <p:sp>
        <p:nvSpPr>
          <p:cNvPr id="10" name="Title 9"/>
          <p:cNvSpPr>
            <a:spLocks noGrp="1"/>
          </p:cNvSpPr>
          <p:nvPr>
            <p:ph type="title"/>
          </p:nvPr>
        </p:nvSpPr>
        <p:spPr/>
        <p:txBody>
          <a:bodyPr/>
          <a:lstStyle/>
          <a:p>
            <a:r>
              <a:rPr lang="en-US"/>
              <a:t>Click to edit Master title style</a:t>
            </a:r>
            <a:endParaRPr lang="fi-FI"/>
          </a:p>
        </p:txBody>
      </p:sp>
      <p:sp>
        <p:nvSpPr>
          <p:cNvPr id="11"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2"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
        <p:nvSpPr>
          <p:cNvPr id="3" name="Text Placeholder 2"/>
          <p:cNvSpPr>
            <a:spLocks noGrp="1"/>
          </p:cNvSpPr>
          <p:nvPr>
            <p:ph type="body" idx="1" hasCustomPrompt="1"/>
          </p:nvPr>
        </p:nvSpPr>
        <p:spPr>
          <a:xfrm>
            <a:off x="8112124" y="1628775"/>
            <a:ext cx="3438171" cy="648097"/>
          </a:xfrm>
        </p:spPr>
        <p:txBody>
          <a:bodyPr lIns="144000" tIns="72000" rIns="144000" bIns="72000" anchor="t" anchorCtr="0"/>
          <a:lstStyle>
            <a:lvl1pPr marL="0" indent="0">
              <a:buNone/>
              <a:defRPr sz="12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results</a:t>
            </a:r>
          </a:p>
        </p:txBody>
      </p:sp>
      <p:sp>
        <p:nvSpPr>
          <p:cNvPr id="15" name="Text Placeholder 14"/>
          <p:cNvSpPr>
            <a:spLocks noGrp="1"/>
          </p:cNvSpPr>
          <p:nvPr>
            <p:ph type="body" sz="quarter" idx="28"/>
          </p:nvPr>
        </p:nvSpPr>
        <p:spPr>
          <a:xfrm>
            <a:off x="8112126" y="2276872"/>
            <a:ext cx="3438170" cy="1872208"/>
          </a:xfrm>
        </p:spPr>
        <p:txBody>
          <a:bodyPr lIns="144000" tIns="72000" rIns="144000" bIns="72000"/>
          <a:lstStyle>
            <a:lvl1pPr>
              <a:defRPr sz="1200" b="1"/>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9" name="Text Placeholder 14"/>
          <p:cNvSpPr>
            <a:spLocks noGrp="1"/>
          </p:cNvSpPr>
          <p:nvPr>
            <p:ph type="body" sz="quarter" idx="29" hasCustomPrompt="1"/>
          </p:nvPr>
        </p:nvSpPr>
        <p:spPr>
          <a:xfrm>
            <a:off x="8112126" y="4221088"/>
            <a:ext cx="3438170" cy="1794208"/>
          </a:xfrm>
          <a:solidFill>
            <a:schemeClr val="bg2"/>
          </a:solidFill>
        </p:spPr>
        <p:txBody>
          <a:bodyPr lIns="144000" tIns="72000" rIns="144000" bIns="72000"/>
          <a:lstStyle>
            <a:lvl1pPr>
              <a:defRPr sz="1200" b="1"/>
            </a:lvl1pPr>
            <a:lvl2pPr>
              <a:defRPr sz="1200"/>
            </a:lvl2pPr>
            <a:lvl3pPr>
              <a:defRPr sz="1200"/>
            </a:lvl3pPr>
            <a:lvl4pPr>
              <a:defRPr sz="1200"/>
            </a:lvl4pPr>
            <a:lvl5pPr>
              <a:defRPr sz="1200"/>
            </a:lvl5pPr>
          </a:lstStyle>
          <a:p>
            <a:pPr lvl="0"/>
            <a:r>
              <a:rPr lang="en-US" dirty="0"/>
              <a:t>Resourc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2" name="Straight Connector 41"/>
          <p:cNvCxnSpPr/>
          <p:nvPr userDrawn="1"/>
        </p:nvCxnSpPr>
        <p:spPr>
          <a:xfrm>
            <a:off x="8112224" y="1628775"/>
            <a:ext cx="0" cy="252030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Text Placeholder 27"/>
          <p:cNvSpPr>
            <a:spLocks noGrp="1"/>
          </p:cNvSpPr>
          <p:nvPr>
            <p:ph type="body" sz="quarter" idx="33" hasCustomPrompt="1"/>
          </p:nvPr>
        </p:nvSpPr>
        <p:spPr>
          <a:xfrm>
            <a:off x="623888" y="1628775"/>
            <a:ext cx="6984280" cy="648097"/>
          </a:xfrm>
        </p:spPr>
        <p:txBody>
          <a:bodyPr/>
          <a:lstStyle>
            <a:lvl1pPr marL="0" indent="0">
              <a:buFontTx/>
              <a:buNone/>
              <a:defRPr sz="1600" b="1" cap="none" baseline="0"/>
            </a:lvl1pPr>
            <a:lvl2pPr marL="0" indent="0">
              <a:buFontTx/>
              <a:buNone/>
              <a:defRPr sz="1400"/>
            </a:lvl2pPr>
            <a:lvl3pPr marL="0" indent="0">
              <a:buFontTx/>
              <a:buNone/>
              <a:defRPr sz="14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TARGET</a:t>
            </a:r>
          </a:p>
          <a:p>
            <a:pPr lvl="1"/>
            <a:r>
              <a:rPr lang="en-US" dirty="0"/>
              <a:t>Second level</a:t>
            </a:r>
          </a:p>
        </p:txBody>
      </p:sp>
      <p:sp>
        <p:nvSpPr>
          <p:cNvPr id="14" name="Text Placeholder 13"/>
          <p:cNvSpPr>
            <a:spLocks noGrp="1"/>
          </p:cNvSpPr>
          <p:nvPr>
            <p:ph type="body" sz="quarter" idx="34"/>
          </p:nvPr>
        </p:nvSpPr>
        <p:spPr>
          <a:xfrm>
            <a:off x="623889" y="2852937"/>
            <a:ext cx="6985000" cy="3168452"/>
          </a:xfrm>
        </p:spPr>
        <p:txBody>
          <a:bodyPr/>
          <a:lstStyle>
            <a:lvl1pPr>
              <a:defRPr sz="1200" b="1"/>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Text Placeholder 2"/>
          <p:cNvSpPr>
            <a:spLocks noGrp="1"/>
          </p:cNvSpPr>
          <p:nvPr>
            <p:ph type="body" idx="35" hasCustomPrompt="1"/>
          </p:nvPr>
        </p:nvSpPr>
        <p:spPr>
          <a:xfrm>
            <a:off x="623888" y="2276873"/>
            <a:ext cx="6984279" cy="360040"/>
          </a:xfrm>
        </p:spPr>
        <p:txBody>
          <a:bodyPr lIns="0" tIns="0" rIns="0" bIns="0" anchor="b" anchorCtr="0"/>
          <a:lstStyle>
            <a:lvl1pPr marL="0" indent="0">
              <a:buNone/>
              <a:defRPr sz="1200" b="1"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ow TO DO IT</a:t>
            </a:r>
          </a:p>
        </p:txBody>
      </p:sp>
      <p:cxnSp>
        <p:nvCxnSpPr>
          <p:cNvPr id="17" name="Straight Connector 16"/>
          <p:cNvCxnSpPr/>
          <p:nvPr userDrawn="1"/>
        </p:nvCxnSpPr>
        <p:spPr>
          <a:xfrm>
            <a:off x="623888" y="2708920"/>
            <a:ext cx="698428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47330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eferences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dirty="0"/>
          </a:p>
        </p:txBody>
      </p:sp>
      <p:sp>
        <p:nvSpPr>
          <p:cNvPr id="5" name="Date Placeholder 4"/>
          <p:cNvSpPr>
            <a:spLocks noGrp="1"/>
          </p:cNvSpPr>
          <p:nvPr>
            <p:ph type="dt" sz="half" idx="10"/>
          </p:nvPr>
        </p:nvSpPr>
        <p:spPr/>
        <p:txBody>
          <a:bodyPr/>
          <a:lstStyle/>
          <a:p>
            <a:fld id="{CC63F3D4-5BB2-45F3-8F4F-A8085E286040}" type="datetime4">
              <a:rPr lang="en-GB" smtClean="0"/>
              <a:t>16 February 2023</a:t>
            </a:fld>
            <a:endParaRPr lang="fi-FI"/>
          </a:p>
        </p:txBody>
      </p:sp>
      <p:sp>
        <p:nvSpPr>
          <p:cNvPr id="6" name="Footer Placeholder 5"/>
          <p:cNvSpPr>
            <a:spLocks noGrp="1"/>
          </p:cNvSpPr>
          <p:nvPr>
            <p:ph type="ftr" sz="quarter" idx="11"/>
          </p:nvPr>
        </p:nvSpPr>
        <p:spPr/>
        <p:txBody>
          <a:bodyPr/>
          <a:lstStyle/>
          <a:p>
            <a:r>
              <a:rPr lang="fi-FI"/>
              <a:t>CONFIDENTIAL</a:t>
            </a:r>
          </a:p>
        </p:txBody>
      </p:sp>
      <p:sp>
        <p:nvSpPr>
          <p:cNvPr id="7" name="Slide Number Placeholder 6"/>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1"/>
          <p:cNvSpPr>
            <a:spLocks noGrp="1"/>
          </p:cNvSpPr>
          <p:nvPr>
            <p:ph type="body" sz="quarter" idx="15" hasCustomPrompt="1"/>
          </p:nvPr>
        </p:nvSpPr>
        <p:spPr>
          <a:xfrm>
            <a:off x="623888" y="404814"/>
            <a:ext cx="9001126" cy="215900"/>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10" name="Text Placeholder 9"/>
          <p:cNvSpPr>
            <a:spLocks noGrp="1"/>
          </p:cNvSpPr>
          <p:nvPr>
            <p:ph type="body" sz="quarter" idx="29" hasCustomPrompt="1"/>
          </p:nvPr>
        </p:nvSpPr>
        <p:spPr>
          <a:xfrm>
            <a:off x="623889" y="1628775"/>
            <a:ext cx="3455888" cy="4392613"/>
          </a:xfrm>
        </p:spPr>
        <p:txBody>
          <a:bodyPr/>
          <a:lstStyle>
            <a:lvl1pPr marL="361950" indent="-361950">
              <a:buFont typeface="+mj-lt"/>
              <a:buAutoNum type="arabicPeriod"/>
              <a:defRPr sz="1600"/>
            </a:lvl1pPr>
            <a:lvl2pPr marL="625475" indent="-263525">
              <a:defRPr sz="1600"/>
            </a:lvl2pPr>
            <a:lvl3pPr marL="898525" indent="-273050">
              <a:defRPr sz="1400"/>
            </a:lvl3pPr>
            <a:lvl4pPr marL="1077913" indent="-266700">
              <a:defRPr sz="1200"/>
            </a:lvl4pPr>
            <a:lvl5pPr marL="1252538" indent="-274638">
              <a:defRPr sz="1200"/>
            </a:lvl5pPr>
            <a:lvl6pPr marL="1527175" indent="-266700">
              <a:defRPr sz="1200"/>
            </a:lvl6pPr>
            <a:lvl7pPr marL="1792288" indent="-265113">
              <a:defRPr sz="1200"/>
            </a:lvl7pPr>
            <a:lvl8pPr marL="2058988" indent="-274638">
              <a:defRPr sz="1200"/>
            </a:lvl8pPr>
            <a:lvl9pPr marL="2335213" indent="-266700">
              <a:defRPr sz="1200"/>
            </a:lvl9pPr>
          </a:lstStyle>
          <a:p>
            <a:pPr lvl="0"/>
            <a:r>
              <a:rPr lang="en-US" dirty="0"/>
              <a:t>Referen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p:cNvSpPr>
            <a:spLocks noGrp="1"/>
          </p:cNvSpPr>
          <p:nvPr>
            <p:ph type="body" sz="quarter" idx="30" hasCustomPrompt="1"/>
          </p:nvPr>
        </p:nvSpPr>
        <p:spPr>
          <a:xfrm>
            <a:off x="4367212" y="1628775"/>
            <a:ext cx="3456979" cy="4392613"/>
          </a:xfrm>
        </p:spPr>
        <p:txBody>
          <a:bodyPr/>
          <a:lstStyle>
            <a:lvl1pPr marL="361950" indent="-361950">
              <a:buFont typeface="+mj-lt"/>
              <a:buAutoNum type="arabicPeriod"/>
              <a:defRPr sz="1600"/>
            </a:lvl1pPr>
            <a:lvl2pPr marL="625475" indent="-263525">
              <a:defRPr sz="1600"/>
            </a:lvl2pPr>
            <a:lvl3pPr marL="898525" indent="-273050">
              <a:defRPr sz="1400"/>
            </a:lvl3pPr>
            <a:lvl4pPr marL="1077913" indent="-266700">
              <a:defRPr sz="1200"/>
            </a:lvl4pPr>
            <a:lvl5pPr marL="1252538" indent="-274638">
              <a:defRPr sz="1200"/>
            </a:lvl5pPr>
            <a:lvl6pPr marL="1527175" indent="-266700">
              <a:defRPr sz="1200"/>
            </a:lvl6pPr>
            <a:lvl7pPr marL="1792288" indent="-265113">
              <a:defRPr sz="1200"/>
            </a:lvl7pPr>
            <a:lvl8pPr marL="2058988" indent="-274638">
              <a:defRPr sz="1200"/>
            </a:lvl8pPr>
            <a:lvl9pPr marL="2335213" indent="-266700">
              <a:defRPr sz="1200"/>
            </a:lvl9pPr>
          </a:lstStyle>
          <a:p>
            <a:pPr lvl="0"/>
            <a:r>
              <a:rPr lang="en-US" dirty="0"/>
              <a:t>Referen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31" hasCustomPrompt="1"/>
          </p:nvPr>
        </p:nvSpPr>
        <p:spPr>
          <a:xfrm>
            <a:off x="8112224" y="1628775"/>
            <a:ext cx="3455889" cy="4392613"/>
          </a:xfrm>
        </p:spPr>
        <p:txBody>
          <a:bodyPr/>
          <a:lstStyle>
            <a:lvl1pPr marL="361950" indent="-361950">
              <a:buFont typeface="+mj-lt"/>
              <a:buAutoNum type="arabicPeriod"/>
              <a:defRPr sz="1600"/>
            </a:lvl1pPr>
            <a:lvl2pPr marL="625475" indent="-263525">
              <a:defRPr sz="1600"/>
            </a:lvl2pPr>
            <a:lvl3pPr marL="898525" indent="-273050">
              <a:defRPr sz="1400"/>
            </a:lvl3pPr>
            <a:lvl4pPr marL="1077913" indent="-266700">
              <a:defRPr sz="1200"/>
            </a:lvl4pPr>
            <a:lvl5pPr marL="1252538" indent="-274638">
              <a:defRPr sz="1200"/>
            </a:lvl5pPr>
            <a:lvl6pPr marL="1527175" indent="-266700">
              <a:defRPr sz="1200"/>
            </a:lvl6pPr>
            <a:lvl7pPr marL="1792288" indent="-265113">
              <a:defRPr sz="1200"/>
            </a:lvl7pPr>
            <a:lvl8pPr marL="2058988" indent="-274638">
              <a:defRPr sz="1200"/>
            </a:lvl8pPr>
            <a:lvl9pPr marL="2335213" indent="-266700">
              <a:defRPr sz="1200"/>
            </a:lvl9pPr>
          </a:lstStyle>
          <a:p>
            <a:pPr lvl="0"/>
            <a:r>
              <a:rPr lang="en-US" dirty="0"/>
              <a:t>Referen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152440378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Ocean">
    <p:bg>
      <p:bgPr>
        <a:solidFill>
          <a:schemeClr val="accent2"/>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0" y="1988840"/>
            <a:ext cx="10200456" cy="4869160"/>
            <a:chOff x="1065835" y="779165"/>
            <a:chExt cx="10200456" cy="4869160"/>
          </a:xfrm>
          <a:solidFill>
            <a:srgbClr val="FFFFFF">
              <a:alpha val="20000"/>
            </a:srgbClr>
          </a:solidFill>
        </p:grpSpPr>
        <p:sp>
          <p:nvSpPr>
            <p:cNvPr id="13" name="Freeform 1951"/>
            <p:cNvSpPr>
              <a:spLocks noEditPoints="1"/>
            </p:cNvSpPr>
            <p:nvPr userDrawn="1"/>
          </p:nvSpPr>
          <p:spPr bwMode="auto">
            <a:xfrm>
              <a:off x="2774729" y="779165"/>
              <a:ext cx="1074738" cy="912813"/>
            </a:xfrm>
            <a:custGeom>
              <a:avLst/>
              <a:gdLst>
                <a:gd name="T0" fmla="*/ 205 w 677"/>
                <a:gd name="T1" fmla="*/ 414 h 575"/>
                <a:gd name="T2" fmla="*/ 622 w 677"/>
                <a:gd name="T3" fmla="*/ 61 h 575"/>
                <a:gd name="T4" fmla="*/ 621 w 677"/>
                <a:gd name="T5" fmla="*/ 79 h 575"/>
                <a:gd name="T6" fmla="*/ 662 w 677"/>
                <a:gd name="T7" fmla="*/ 22 h 575"/>
                <a:gd name="T8" fmla="*/ 625 w 677"/>
                <a:gd name="T9" fmla="*/ 35 h 575"/>
                <a:gd name="T10" fmla="*/ 247 w 677"/>
                <a:gd name="T11" fmla="*/ 334 h 575"/>
                <a:gd name="T12" fmla="*/ 368 w 677"/>
                <a:gd name="T13" fmla="*/ 270 h 575"/>
                <a:gd name="T14" fmla="*/ 560 w 677"/>
                <a:gd name="T15" fmla="*/ 107 h 575"/>
                <a:gd name="T16" fmla="*/ 596 w 677"/>
                <a:gd name="T17" fmla="*/ 48 h 575"/>
                <a:gd name="T18" fmla="*/ 644 w 677"/>
                <a:gd name="T19" fmla="*/ 12 h 575"/>
                <a:gd name="T20" fmla="*/ 677 w 677"/>
                <a:gd name="T21" fmla="*/ 5 h 575"/>
                <a:gd name="T22" fmla="*/ 647 w 677"/>
                <a:gd name="T23" fmla="*/ 65 h 575"/>
                <a:gd name="T24" fmla="*/ 594 w 677"/>
                <a:gd name="T25" fmla="*/ 106 h 575"/>
                <a:gd name="T26" fmla="*/ 457 w 677"/>
                <a:gd name="T27" fmla="*/ 215 h 575"/>
                <a:gd name="T28" fmla="*/ 344 w 677"/>
                <a:gd name="T29" fmla="*/ 296 h 575"/>
                <a:gd name="T30" fmla="*/ 251 w 677"/>
                <a:gd name="T31" fmla="*/ 343 h 575"/>
                <a:gd name="T32" fmla="*/ 332 w 677"/>
                <a:gd name="T33" fmla="*/ 526 h 575"/>
                <a:gd name="T34" fmla="*/ 263 w 677"/>
                <a:gd name="T35" fmla="*/ 415 h 575"/>
                <a:gd name="T36" fmla="*/ 301 w 677"/>
                <a:gd name="T37" fmla="*/ 508 h 575"/>
                <a:gd name="T38" fmla="*/ 307 w 677"/>
                <a:gd name="T39" fmla="*/ 533 h 575"/>
                <a:gd name="T40" fmla="*/ 272 w 677"/>
                <a:gd name="T41" fmla="*/ 469 h 575"/>
                <a:gd name="T42" fmla="*/ 270 w 677"/>
                <a:gd name="T43" fmla="*/ 550 h 575"/>
                <a:gd name="T44" fmla="*/ 242 w 677"/>
                <a:gd name="T45" fmla="*/ 372 h 575"/>
                <a:gd name="T46" fmla="*/ 232 w 677"/>
                <a:gd name="T47" fmla="*/ 495 h 575"/>
                <a:gd name="T48" fmla="*/ 243 w 677"/>
                <a:gd name="T49" fmla="*/ 573 h 575"/>
                <a:gd name="T50" fmla="*/ 230 w 677"/>
                <a:gd name="T51" fmla="*/ 551 h 575"/>
                <a:gd name="T52" fmla="*/ 224 w 677"/>
                <a:gd name="T53" fmla="*/ 425 h 575"/>
                <a:gd name="T54" fmla="*/ 208 w 677"/>
                <a:gd name="T55" fmla="*/ 507 h 575"/>
                <a:gd name="T56" fmla="*/ 180 w 677"/>
                <a:gd name="T57" fmla="*/ 545 h 575"/>
                <a:gd name="T58" fmla="*/ 171 w 677"/>
                <a:gd name="T59" fmla="*/ 544 h 575"/>
                <a:gd name="T60" fmla="*/ 194 w 677"/>
                <a:gd name="T61" fmla="*/ 420 h 575"/>
                <a:gd name="T62" fmla="*/ 68 w 677"/>
                <a:gd name="T63" fmla="*/ 440 h 575"/>
                <a:gd name="T64" fmla="*/ 62 w 677"/>
                <a:gd name="T65" fmla="*/ 433 h 575"/>
                <a:gd name="T66" fmla="*/ 160 w 677"/>
                <a:gd name="T67" fmla="*/ 352 h 575"/>
                <a:gd name="T68" fmla="*/ 71 w 677"/>
                <a:gd name="T69" fmla="*/ 379 h 575"/>
                <a:gd name="T70" fmla="*/ 18 w 677"/>
                <a:gd name="T71" fmla="*/ 405 h 575"/>
                <a:gd name="T72" fmla="*/ 42 w 677"/>
                <a:gd name="T73" fmla="*/ 383 h 575"/>
                <a:gd name="T74" fmla="*/ 128 w 677"/>
                <a:gd name="T75" fmla="*/ 349 h 575"/>
                <a:gd name="T76" fmla="*/ 193 w 677"/>
                <a:gd name="T77" fmla="*/ 326 h 575"/>
                <a:gd name="T78" fmla="*/ 88 w 677"/>
                <a:gd name="T79" fmla="*/ 303 h 575"/>
                <a:gd name="T80" fmla="*/ 1 w 677"/>
                <a:gd name="T81" fmla="*/ 301 h 575"/>
                <a:gd name="T82" fmla="*/ 28 w 677"/>
                <a:gd name="T83" fmla="*/ 291 h 575"/>
                <a:gd name="T84" fmla="*/ 156 w 677"/>
                <a:gd name="T85" fmla="*/ 305 h 575"/>
                <a:gd name="T86" fmla="*/ 101 w 677"/>
                <a:gd name="T87" fmla="*/ 286 h 575"/>
                <a:gd name="T88" fmla="*/ 8 w 677"/>
                <a:gd name="T89" fmla="*/ 276 h 575"/>
                <a:gd name="T90" fmla="*/ 6 w 677"/>
                <a:gd name="T91" fmla="*/ 267 h 575"/>
                <a:gd name="T92" fmla="*/ 112 w 677"/>
                <a:gd name="T93" fmla="*/ 279 h 575"/>
                <a:gd name="T94" fmla="*/ 144 w 677"/>
                <a:gd name="T95" fmla="*/ 276 h 575"/>
                <a:gd name="T96" fmla="*/ 75 w 677"/>
                <a:gd name="T97" fmla="*/ 244 h 575"/>
                <a:gd name="T98" fmla="*/ 37 w 677"/>
                <a:gd name="T99" fmla="*/ 196 h 575"/>
                <a:gd name="T100" fmla="*/ 51 w 677"/>
                <a:gd name="T101" fmla="*/ 204 h 575"/>
                <a:gd name="T102" fmla="*/ 104 w 677"/>
                <a:gd name="T103" fmla="*/ 248 h 575"/>
                <a:gd name="T104" fmla="*/ 68 w 677"/>
                <a:gd name="T105" fmla="*/ 175 h 575"/>
                <a:gd name="T106" fmla="*/ 73 w 677"/>
                <a:gd name="T107" fmla="*/ 167 h 575"/>
                <a:gd name="T108" fmla="*/ 94 w 677"/>
                <a:gd name="T109" fmla="*/ 170 h 575"/>
                <a:gd name="T110" fmla="*/ 161 w 677"/>
                <a:gd name="T111" fmla="*/ 170 h 575"/>
                <a:gd name="T112" fmla="*/ 168 w 677"/>
                <a:gd name="T113" fmla="*/ 164 h 575"/>
                <a:gd name="T114" fmla="*/ 223 w 677"/>
                <a:gd name="T115" fmla="*/ 206 h 575"/>
                <a:gd name="T116" fmla="*/ 238 w 677"/>
                <a:gd name="T117" fmla="*/ 205 h 575"/>
                <a:gd name="T118" fmla="*/ 248 w 677"/>
                <a:gd name="T119" fmla="*/ 207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7" h="575">
                  <a:moveTo>
                    <a:pt x="231" y="362"/>
                  </a:moveTo>
                  <a:lnTo>
                    <a:pt x="225" y="369"/>
                  </a:lnTo>
                  <a:lnTo>
                    <a:pt x="220" y="378"/>
                  </a:lnTo>
                  <a:lnTo>
                    <a:pt x="215" y="386"/>
                  </a:lnTo>
                  <a:lnTo>
                    <a:pt x="211" y="395"/>
                  </a:lnTo>
                  <a:lnTo>
                    <a:pt x="208" y="404"/>
                  </a:lnTo>
                  <a:lnTo>
                    <a:pt x="205" y="414"/>
                  </a:lnTo>
                  <a:lnTo>
                    <a:pt x="203" y="424"/>
                  </a:lnTo>
                  <a:lnTo>
                    <a:pt x="202" y="434"/>
                  </a:lnTo>
                  <a:lnTo>
                    <a:pt x="201" y="444"/>
                  </a:lnTo>
                  <a:lnTo>
                    <a:pt x="201" y="453"/>
                  </a:lnTo>
                  <a:lnTo>
                    <a:pt x="231" y="362"/>
                  </a:lnTo>
                  <a:close/>
                  <a:moveTo>
                    <a:pt x="662" y="22"/>
                  </a:moveTo>
                  <a:lnTo>
                    <a:pt x="622" y="61"/>
                  </a:lnTo>
                  <a:lnTo>
                    <a:pt x="602" y="81"/>
                  </a:lnTo>
                  <a:lnTo>
                    <a:pt x="582" y="100"/>
                  </a:lnTo>
                  <a:lnTo>
                    <a:pt x="589" y="97"/>
                  </a:lnTo>
                  <a:lnTo>
                    <a:pt x="597" y="94"/>
                  </a:lnTo>
                  <a:lnTo>
                    <a:pt x="605" y="90"/>
                  </a:lnTo>
                  <a:lnTo>
                    <a:pt x="613" y="84"/>
                  </a:lnTo>
                  <a:lnTo>
                    <a:pt x="621" y="79"/>
                  </a:lnTo>
                  <a:lnTo>
                    <a:pt x="628" y="72"/>
                  </a:lnTo>
                  <a:lnTo>
                    <a:pt x="635" y="65"/>
                  </a:lnTo>
                  <a:lnTo>
                    <a:pt x="641" y="57"/>
                  </a:lnTo>
                  <a:lnTo>
                    <a:pt x="647" y="49"/>
                  </a:lnTo>
                  <a:lnTo>
                    <a:pt x="653" y="40"/>
                  </a:lnTo>
                  <a:lnTo>
                    <a:pt x="658" y="31"/>
                  </a:lnTo>
                  <a:lnTo>
                    <a:pt x="662" y="22"/>
                  </a:lnTo>
                  <a:close/>
                  <a:moveTo>
                    <a:pt x="577" y="92"/>
                  </a:moveTo>
                  <a:lnTo>
                    <a:pt x="615" y="55"/>
                  </a:lnTo>
                  <a:lnTo>
                    <a:pt x="634" y="36"/>
                  </a:lnTo>
                  <a:lnTo>
                    <a:pt x="653" y="17"/>
                  </a:lnTo>
                  <a:lnTo>
                    <a:pt x="641" y="23"/>
                  </a:lnTo>
                  <a:lnTo>
                    <a:pt x="630" y="31"/>
                  </a:lnTo>
                  <a:lnTo>
                    <a:pt x="625" y="35"/>
                  </a:lnTo>
                  <a:lnTo>
                    <a:pt x="619" y="39"/>
                  </a:lnTo>
                  <a:lnTo>
                    <a:pt x="609" y="48"/>
                  </a:lnTo>
                  <a:lnTo>
                    <a:pt x="600" y="58"/>
                  </a:lnTo>
                  <a:lnTo>
                    <a:pt x="591" y="69"/>
                  </a:lnTo>
                  <a:lnTo>
                    <a:pt x="583" y="80"/>
                  </a:lnTo>
                  <a:lnTo>
                    <a:pt x="577" y="92"/>
                  </a:lnTo>
                  <a:close/>
                  <a:moveTo>
                    <a:pt x="247" y="334"/>
                  </a:moveTo>
                  <a:lnTo>
                    <a:pt x="263" y="327"/>
                  </a:lnTo>
                  <a:lnTo>
                    <a:pt x="278" y="320"/>
                  </a:lnTo>
                  <a:lnTo>
                    <a:pt x="294" y="312"/>
                  </a:lnTo>
                  <a:lnTo>
                    <a:pt x="309" y="304"/>
                  </a:lnTo>
                  <a:lnTo>
                    <a:pt x="324" y="296"/>
                  </a:lnTo>
                  <a:lnTo>
                    <a:pt x="339" y="288"/>
                  </a:lnTo>
                  <a:lnTo>
                    <a:pt x="368" y="270"/>
                  </a:lnTo>
                  <a:lnTo>
                    <a:pt x="396" y="250"/>
                  </a:lnTo>
                  <a:lnTo>
                    <a:pt x="424" y="230"/>
                  </a:lnTo>
                  <a:lnTo>
                    <a:pt x="437" y="219"/>
                  </a:lnTo>
                  <a:lnTo>
                    <a:pt x="450" y="208"/>
                  </a:lnTo>
                  <a:lnTo>
                    <a:pt x="476" y="185"/>
                  </a:lnTo>
                  <a:lnTo>
                    <a:pt x="518" y="146"/>
                  </a:lnTo>
                  <a:lnTo>
                    <a:pt x="560" y="107"/>
                  </a:lnTo>
                  <a:lnTo>
                    <a:pt x="564" y="98"/>
                  </a:lnTo>
                  <a:lnTo>
                    <a:pt x="568" y="89"/>
                  </a:lnTo>
                  <a:lnTo>
                    <a:pt x="573" y="80"/>
                  </a:lnTo>
                  <a:lnTo>
                    <a:pt x="578" y="71"/>
                  </a:lnTo>
                  <a:lnTo>
                    <a:pt x="584" y="63"/>
                  </a:lnTo>
                  <a:lnTo>
                    <a:pt x="590" y="55"/>
                  </a:lnTo>
                  <a:lnTo>
                    <a:pt x="596" y="48"/>
                  </a:lnTo>
                  <a:lnTo>
                    <a:pt x="603" y="41"/>
                  </a:lnTo>
                  <a:lnTo>
                    <a:pt x="611" y="34"/>
                  </a:lnTo>
                  <a:lnTo>
                    <a:pt x="618" y="28"/>
                  </a:lnTo>
                  <a:lnTo>
                    <a:pt x="626" y="22"/>
                  </a:lnTo>
                  <a:lnTo>
                    <a:pt x="631" y="19"/>
                  </a:lnTo>
                  <a:lnTo>
                    <a:pt x="635" y="17"/>
                  </a:lnTo>
                  <a:lnTo>
                    <a:pt x="644" y="12"/>
                  </a:lnTo>
                  <a:lnTo>
                    <a:pt x="653" y="7"/>
                  </a:lnTo>
                  <a:lnTo>
                    <a:pt x="662" y="3"/>
                  </a:lnTo>
                  <a:lnTo>
                    <a:pt x="671" y="0"/>
                  </a:lnTo>
                  <a:lnTo>
                    <a:pt x="674" y="0"/>
                  </a:lnTo>
                  <a:lnTo>
                    <a:pt x="675" y="2"/>
                  </a:lnTo>
                  <a:lnTo>
                    <a:pt x="676" y="3"/>
                  </a:lnTo>
                  <a:lnTo>
                    <a:pt x="677" y="5"/>
                  </a:lnTo>
                  <a:lnTo>
                    <a:pt x="673" y="18"/>
                  </a:lnTo>
                  <a:lnTo>
                    <a:pt x="671" y="24"/>
                  </a:lnTo>
                  <a:lnTo>
                    <a:pt x="668" y="30"/>
                  </a:lnTo>
                  <a:lnTo>
                    <a:pt x="662" y="42"/>
                  </a:lnTo>
                  <a:lnTo>
                    <a:pt x="655" y="54"/>
                  </a:lnTo>
                  <a:lnTo>
                    <a:pt x="651" y="60"/>
                  </a:lnTo>
                  <a:lnTo>
                    <a:pt x="647" y="65"/>
                  </a:lnTo>
                  <a:lnTo>
                    <a:pt x="638" y="75"/>
                  </a:lnTo>
                  <a:lnTo>
                    <a:pt x="634" y="80"/>
                  </a:lnTo>
                  <a:lnTo>
                    <a:pt x="629" y="84"/>
                  </a:lnTo>
                  <a:lnTo>
                    <a:pt x="624" y="88"/>
                  </a:lnTo>
                  <a:lnTo>
                    <a:pt x="618" y="92"/>
                  </a:lnTo>
                  <a:lnTo>
                    <a:pt x="606" y="100"/>
                  </a:lnTo>
                  <a:lnTo>
                    <a:pt x="594" y="106"/>
                  </a:lnTo>
                  <a:lnTo>
                    <a:pt x="588" y="108"/>
                  </a:lnTo>
                  <a:lnTo>
                    <a:pt x="582" y="110"/>
                  </a:lnTo>
                  <a:lnTo>
                    <a:pt x="575" y="112"/>
                  </a:lnTo>
                  <a:lnTo>
                    <a:pt x="568" y="113"/>
                  </a:lnTo>
                  <a:lnTo>
                    <a:pt x="526" y="153"/>
                  </a:lnTo>
                  <a:lnTo>
                    <a:pt x="483" y="192"/>
                  </a:lnTo>
                  <a:lnTo>
                    <a:pt x="457" y="215"/>
                  </a:lnTo>
                  <a:lnTo>
                    <a:pt x="443" y="226"/>
                  </a:lnTo>
                  <a:lnTo>
                    <a:pt x="430" y="237"/>
                  </a:lnTo>
                  <a:lnTo>
                    <a:pt x="402" y="258"/>
                  </a:lnTo>
                  <a:lnTo>
                    <a:pt x="388" y="268"/>
                  </a:lnTo>
                  <a:lnTo>
                    <a:pt x="373" y="278"/>
                  </a:lnTo>
                  <a:lnTo>
                    <a:pt x="358" y="287"/>
                  </a:lnTo>
                  <a:lnTo>
                    <a:pt x="344" y="296"/>
                  </a:lnTo>
                  <a:lnTo>
                    <a:pt x="329" y="304"/>
                  </a:lnTo>
                  <a:lnTo>
                    <a:pt x="313" y="313"/>
                  </a:lnTo>
                  <a:lnTo>
                    <a:pt x="298" y="321"/>
                  </a:lnTo>
                  <a:lnTo>
                    <a:pt x="282" y="328"/>
                  </a:lnTo>
                  <a:lnTo>
                    <a:pt x="267" y="336"/>
                  </a:lnTo>
                  <a:lnTo>
                    <a:pt x="259" y="339"/>
                  </a:lnTo>
                  <a:lnTo>
                    <a:pt x="251" y="343"/>
                  </a:lnTo>
                  <a:lnTo>
                    <a:pt x="251" y="346"/>
                  </a:lnTo>
                  <a:lnTo>
                    <a:pt x="336" y="519"/>
                  </a:lnTo>
                  <a:lnTo>
                    <a:pt x="337" y="521"/>
                  </a:lnTo>
                  <a:lnTo>
                    <a:pt x="336" y="523"/>
                  </a:lnTo>
                  <a:lnTo>
                    <a:pt x="335" y="524"/>
                  </a:lnTo>
                  <a:lnTo>
                    <a:pt x="334" y="525"/>
                  </a:lnTo>
                  <a:lnTo>
                    <a:pt x="332" y="526"/>
                  </a:lnTo>
                  <a:lnTo>
                    <a:pt x="330" y="526"/>
                  </a:lnTo>
                  <a:lnTo>
                    <a:pt x="329" y="525"/>
                  </a:lnTo>
                  <a:lnTo>
                    <a:pt x="327" y="523"/>
                  </a:lnTo>
                  <a:lnTo>
                    <a:pt x="255" y="375"/>
                  </a:lnTo>
                  <a:lnTo>
                    <a:pt x="257" y="385"/>
                  </a:lnTo>
                  <a:lnTo>
                    <a:pt x="259" y="395"/>
                  </a:lnTo>
                  <a:lnTo>
                    <a:pt x="263" y="415"/>
                  </a:lnTo>
                  <a:lnTo>
                    <a:pt x="266" y="424"/>
                  </a:lnTo>
                  <a:lnTo>
                    <a:pt x="269" y="434"/>
                  </a:lnTo>
                  <a:lnTo>
                    <a:pt x="276" y="453"/>
                  </a:lnTo>
                  <a:lnTo>
                    <a:pt x="283" y="472"/>
                  </a:lnTo>
                  <a:lnTo>
                    <a:pt x="292" y="490"/>
                  </a:lnTo>
                  <a:lnTo>
                    <a:pt x="296" y="499"/>
                  </a:lnTo>
                  <a:lnTo>
                    <a:pt x="301" y="508"/>
                  </a:lnTo>
                  <a:lnTo>
                    <a:pt x="311" y="526"/>
                  </a:lnTo>
                  <a:lnTo>
                    <a:pt x="312" y="528"/>
                  </a:lnTo>
                  <a:lnTo>
                    <a:pt x="312" y="529"/>
                  </a:lnTo>
                  <a:lnTo>
                    <a:pt x="311" y="531"/>
                  </a:lnTo>
                  <a:lnTo>
                    <a:pt x="310" y="532"/>
                  </a:lnTo>
                  <a:lnTo>
                    <a:pt x="308" y="533"/>
                  </a:lnTo>
                  <a:lnTo>
                    <a:pt x="307" y="533"/>
                  </a:lnTo>
                  <a:lnTo>
                    <a:pt x="305" y="532"/>
                  </a:lnTo>
                  <a:lnTo>
                    <a:pt x="303" y="531"/>
                  </a:lnTo>
                  <a:lnTo>
                    <a:pt x="296" y="519"/>
                  </a:lnTo>
                  <a:lnTo>
                    <a:pt x="289" y="507"/>
                  </a:lnTo>
                  <a:lnTo>
                    <a:pt x="283" y="495"/>
                  </a:lnTo>
                  <a:lnTo>
                    <a:pt x="277" y="482"/>
                  </a:lnTo>
                  <a:lnTo>
                    <a:pt x="272" y="469"/>
                  </a:lnTo>
                  <a:lnTo>
                    <a:pt x="267" y="457"/>
                  </a:lnTo>
                  <a:lnTo>
                    <a:pt x="264" y="450"/>
                  </a:lnTo>
                  <a:lnTo>
                    <a:pt x="262" y="444"/>
                  </a:lnTo>
                  <a:lnTo>
                    <a:pt x="258" y="431"/>
                  </a:lnTo>
                  <a:lnTo>
                    <a:pt x="271" y="546"/>
                  </a:lnTo>
                  <a:lnTo>
                    <a:pt x="271" y="548"/>
                  </a:lnTo>
                  <a:lnTo>
                    <a:pt x="270" y="550"/>
                  </a:lnTo>
                  <a:lnTo>
                    <a:pt x="268" y="551"/>
                  </a:lnTo>
                  <a:lnTo>
                    <a:pt x="267" y="551"/>
                  </a:lnTo>
                  <a:lnTo>
                    <a:pt x="265" y="551"/>
                  </a:lnTo>
                  <a:lnTo>
                    <a:pt x="263" y="550"/>
                  </a:lnTo>
                  <a:lnTo>
                    <a:pt x="262" y="549"/>
                  </a:lnTo>
                  <a:lnTo>
                    <a:pt x="261" y="547"/>
                  </a:lnTo>
                  <a:lnTo>
                    <a:pt x="242" y="372"/>
                  </a:lnTo>
                  <a:lnTo>
                    <a:pt x="237" y="396"/>
                  </a:lnTo>
                  <a:lnTo>
                    <a:pt x="236" y="409"/>
                  </a:lnTo>
                  <a:lnTo>
                    <a:pt x="234" y="421"/>
                  </a:lnTo>
                  <a:lnTo>
                    <a:pt x="233" y="433"/>
                  </a:lnTo>
                  <a:lnTo>
                    <a:pt x="232" y="446"/>
                  </a:lnTo>
                  <a:lnTo>
                    <a:pt x="231" y="470"/>
                  </a:lnTo>
                  <a:lnTo>
                    <a:pt x="232" y="495"/>
                  </a:lnTo>
                  <a:lnTo>
                    <a:pt x="234" y="520"/>
                  </a:lnTo>
                  <a:lnTo>
                    <a:pt x="238" y="545"/>
                  </a:lnTo>
                  <a:lnTo>
                    <a:pt x="241" y="557"/>
                  </a:lnTo>
                  <a:lnTo>
                    <a:pt x="244" y="570"/>
                  </a:lnTo>
                  <a:lnTo>
                    <a:pt x="244" y="572"/>
                  </a:lnTo>
                  <a:lnTo>
                    <a:pt x="244" y="573"/>
                  </a:lnTo>
                  <a:lnTo>
                    <a:pt x="243" y="573"/>
                  </a:lnTo>
                  <a:lnTo>
                    <a:pt x="242" y="575"/>
                  </a:lnTo>
                  <a:lnTo>
                    <a:pt x="240" y="575"/>
                  </a:lnTo>
                  <a:lnTo>
                    <a:pt x="238" y="575"/>
                  </a:lnTo>
                  <a:lnTo>
                    <a:pt x="237" y="575"/>
                  </a:lnTo>
                  <a:lnTo>
                    <a:pt x="235" y="574"/>
                  </a:lnTo>
                  <a:lnTo>
                    <a:pt x="234" y="572"/>
                  </a:lnTo>
                  <a:lnTo>
                    <a:pt x="230" y="551"/>
                  </a:lnTo>
                  <a:lnTo>
                    <a:pt x="228" y="540"/>
                  </a:lnTo>
                  <a:lnTo>
                    <a:pt x="226" y="530"/>
                  </a:lnTo>
                  <a:lnTo>
                    <a:pt x="224" y="509"/>
                  </a:lnTo>
                  <a:lnTo>
                    <a:pt x="222" y="488"/>
                  </a:lnTo>
                  <a:lnTo>
                    <a:pt x="222" y="467"/>
                  </a:lnTo>
                  <a:lnTo>
                    <a:pt x="223" y="446"/>
                  </a:lnTo>
                  <a:lnTo>
                    <a:pt x="224" y="425"/>
                  </a:lnTo>
                  <a:lnTo>
                    <a:pt x="227" y="405"/>
                  </a:lnTo>
                  <a:lnTo>
                    <a:pt x="203" y="477"/>
                  </a:lnTo>
                  <a:lnTo>
                    <a:pt x="205" y="489"/>
                  </a:lnTo>
                  <a:lnTo>
                    <a:pt x="209" y="502"/>
                  </a:lnTo>
                  <a:lnTo>
                    <a:pt x="210" y="504"/>
                  </a:lnTo>
                  <a:lnTo>
                    <a:pt x="209" y="505"/>
                  </a:lnTo>
                  <a:lnTo>
                    <a:pt x="208" y="507"/>
                  </a:lnTo>
                  <a:lnTo>
                    <a:pt x="206" y="508"/>
                  </a:lnTo>
                  <a:lnTo>
                    <a:pt x="205" y="508"/>
                  </a:lnTo>
                  <a:lnTo>
                    <a:pt x="203" y="508"/>
                  </a:lnTo>
                  <a:lnTo>
                    <a:pt x="201" y="507"/>
                  </a:lnTo>
                  <a:lnTo>
                    <a:pt x="200" y="505"/>
                  </a:lnTo>
                  <a:lnTo>
                    <a:pt x="197" y="494"/>
                  </a:lnTo>
                  <a:lnTo>
                    <a:pt x="180" y="545"/>
                  </a:lnTo>
                  <a:lnTo>
                    <a:pt x="179" y="547"/>
                  </a:lnTo>
                  <a:lnTo>
                    <a:pt x="178" y="548"/>
                  </a:lnTo>
                  <a:lnTo>
                    <a:pt x="176" y="548"/>
                  </a:lnTo>
                  <a:lnTo>
                    <a:pt x="174" y="548"/>
                  </a:lnTo>
                  <a:lnTo>
                    <a:pt x="173" y="547"/>
                  </a:lnTo>
                  <a:lnTo>
                    <a:pt x="171" y="546"/>
                  </a:lnTo>
                  <a:lnTo>
                    <a:pt x="171" y="544"/>
                  </a:lnTo>
                  <a:lnTo>
                    <a:pt x="171" y="542"/>
                  </a:lnTo>
                  <a:lnTo>
                    <a:pt x="193" y="475"/>
                  </a:lnTo>
                  <a:lnTo>
                    <a:pt x="192" y="464"/>
                  </a:lnTo>
                  <a:lnTo>
                    <a:pt x="191" y="453"/>
                  </a:lnTo>
                  <a:lnTo>
                    <a:pt x="191" y="442"/>
                  </a:lnTo>
                  <a:lnTo>
                    <a:pt x="192" y="431"/>
                  </a:lnTo>
                  <a:lnTo>
                    <a:pt x="194" y="420"/>
                  </a:lnTo>
                  <a:lnTo>
                    <a:pt x="197" y="409"/>
                  </a:lnTo>
                  <a:lnTo>
                    <a:pt x="200" y="398"/>
                  </a:lnTo>
                  <a:lnTo>
                    <a:pt x="204" y="388"/>
                  </a:lnTo>
                  <a:lnTo>
                    <a:pt x="208" y="379"/>
                  </a:lnTo>
                  <a:lnTo>
                    <a:pt x="212" y="372"/>
                  </a:lnTo>
                  <a:lnTo>
                    <a:pt x="221" y="359"/>
                  </a:lnTo>
                  <a:lnTo>
                    <a:pt x="68" y="440"/>
                  </a:lnTo>
                  <a:lnTo>
                    <a:pt x="66" y="441"/>
                  </a:lnTo>
                  <a:lnTo>
                    <a:pt x="64" y="440"/>
                  </a:lnTo>
                  <a:lnTo>
                    <a:pt x="63" y="439"/>
                  </a:lnTo>
                  <a:lnTo>
                    <a:pt x="62" y="438"/>
                  </a:lnTo>
                  <a:lnTo>
                    <a:pt x="61" y="436"/>
                  </a:lnTo>
                  <a:lnTo>
                    <a:pt x="61" y="435"/>
                  </a:lnTo>
                  <a:lnTo>
                    <a:pt x="62" y="433"/>
                  </a:lnTo>
                  <a:lnTo>
                    <a:pt x="64" y="432"/>
                  </a:lnTo>
                  <a:lnTo>
                    <a:pt x="227" y="344"/>
                  </a:lnTo>
                  <a:lnTo>
                    <a:pt x="213" y="345"/>
                  </a:lnTo>
                  <a:lnTo>
                    <a:pt x="200" y="346"/>
                  </a:lnTo>
                  <a:lnTo>
                    <a:pt x="187" y="348"/>
                  </a:lnTo>
                  <a:lnTo>
                    <a:pt x="173" y="349"/>
                  </a:lnTo>
                  <a:lnTo>
                    <a:pt x="160" y="352"/>
                  </a:lnTo>
                  <a:lnTo>
                    <a:pt x="147" y="354"/>
                  </a:lnTo>
                  <a:lnTo>
                    <a:pt x="134" y="357"/>
                  </a:lnTo>
                  <a:lnTo>
                    <a:pt x="121" y="361"/>
                  </a:lnTo>
                  <a:lnTo>
                    <a:pt x="109" y="365"/>
                  </a:lnTo>
                  <a:lnTo>
                    <a:pt x="96" y="369"/>
                  </a:lnTo>
                  <a:lnTo>
                    <a:pt x="83" y="374"/>
                  </a:lnTo>
                  <a:lnTo>
                    <a:pt x="71" y="379"/>
                  </a:lnTo>
                  <a:lnTo>
                    <a:pt x="59" y="385"/>
                  </a:lnTo>
                  <a:lnTo>
                    <a:pt x="47" y="391"/>
                  </a:lnTo>
                  <a:lnTo>
                    <a:pt x="35" y="398"/>
                  </a:lnTo>
                  <a:lnTo>
                    <a:pt x="23" y="405"/>
                  </a:lnTo>
                  <a:lnTo>
                    <a:pt x="21" y="406"/>
                  </a:lnTo>
                  <a:lnTo>
                    <a:pt x="19" y="406"/>
                  </a:lnTo>
                  <a:lnTo>
                    <a:pt x="18" y="405"/>
                  </a:lnTo>
                  <a:lnTo>
                    <a:pt x="17" y="403"/>
                  </a:lnTo>
                  <a:lnTo>
                    <a:pt x="16" y="402"/>
                  </a:lnTo>
                  <a:lnTo>
                    <a:pt x="16" y="400"/>
                  </a:lnTo>
                  <a:lnTo>
                    <a:pt x="17" y="398"/>
                  </a:lnTo>
                  <a:lnTo>
                    <a:pt x="18" y="397"/>
                  </a:lnTo>
                  <a:lnTo>
                    <a:pt x="30" y="390"/>
                  </a:lnTo>
                  <a:lnTo>
                    <a:pt x="42" y="383"/>
                  </a:lnTo>
                  <a:lnTo>
                    <a:pt x="53" y="377"/>
                  </a:lnTo>
                  <a:lnTo>
                    <a:pt x="65" y="371"/>
                  </a:lnTo>
                  <a:lnTo>
                    <a:pt x="78" y="366"/>
                  </a:lnTo>
                  <a:lnTo>
                    <a:pt x="90" y="361"/>
                  </a:lnTo>
                  <a:lnTo>
                    <a:pt x="102" y="357"/>
                  </a:lnTo>
                  <a:lnTo>
                    <a:pt x="115" y="353"/>
                  </a:lnTo>
                  <a:lnTo>
                    <a:pt x="128" y="349"/>
                  </a:lnTo>
                  <a:lnTo>
                    <a:pt x="140" y="346"/>
                  </a:lnTo>
                  <a:lnTo>
                    <a:pt x="166" y="341"/>
                  </a:lnTo>
                  <a:lnTo>
                    <a:pt x="179" y="339"/>
                  </a:lnTo>
                  <a:lnTo>
                    <a:pt x="192" y="337"/>
                  </a:lnTo>
                  <a:lnTo>
                    <a:pt x="206" y="336"/>
                  </a:lnTo>
                  <a:lnTo>
                    <a:pt x="219" y="335"/>
                  </a:lnTo>
                  <a:lnTo>
                    <a:pt x="193" y="326"/>
                  </a:lnTo>
                  <a:lnTo>
                    <a:pt x="167" y="318"/>
                  </a:lnTo>
                  <a:lnTo>
                    <a:pt x="154" y="315"/>
                  </a:lnTo>
                  <a:lnTo>
                    <a:pt x="141" y="312"/>
                  </a:lnTo>
                  <a:lnTo>
                    <a:pt x="128" y="309"/>
                  </a:lnTo>
                  <a:lnTo>
                    <a:pt x="114" y="306"/>
                  </a:lnTo>
                  <a:lnTo>
                    <a:pt x="101" y="304"/>
                  </a:lnTo>
                  <a:lnTo>
                    <a:pt x="88" y="303"/>
                  </a:lnTo>
                  <a:lnTo>
                    <a:pt x="74" y="302"/>
                  </a:lnTo>
                  <a:lnTo>
                    <a:pt x="60" y="301"/>
                  </a:lnTo>
                  <a:lnTo>
                    <a:pt x="47" y="301"/>
                  </a:lnTo>
                  <a:lnTo>
                    <a:pt x="33" y="301"/>
                  </a:lnTo>
                  <a:lnTo>
                    <a:pt x="5" y="302"/>
                  </a:lnTo>
                  <a:lnTo>
                    <a:pt x="3" y="302"/>
                  </a:lnTo>
                  <a:lnTo>
                    <a:pt x="1" y="301"/>
                  </a:lnTo>
                  <a:lnTo>
                    <a:pt x="0" y="299"/>
                  </a:lnTo>
                  <a:lnTo>
                    <a:pt x="0" y="298"/>
                  </a:lnTo>
                  <a:lnTo>
                    <a:pt x="0" y="296"/>
                  </a:lnTo>
                  <a:lnTo>
                    <a:pt x="1" y="294"/>
                  </a:lnTo>
                  <a:lnTo>
                    <a:pt x="2" y="293"/>
                  </a:lnTo>
                  <a:lnTo>
                    <a:pt x="4" y="293"/>
                  </a:lnTo>
                  <a:lnTo>
                    <a:pt x="28" y="291"/>
                  </a:lnTo>
                  <a:lnTo>
                    <a:pt x="52" y="291"/>
                  </a:lnTo>
                  <a:lnTo>
                    <a:pt x="64" y="292"/>
                  </a:lnTo>
                  <a:lnTo>
                    <a:pt x="76" y="292"/>
                  </a:lnTo>
                  <a:lnTo>
                    <a:pt x="99" y="295"/>
                  </a:lnTo>
                  <a:lnTo>
                    <a:pt x="122" y="298"/>
                  </a:lnTo>
                  <a:lnTo>
                    <a:pt x="145" y="303"/>
                  </a:lnTo>
                  <a:lnTo>
                    <a:pt x="156" y="305"/>
                  </a:lnTo>
                  <a:lnTo>
                    <a:pt x="167" y="308"/>
                  </a:lnTo>
                  <a:lnTo>
                    <a:pt x="190" y="315"/>
                  </a:lnTo>
                  <a:lnTo>
                    <a:pt x="168" y="306"/>
                  </a:lnTo>
                  <a:lnTo>
                    <a:pt x="146" y="298"/>
                  </a:lnTo>
                  <a:lnTo>
                    <a:pt x="124" y="291"/>
                  </a:lnTo>
                  <a:lnTo>
                    <a:pt x="112" y="288"/>
                  </a:lnTo>
                  <a:lnTo>
                    <a:pt x="101" y="286"/>
                  </a:lnTo>
                  <a:lnTo>
                    <a:pt x="90" y="283"/>
                  </a:lnTo>
                  <a:lnTo>
                    <a:pt x="78" y="281"/>
                  </a:lnTo>
                  <a:lnTo>
                    <a:pt x="55" y="278"/>
                  </a:lnTo>
                  <a:lnTo>
                    <a:pt x="43" y="277"/>
                  </a:lnTo>
                  <a:lnTo>
                    <a:pt x="32" y="276"/>
                  </a:lnTo>
                  <a:lnTo>
                    <a:pt x="20" y="276"/>
                  </a:lnTo>
                  <a:lnTo>
                    <a:pt x="8" y="276"/>
                  </a:lnTo>
                  <a:lnTo>
                    <a:pt x="6" y="276"/>
                  </a:lnTo>
                  <a:lnTo>
                    <a:pt x="4" y="275"/>
                  </a:lnTo>
                  <a:lnTo>
                    <a:pt x="4" y="273"/>
                  </a:lnTo>
                  <a:lnTo>
                    <a:pt x="3" y="271"/>
                  </a:lnTo>
                  <a:lnTo>
                    <a:pt x="4" y="270"/>
                  </a:lnTo>
                  <a:lnTo>
                    <a:pt x="4" y="268"/>
                  </a:lnTo>
                  <a:lnTo>
                    <a:pt x="6" y="267"/>
                  </a:lnTo>
                  <a:lnTo>
                    <a:pt x="8" y="266"/>
                  </a:lnTo>
                  <a:lnTo>
                    <a:pt x="20" y="267"/>
                  </a:lnTo>
                  <a:lnTo>
                    <a:pt x="32" y="267"/>
                  </a:lnTo>
                  <a:lnTo>
                    <a:pt x="55" y="269"/>
                  </a:lnTo>
                  <a:lnTo>
                    <a:pt x="78" y="272"/>
                  </a:lnTo>
                  <a:lnTo>
                    <a:pt x="101" y="276"/>
                  </a:lnTo>
                  <a:lnTo>
                    <a:pt x="112" y="279"/>
                  </a:lnTo>
                  <a:lnTo>
                    <a:pt x="124" y="282"/>
                  </a:lnTo>
                  <a:lnTo>
                    <a:pt x="146" y="288"/>
                  </a:lnTo>
                  <a:lnTo>
                    <a:pt x="168" y="296"/>
                  </a:lnTo>
                  <a:lnTo>
                    <a:pt x="190" y="305"/>
                  </a:lnTo>
                  <a:lnTo>
                    <a:pt x="172" y="292"/>
                  </a:lnTo>
                  <a:lnTo>
                    <a:pt x="153" y="281"/>
                  </a:lnTo>
                  <a:lnTo>
                    <a:pt x="144" y="276"/>
                  </a:lnTo>
                  <a:lnTo>
                    <a:pt x="134" y="271"/>
                  </a:lnTo>
                  <a:lnTo>
                    <a:pt x="116" y="263"/>
                  </a:lnTo>
                  <a:lnTo>
                    <a:pt x="103" y="258"/>
                  </a:lnTo>
                  <a:lnTo>
                    <a:pt x="92" y="254"/>
                  </a:lnTo>
                  <a:lnTo>
                    <a:pt x="86" y="251"/>
                  </a:lnTo>
                  <a:lnTo>
                    <a:pt x="81" y="248"/>
                  </a:lnTo>
                  <a:lnTo>
                    <a:pt x="75" y="244"/>
                  </a:lnTo>
                  <a:lnTo>
                    <a:pt x="70" y="240"/>
                  </a:lnTo>
                  <a:lnTo>
                    <a:pt x="59" y="231"/>
                  </a:lnTo>
                  <a:lnTo>
                    <a:pt x="51" y="221"/>
                  </a:lnTo>
                  <a:lnTo>
                    <a:pt x="44" y="211"/>
                  </a:lnTo>
                  <a:lnTo>
                    <a:pt x="37" y="199"/>
                  </a:lnTo>
                  <a:lnTo>
                    <a:pt x="36" y="197"/>
                  </a:lnTo>
                  <a:lnTo>
                    <a:pt x="37" y="196"/>
                  </a:lnTo>
                  <a:lnTo>
                    <a:pt x="38" y="194"/>
                  </a:lnTo>
                  <a:lnTo>
                    <a:pt x="39" y="193"/>
                  </a:lnTo>
                  <a:lnTo>
                    <a:pt x="41" y="192"/>
                  </a:lnTo>
                  <a:lnTo>
                    <a:pt x="42" y="193"/>
                  </a:lnTo>
                  <a:lnTo>
                    <a:pt x="44" y="193"/>
                  </a:lnTo>
                  <a:lnTo>
                    <a:pt x="45" y="195"/>
                  </a:lnTo>
                  <a:lnTo>
                    <a:pt x="51" y="204"/>
                  </a:lnTo>
                  <a:lnTo>
                    <a:pt x="56" y="213"/>
                  </a:lnTo>
                  <a:lnTo>
                    <a:pt x="63" y="220"/>
                  </a:lnTo>
                  <a:lnTo>
                    <a:pt x="70" y="227"/>
                  </a:lnTo>
                  <a:lnTo>
                    <a:pt x="77" y="234"/>
                  </a:lnTo>
                  <a:lnTo>
                    <a:pt x="85" y="239"/>
                  </a:lnTo>
                  <a:lnTo>
                    <a:pt x="94" y="244"/>
                  </a:lnTo>
                  <a:lnTo>
                    <a:pt x="104" y="248"/>
                  </a:lnTo>
                  <a:lnTo>
                    <a:pt x="120" y="254"/>
                  </a:lnTo>
                  <a:lnTo>
                    <a:pt x="128" y="258"/>
                  </a:lnTo>
                  <a:lnTo>
                    <a:pt x="136" y="262"/>
                  </a:lnTo>
                  <a:lnTo>
                    <a:pt x="150" y="269"/>
                  </a:lnTo>
                  <a:lnTo>
                    <a:pt x="162" y="276"/>
                  </a:lnTo>
                  <a:lnTo>
                    <a:pt x="184" y="290"/>
                  </a:lnTo>
                  <a:lnTo>
                    <a:pt x="68" y="175"/>
                  </a:lnTo>
                  <a:lnTo>
                    <a:pt x="67" y="174"/>
                  </a:lnTo>
                  <a:lnTo>
                    <a:pt x="66" y="172"/>
                  </a:lnTo>
                  <a:lnTo>
                    <a:pt x="67" y="170"/>
                  </a:lnTo>
                  <a:lnTo>
                    <a:pt x="68" y="169"/>
                  </a:lnTo>
                  <a:lnTo>
                    <a:pt x="69" y="168"/>
                  </a:lnTo>
                  <a:lnTo>
                    <a:pt x="71" y="167"/>
                  </a:lnTo>
                  <a:lnTo>
                    <a:pt x="73" y="167"/>
                  </a:lnTo>
                  <a:lnTo>
                    <a:pt x="74" y="168"/>
                  </a:lnTo>
                  <a:lnTo>
                    <a:pt x="75" y="169"/>
                  </a:lnTo>
                  <a:lnTo>
                    <a:pt x="166" y="259"/>
                  </a:lnTo>
                  <a:lnTo>
                    <a:pt x="95" y="175"/>
                  </a:lnTo>
                  <a:lnTo>
                    <a:pt x="94" y="173"/>
                  </a:lnTo>
                  <a:lnTo>
                    <a:pt x="93" y="172"/>
                  </a:lnTo>
                  <a:lnTo>
                    <a:pt x="94" y="170"/>
                  </a:lnTo>
                  <a:lnTo>
                    <a:pt x="95" y="169"/>
                  </a:lnTo>
                  <a:lnTo>
                    <a:pt x="97" y="168"/>
                  </a:lnTo>
                  <a:lnTo>
                    <a:pt x="98" y="167"/>
                  </a:lnTo>
                  <a:lnTo>
                    <a:pt x="100" y="168"/>
                  </a:lnTo>
                  <a:lnTo>
                    <a:pt x="102" y="169"/>
                  </a:lnTo>
                  <a:lnTo>
                    <a:pt x="226" y="314"/>
                  </a:lnTo>
                  <a:lnTo>
                    <a:pt x="161" y="170"/>
                  </a:lnTo>
                  <a:lnTo>
                    <a:pt x="160" y="168"/>
                  </a:lnTo>
                  <a:lnTo>
                    <a:pt x="161" y="166"/>
                  </a:lnTo>
                  <a:lnTo>
                    <a:pt x="162" y="165"/>
                  </a:lnTo>
                  <a:lnTo>
                    <a:pt x="163" y="164"/>
                  </a:lnTo>
                  <a:lnTo>
                    <a:pt x="165" y="163"/>
                  </a:lnTo>
                  <a:lnTo>
                    <a:pt x="167" y="164"/>
                  </a:lnTo>
                  <a:lnTo>
                    <a:pt x="168" y="164"/>
                  </a:lnTo>
                  <a:lnTo>
                    <a:pt x="169" y="166"/>
                  </a:lnTo>
                  <a:lnTo>
                    <a:pt x="232" y="304"/>
                  </a:lnTo>
                  <a:lnTo>
                    <a:pt x="219" y="211"/>
                  </a:lnTo>
                  <a:lnTo>
                    <a:pt x="220" y="209"/>
                  </a:lnTo>
                  <a:lnTo>
                    <a:pt x="220" y="207"/>
                  </a:lnTo>
                  <a:lnTo>
                    <a:pt x="222" y="206"/>
                  </a:lnTo>
                  <a:lnTo>
                    <a:pt x="223" y="206"/>
                  </a:lnTo>
                  <a:lnTo>
                    <a:pt x="225" y="206"/>
                  </a:lnTo>
                  <a:lnTo>
                    <a:pt x="227" y="206"/>
                  </a:lnTo>
                  <a:lnTo>
                    <a:pt x="228" y="208"/>
                  </a:lnTo>
                  <a:lnTo>
                    <a:pt x="229" y="210"/>
                  </a:lnTo>
                  <a:lnTo>
                    <a:pt x="238" y="275"/>
                  </a:lnTo>
                  <a:lnTo>
                    <a:pt x="238" y="207"/>
                  </a:lnTo>
                  <a:lnTo>
                    <a:pt x="238" y="205"/>
                  </a:lnTo>
                  <a:lnTo>
                    <a:pt x="240" y="204"/>
                  </a:lnTo>
                  <a:lnTo>
                    <a:pt x="241" y="203"/>
                  </a:lnTo>
                  <a:lnTo>
                    <a:pt x="243" y="202"/>
                  </a:lnTo>
                  <a:lnTo>
                    <a:pt x="245" y="203"/>
                  </a:lnTo>
                  <a:lnTo>
                    <a:pt x="246" y="204"/>
                  </a:lnTo>
                  <a:lnTo>
                    <a:pt x="247" y="205"/>
                  </a:lnTo>
                  <a:lnTo>
                    <a:pt x="248" y="207"/>
                  </a:lnTo>
                  <a:lnTo>
                    <a:pt x="247"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1952"/>
            <p:cNvSpPr>
              <a:spLocks noEditPoints="1"/>
            </p:cNvSpPr>
            <p:nvPr userDrawn="1"/>
          </p:nvSpPr>
          <p:spPr bwMode="auto">
            <a:xfrm>
              <a:off x="3709988" y="2746375"/>
              <a:ext cx="1168400" cy="687388"/>
            </a:xfrm>
            <a:custGeom>
              <a:avLst/>
              <a:gdLst>
                <a:gd name="T0" fmla="*/ 608 w 736"/>
                <a:gd name="T1" fmla="*/ 169 h 433"/>
                <a:gd name="T2" fmla="*/ 82 w 736"/>
                <a:gd name="T3" fmla="*/ 31 h 433"/>
                <a:gd name="T4" fmla="*/ 85 w 736"/>
                <a:gd name="T5" fmla="*/ 19 h 433"/>
                <a:gd name="T6" fmla="*/ 25 w 736"/>
                <a:gd name="T7" fmla="*/ 20 h 433"/>
                <a:gd name="T8" fmla="*/ 38 w 736"/>
                <a:gd name="T9" fmla="*/ 36 h 433"/>
                <a:gd name="T10" fmla="*/ 117 w 736"/>
                <a:gd name="T11" fmla="*/ 51 h 433"/>
                <a:gd name="T12" fmla="*/ 409 w 736"/>
                <a:gd name="T13" fmla="*/ 125 h 433"/>
                <a:gd name="T14" fmla="*/ 265 w 736"/>
                <a:gd name="T15" fmla="*/ 79 h 433"/>
                <a:gd name="T16" fmla="*/ 103 w 736"/>
                <a:gd name="T17" fmla="*/ 61 h 433"/>
                <a:gd name="T18" fmla="*/ 36 w 736"/>
                <a:gd name="T19" fmla="*/ 46 h 433"/>
                <a:gd name="T20" fmla="*/ 1 w 736"/>
                <a:gd name="T21" fmla="*/ 19 h 433"/>
                <a:gd name="T22" fmla="*/ 68 w 736"/>
                <a:gd name="T23" fmla="*/ 8 h 433"/>
                <a:gd name="T24" fmla="*/ 114 w 736"/>
                <a:gd name="T25" fmla="*/ 19 h 433"/>
                <a:gd name="T26" fmla="*/ 192 w 736"/>
                <a:gd name="T27" fmla="*/ 54 h 433"/>
                <a:gd name="T28" fmla="*/ 366 w 736"/>
                <a:gd name="T29" fmla="*/ 98 h 433"/>
                <a:gd name="T30" fmla="*/ 523 w 736"/>
                <a:gd name="T31" fmla="*/ 173 h 433"/>
                <a:gd name="T32" fmla="*/ 626 w 736"/>
                <a:gd name="T33" fmla="*/ 1 h 433"/>
                <a:gd name="T34" fmla="*/ 588 w 736"/>
                <a:gd name="T35" fmla="*/ 106 h 433"/>
                <a:gd name="T36" fmla="*/ 639 w 736"/>
                <a:gd name="T37" fmla="*/ 17 h 433"/>
                <a:gd name="T38" fmla="*/ 647 w 736"/>
                <a:gd name="T39" fmla="*/ 21 h 433"/>
                <a:gd name="T40" fmla="*/ 591 w 736"/>
                <a:gd name="T41" fmla="*/ 117 h 433"/>
                <a:gd name="T42" fmla="*/ 686 w 736"/>
                <a:gd name="T43" fmla="*/ 44 h 433"/>
                <a:gd name="T44" fmla="*/ 618 w 736"/>
                <a:gd name="T45" fmla="*/ 129 h 433"/>
                <a:gd name="T46" fmla="*/ 705 w 736"/>
                <a:gd name="T47" fmla="*/ 58 h 433"/>
                <a:gd name="T48" fmla="*/ 722 w 736"/>
                <a:gd name="T49" fmla="*/ 51 h 433"/>
                <a:gd name="T50" fmla="*/ 642 w 736"/>
                <a:gd name="T51" fmla="*/ 125 h 433"/>
                <a:gd name="T52" fmla="*/ 679 w 736"/>
                <a:gd name="T53" fmla="*/ 114 h 433"/>
                <a:gd name="T54" fmla="*/ 685 w 736"/>
                <a:gd name="T55" fmla="*/ 121 h 433"/>
                <a:gd name="T56" fmla="*/ 736 w 736"/>
                <a:gd name="T57" fmla="*/ 120 h 433"/>
                <a:gd name="T58" fmla="*/ 648 w 736"/>
                <a:gd name="T59" fmla="*/ 159 h 433"/>
                <a:gd name="T60" fmla="*/ 578 w 736"/>
                <a:gd name="T61" fmla="*/ 187 h 433"/>
                <a:gd name="T62" fmla="*/ 710 w 736"/>
                <a:gd name="T63" fmla="*/ 270 h 433"/>
                <a:gd name="T64" fmla="*/ 538 w 736"/>
                <a:gd name="T65" fmla="*/ 192 h 433"/>
                <a:gd name="T66" fmla="*/ 602 w 736"/>
                <a:gd name="T67" fmla="*/ 260 h 433"/>
                <a:gd name="T68" fmla="*/ 680 w 736"/>
                <a:gd name="T69" fmla="*/ 312 h 433"/>
                <a:gd name="T70" fmla="*/ 706 w 736"/>
                <a:gd name="T71" fmla="*/ 332 h 433"/>
                <a:gd name="T72" fmla="*/ 665 w 736"/>
                <a:gd name="T73" fmla="*/ 315 h 433"/>
                <a:gd name="T74" fmla="*/ 580 w 736"/>
                <a:gd name="T75" fmla="*/ 253 h 433"/>
                <a:gd name="T76" fmla="*/ 556 w 736"/>
                <a:gd name="T77" fmla="*/ 269 h 433"/>
                <a:gd name="T78" fmla="*/ 598 w 736"/>
                <a:gd name="T79" fmla="*/ 353 h 433"/>
                <a:gd name="T80" fmla="*/ 630 w 736"/>
                <a:gd name="T81" fmla="*/ 405 h 433"/>
                <a:gd name="T82" fmla="*/ 588 w 736"/>
                <a:gd name="T83" fmla="*/ 355 h 433"/>
                <a:gd name="T84" fmla="*/ 535 w 736"/>
                <a:gd name="T85" fmla="*/ 239 h 433"/>
                <a:gd name="T86" fmla="*/ 572 w 736"/>
                <a:gd name="T87" fmla="*/ 350 h 433"/>
                <a:gd name="T88" fmla="*/ 607 w 736"/>
                <a:gd name="T89" fmla="*/ 417 h 433"/>
                <a:gd name="T90" fmla="*/ 575 w 736"/>
                <a:gd name="T91" fmla="*/ 376 h 433"/>
                <a:gd name="T92" fmla="*/ 530 w 736"/>
                <a:gd name="T93" fmla="*/ 257 h 433"/>
                <a:gd name="T94" fmla="*/ 542 w 736"/>
                <a:gd name="T95" fmla="*/ 356 h 433"/>
                <a:gd name="T96" fmla="*/ 528 w 736"/>
                <a:gd name="T97" fmla="*/ 430 h 433"/>
                <a:gd name="T98" fmla="*/ 519 w 736"/>
                <a:gd name="T99" fmla="*/ 428 h 433"/>
                <a:gd name="T100" fmla="*/ 534 w 736"/>
                <a:gd name="T101" fmla="*/ 378 h 433"/>
                <a:gd name="T102" fmla="*/ 523 w 736"/>
                <a:gd name="T103" fmla="*/ 314 h 433"/>
                <a:gd name="T104" fmla="*/ 487 w 736"/>
                <a:gd name="T105" fmla="*/ 423 h 433"/>
                <a:gd name="T106" fmla="*/ 503 w 736"/>
                <a:gd name="T107" fmla="*/ 291 h 433"/>
                <a:gd name="T108" fmla="*/ 467 w 736"/>
                <a:gd name="T109" fmla="*/ 398 h 433"/>
                <a:gd name="T110" fmla="*/ 429 w 736"/>
                <a:gd name="T111" fmla="*/ 348 h 433"/>
                <a:gd name="T112" fmla="*/ 433 w 736"/>
                <a:gd name="T113" fmla="*/ 274 h 433"/>
                <a:gd name="T114" fmla="*/ 425 w 736"/>
                <a:gd name="T115" fmla="*/ 269 h 433"/>
                <a:gd name="T116" fmla="*/ 413 w 736"/>
                <a:gd name="T117" fmla="*/ 26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6" h="433">
                  <a:moveTo>
                    <a:pt x="550" y="179"/>
                  </a:moveTo>
                  <a:lnTo>
                    <a:pt x="560" y="179"/>
                  </a:lnTo>
                  <a:lnTo>
                    <a:pt x="570" y="178"/>
                  </a:lnTo>
                  <a:lnTo>
                    <a:pt x="579" y="177"/>
                  </a:lnTo>
                  <a:lnTo>
                    <a:pt x="589" y="175"/>
                  </a:lnTo>
                  <a:lnTo>
                    <a:pt x="598" y="173"/>
                  </a:lnTo>
                  <a:lnTo>
                    <a:pt x="608" y="169"/>
                  </a:lnTo>
                  <a:lnTo>
                    <a:pt x="617" y="165"/>
                  </a:lnTo>
                  <a:lnTo>
                    <a:pt x="626" y="161"/>
                  </a:lnTo>
                  <a:lnTo>
                    <a:pt x="635" y="156"/>
                  </a:lnTo>
                  <a:lnTo>
                    <a:pt x="642" y="151"/>
                  </a:lnTo>
                  <a:lnTo>
                    <a:pt x="550" y="179"/>
                  </a:lnTo>
                  <a:close/>
                  <a:moveTo>
                    <a:pt x="25" y="20"/>
                  </a:moveTo>
                  <a:lnTo>
                    <a:pt x="82" y="31"/>
                  </a:lnTo>
                  <a:lnTo>
                    <a:pt x="135" y="41"/>
                  </a:lnTo>
                  <a:lnTo>
                    <a:pt x="128" y="36"/>
                  </a:lnTo>
                  <a:lnTo>
                    <a:pt x="121" y="32"/>
                  </a:lnTo>
                  <a:lnTo>
                    <a:pt x="113" y="28"/>
                  </a:lnTo>
                  <a:lnTo>
                    <a:pt x="104" y="25"/>
                  </a:lnTo>
                  <a:lnTo>
                    <a:pt x="95" y="22"/>
                  </a:lnTo>
                  <a:lnTo>
                    <a:pt x="85" y="19"/>
                  </a:lnTo>
                  <a:lnTo>
                    <a:pt x="80" y="19"/>
                  </a:lnTo>
                  <a:lnTo>
                    <a:pt x="75" y="18"/>
                  </a:lnTo>
                  <a:lnTo>
                    <a:pt x="65" y="17"/>
                  </a:lnTo>
                  <a:lnTo>
                    <a:pt x="55" y="17"/>
                  </a:lnTo>
                  <a:lnTo>
                    <a:pt x="45" y="17"/>
                  </a:lnTo>
                  <a:lnTo>
                    <a:pt x="35" y="18"/>
                  </a:lnTo>
                  <a:lnTo>
                    <a:pt x="25" y="20"/>
                  </a:lnTo>
                  <a:close/>
                  <a:moveTo>
                    <a:pt x="131" y="50"/>
                  </a:moveTo>
                  <a:lnTo>
                    <a:pt x="105" y="45"/>
                  </a:lnTo>
                  <a:lnTo>
                    <a:pt x="80" y="40"/>
                  </a:lnTo>
                  <a:lnTo>
                    <a:pt x="54" y="35"/>
                  </a:lnTo>
                  <a:lnTo>
                    <a:pt x="26" y="30"/>
                  </a:lnTo>
                  <a:lnTo>
                    <a:pt x="31" y="33"/>
                  </a:lnTo>
                  <a:lnTo>
                    <a:pt x="38" y="36"/>
                  </a:lnTo>
                  <a:lnTo>
                    <a:pt x="50" y="41"/>
                  </a:lnTo>
                  <a:lnTo>
                    <a:pt x="63" y="45"/>
                  </a:lnTo>
                  <a:lnTo>
                    <a:pt x="76" y="48"/>
                  </a:lnTo>
                  <a:lnTo>
                    <a:pt x="90" y="51"/>
                  </a:lnTo>
                  <a:lnTo>
                    <a:pt x="104" y="51"/>
                  </a:lnTo>
                  <a:lnTo>
                    <a:pt x="111" y="52"/>
                  </a:lnTo>
                  <a:lnTo>
                    <a:pt x="117" y="51"/>
                  </a:lnTo>
                  <a:lnTo>
                    <a:pt x="131" y="50"/>
                  </a:lnTo>
                  <a:close/>
                  <a:moveTo>
                    <a:pt x="518" y="181"/>
                  </a:moveTo>
                  <a:lnTo>
                    <a:pt x="497" y="168"/>
                  </a:lnTo>
                  <a:lnTo>
                    <a:pt x="475" y="156"/>
                  </a:lnTo>
                  <a:lnTo>
                    <a:pt x="453" y="145"/>
                  </a:lnTo>
                  <a:lnTo>
                    <a:pt x="431" y="134"/>
                  </a:lnTo>
                  <a:lnTo>
                    <a:pt x="409" y="125"/>
                  </a:lnTo>
                  <a:lnTo>
                    <a:pt x="386" y="116"/>
                  </a:lnTo>
                  <a:lnTo>
                    <a:pt x="363" y="107"/>
                  </a:lnTo>
                  <a:lnTo>
                    <a:pt x="338" y="99"/>
                  </a:lnTo>
                  <a:lnTo>
                    <a:pt x="318" y="92"/>
                  </a:lnTo>
                  <a:lnTo>
                    <a:pt x="299" y="87"/>
                  </a:lnTo>
                  <a:lnTo>
                    <a:pt x="282" y="83"/>
                  </a:lnTo>
                  <a:lnTo>
                    <a:pt x="265" y="79"/>
                  </a:lnTo>
                  <a:lnTo>
                    <a:pt x="190" y="63"/>
                  </a:lnTo>
                  <a:lnTo>
                    <a:pt x="153" y="55"/>
                  </a:lnTo>
                  <a:lnTo>
                    <a:pt x="143" y="57"/>
                  </a:lnTo>
                  <a:lnTo>
                    <a:pt x="133" y="59"/>
                  </a:lnTo>
                  <a:lnTo>
                    <a:pt x="123" y="60"/>
                  </a:lnTo>
                  <a:lnTo>
                    <a:pt x="113" y="61"/>
                  </a:lnTo>
                  <a:lnTo>
                    <a:pt x="103" y="61"/>
                  </a:lnTo>
                  <a:lnTo>
                    <a:pt x="93" y="60"/>
                  </a:lnTo>
                  <a:lnTo>
                    <a:pt x="83" y="59"/>
                  </a:lnTo>
                  <a:lnTo>
                    <a:pt x="74" y="58"/>
                  </a:lnTo>
                  <a:lnTo>
                    <a:pt x="64" y="55"/>
                  </a:lnTo>
                  <a:lnTo>
                    <a:pt x="54" y="53"/>
                  </a:lnTo>
                  <a:lnTo>
                    <a:pt x="45" y="49"/>
                  </a:lnTo>
                  <a:lnTo>
                    <a:pt x="36" y="46"/>
                  </a:lnTo>
                  <a:lnTo>
                    <a:pt x="27" y="41"/>
                  </a:lnTo>
                  <a:lnTo>
                    <a:pt x="18" y="36"/>
                  </a:lnTo>
                  <a:lnTo>
                    <a:pt x="9" y="31"/>
                  </a:lnTo>
                  <a:lnTo>
                    <a:pt x="1" y="25"/>
                  </a:lnTo>
                  <a:lnTo>
                    <a:pt x="0" y="23"/>
                  </a:lnTo>
                  <a:lnTo>
                    <a:pt x="0" y="21"/>
                  </a:lnTo>
                  <a:lnTo>
                    <a:pt x="1" y="19"/>
                  </a:lnTo>
                  <a:lnTo>
                    <a:pt x="2" y="18"/>
                  </a:lnTo>
                  <a:lnTo>
                    <a:pt x="15" y="14"/>
                  </a:lnTo>
                  <a:lnTo>
                    <a:pt x="28" y="11"/>
                  </a:lnTo>
                  <a:lnTo>
                    <a:pt x="41" y="8"/>
                  </a:lnTo>
                  <a:lnTo>
                    <a:pt x="55" y="7"/>
                  </a:lnTo>
                  <a:lnTo>
                    <a:pt x="62" y="7"/>
                  </a:lnTo>
                  <a:lnTo>
                    <a:pt x="68" y="8"/>
                  </a:lnTo>
                  <a:lnTo>
                    <a:pt x="75" y="8"/>
                  </a:lnTo>
                  <a:lnTo>
                    <a:pt x="82" y="9"/>
                  </a:lnTo>
                  <a:lnTo>
                    <a:pt x="88" y="10"/>
                  </a:lnTo>
                  <a:lnTo>
                    <a:pt x="95" y="12"/>
                  </a:lnTo>
                  <a:lnTo>
                    <a:pt x="101" y="14"/>
                  </a:lnTo>
                  <a:lnTo>
                    <a:pt x="107" y="16"/>
                  </a:lnTo>
                  <a:lnTo>
                    <a:pt x="114" y="19"/>
                  </a:lnTo>
                  <a:lnTo>
                    <a:pt x="121" y="21"/>
                  </a:lnTo>
                  <a:lnTo>
                    <a:pt x="132" y="28"/>
                  </a:lnTo>
                  <a:lnTo>
                    <a:pt x="137" y="31"/>
                  </a:lnTo>
                  <a:lnTo>
                    <a:pt x="143" y="35"/>
                  </a:lnTo>
                  <a:lnTo>
                    <a:pt x="148" y="40"/>
                  </a:lnTo>
                  <a:lnTo>
                    <a:pt x="153" y="45"/>
                  </a:lnTo>
                  <a:lnTo>
                    <a:pt x="192" y="54"/>
                  </a:lnTo>
                  <a:lnTo>
                    <a:pt x="232" y="62"/>
                  </a:lnTo>
                  <a:lnTo>
                    <a:pt x="267" y="70"/>
                  </a:lnTo>
                  <a:lnTo>
                    <a:pt x="284" y="74"/>
                  </a:lnTo>
                  <a:lnTo>
                    <a:pt x="302" y="78"/>
                  </a:lnTo>
                  <a:lnTo>
                    <a:pt x="321" y="83"/>
                  </a:lnTo>
                  <a:lnTo>
                    <a:pt x="341" y="90"/>
                  </a:lnTo>
                  <a:lnTo>
                    <a:pt x="366" y="98"/>
                  </a:lnTo>
                  <a:lnTo>
                    <a:pt x="390" y="107"/>
                  </a:lnTo>
                  <a:lnTo>
                    <a:pt x="413" y="116"/>
                  </a:lnTo>
                  <a:lnTo>
                    <a:pt x="435" y="126"/>
                  </a:lnTo>
                  <a:lnTo>
                    <a:pt x="457" y="136"/>
                  </a:lnTo>
                  <a:lnTo>
                    <a:pt x="479" y="148"/>
                  </a:lnTo>
                  <a:lnTo>
                    <a:pt x="501" y="160"/>
                  </a:lnTo>
                  <a:lnTo>
                    <a:pt x="523" y="173"/>
                  </a:lnTo>
                  <a:lnTo>
                    <a:pt x="526" y="171"/>
                  </a:lnTo>
                  <a:lnTo>
                    <a:pt x="619" y="2"/>
                  </a:lnTo>
                  <a:lnTo>
                    <a:pt x="620" y="1"/>
                  </a:lnTo>
                  <a:lnTo>
                    <a:pt x="622" y="0"/>
                  </a:lnTo>
                  <a:lnTo>
                    <a:pt x="623" y="0"/>
                  </a:lnTo>
                  <a:lnTo>
                    <a:pt x="625" y="0"/>
                  </a:lnTo>
                  <a:lnTo>
                    <a:pt x="626" y="1"/>
                  </a:lnTo>
                  <a:lnTo>
                    <a:pt x="627" y="3"/>
                  </a:lnTo>
                  <a:lnTo>
                    <a:pt x="628" y="5"/>
                  </a:lnTo>
                  <a:lnTo>
                    <a:pt x="627" y="7"/>
                  </a:lnTo>
                  <a:lnTo>
                    <a:pt x="547" y="151"/>
                  </a:lnTo>
                  <a:lnTo>
                    <a:pt x="562" y="137"/>
                  </a:lnTo>
                  <a:lnTo>
                    <a:pt x="575" y="121"/>
                  </a:lnTo>
                  <a:lnTo>
                    <a:pt x="588" y="106"/>
                  </a:lnTo>
                  <a:lnTo>
                    <a:pt x="599" y="89"/>
                  </a:lnTo>
                  <a:lnTo>
                    <a:pt x="610" y="72"/>
                  </a:lnTo>
                  <a:lnTo>
                    <a:pt x="621" y="55"/>
                  </a:lnTo>
                  <a:lnTo>
                    <a:pt x="630" y="37"/>
                  </a:lnTo>
                  <a:lnTo>
                    <a:pt x="634" y="28"/>
                  </a:lnTo>
                  <a:lnTo>
                    <a:pt x="638" y="19"/>
                  </a:lnTo>
                  <a:lnTo>
                    <a:pt x="639" y="17"/>
                  </a:lnTo>
                  <a:lnTo>
                    <a:pt x="641" y="16"/>
                  </a:lnTo>
                  <a:lnTo>
                    <a:pt x="643" y="16"/>
                  </a:lnTo>
                  <a:lnTo>
                    <a:pt x="644" y="16"/>
                  </a:lnTo>
                  <a:lnTo>
                    <a:pt x="646" y="17"/>
                  </a:lnTo>
                  <a:lnTo>
                    <a:pt x="647" y="18"/>
                  </a:lnTo>
                  <a:lnTo>
                    <a:pt x="647" y="20"/>
                  </a:lnTo>
                  <a:lnTo>
                    <a:pt x="647" y="21"/>
                  </a:lnTo>
                  <a:lnTo>
                    <a:pt x="647" y="22"/>
                  </a:lnTo>
                  <a:lnTo>
                    <a:pt x="641" y="35"/>
                  </a:lnTo>
                  <a:lnTo>
                    <a:pt x="635" y="47"/>
                  </a:lnTo>
                  <a:lnTo>
                    <a:pt x="629" y="59"/>
                  </a:lnTo>
                  <a:lnTo>
                    <a:pt x="622" y="71"/>
                  </a:lnTo>
                  <a:lnTo>
                    <a:pt x="607" y="95"/>
                  </a:lnTo>
                  <a:lnTo>
                    <a:pt x="591" y="117"/>
                  </a:lnTo>
                  <a:lnTo>
                    <a:pt x="678" y="40"/>
                  </a:lnTo>
                  <a:lnTo>
                    <a:pt x="680" y="39"/>
                  </a:lnTo>
                  <a:lnTo>
                    <a:pt x="682" y="39"/>
                  </a:lnTo>
                  <a:lnTo>
                    <a:pt x="684" y="39"/>
                  </a:lnTo>
                  <a:lnTo>
                    <a:pt x="685" y="40"/>
                  </a:lnTo>
                  <a:lnTo>
                    <a:pt x="686" y="42"/>
                  </a:lnTo>
                  <a:lnTo>
                    <a:pt x="686" y="44"/>
                  </a:lnTo>
                  <a:lnTo>
                    <a:pt x="686" y="46"/>
                  </a:lnTo>
                  <a:lnTo>
                    <a:pt x="685" y="47"/>
                  </a:lnTo>
                  <a:lnTo>
                    <a:pt x="552" y="164"/>
                  </a:lnTo>
                  <a:lnTo>
                    <a:pt x="563" y="159"/>
                  </a:lnTo>
                  <a:lnTo>
                    <a:pt x="575" y="153"/>
                  </a:lnTo>
                  <a:lnTo>
                    <a:pt x="597" y="142"/>
                  </a:lnTo>
                  <a:lnTo>
                    <a:pt x="618" y="129"/>
                  </a:lnTo>
                  <a:lnTo>
                    <a:pt x="629" y="123"/>
                  </a:lnTo>
                  <a:lnTo>
                    <a:pt x="639" y="116"/>
                  </a:lnTo>
                  <a:lnTo>
                    <a:pt x="659" y="101"/>
                  </a:lnTo>
                  <a:lnTo>
                    <a:pt x="678" y="85"/>
                  </a:lnTo>
                  <a:lnTo>
                    <a:pt x="687" y="76"/>
                  </a:lnTo>
                  <a:lnTo>
                    <a:pt x="696" y="68"/>
                  </a:lnTo>
                  <a:lnTo>
                    <a:pt x="705" y="58"/>
                  </a:lnTo>
                  <a:lnTo>
                    <a:pt x="714" y="49"/>
                  </a:lnTo>
                  <a:lnTo>
                    <a:pt x="716" y="47"/>
                  </a:lnTo>
                  <a:lnTo>
                    <a:pt x="717" y="47"/>
                  </a:lnTo>
                  <a:lnTo>
                    <a:pt x="719" y="47"/>
                  </a:lnTo>
                  <a:lnTo>
                    <a:pt x="721" y="48"/>
                  </a:lnTo>
                  <a:lnTo>
                    <a:pt x="722" y="50"/>
                  </a:lnTo>
                  <a:lnTo>
                    <a:pt x="722" y="51"/>
                  </a:lnTo>
                  <a:lnTo>
                    <a:pt x="722" y="53"/>
                  </a:lnTo>
                  <a:lnTo>
                    <a:pt x="721" y="55"/>
                  </a:lnTo>
                  <a:lnTo>
                    <a:pt x="706" y="71"/>
                  </a:lnTo>
                  <a:lnTo>
                    <a:pt x="691" y="86"/>
                  </a:lnTo>
                  <a:lnTo>
                    <a:pt x="675" y="100"/>
                  </a:lnTo>
                  <a:lnTo>
                    <a:pt x="659" y="113"/>
                  </a:lnTo>
                  <a:lnTo>
                    <a:pt x="642" y="125"/>
                  </a:lnTo>
                  <a:lnTo>
                    <a:pt x="624" y="137"/>
                  </a:lnTo>
                  <a:lnTo>
                    <a:pt x="606" y="147"/>
                  </a:lnTo>
                  <a:lnTo>
                    <a:pt x="588" y="157"/>
                  </a:lnTo>
                  <a:lnTo>
                    <a:pt x="661" y="136"/>
                  </a:lnTo>
                  <a:lnTo>
                    <a:pt x="669" y="127"/>
                  </a:lnTo>
                  <a:lnTo>
                    <a:pt x="677" y="116"/>
                  </a:lnTo>
                  <a:lnTo>
                    <a:pt x="679" y="114"/>
                  </a:lnTo>
                  <a:lnTo>
                    <a:pt x="680" y="114"/>
                  </a:lnTo>
                  <a:lnTo>
                    <a:pt x="682" y="114"/>
                  </a:lnTo>
                  <a:lnTo>
                    <a:pt x="684" y="115"/>
                  </a:lnTo>
                  <a:lnTo>
                    <a:pt x="685" y="116"/>
                  </a:lnTo>
                  <a:lnTo>
                    <a:pt x="686" y="118"/>
                  </a:lnTo>
                  <a:lnTo>
                    <a:pt x="686" y="120"/>
                  </a:lnTo>
                  <a:lnTo>
                    <a:pt x="685" y="121"/>
                  </a:lnTo>
                  <a:lnTo>
                    <a:pt x="678" y="130"/>
                  </a:lnTo>
                  <a:lnTo>
                    <a:pt x="730" y="115"/>
                  </a:lnTo>
                  <a:lnTo>
                    <a:pt x="732" y="115"/>
                  </a:lnTo>
                  <a:lnTo>
                    <a:pt x="734" y="115"/>
                  </a:lnTo>
                  <a:lnTo>
                    <a:pt x="735" y="117"/>
                  </a:lnTo>
                  <a:lnTo>
                    <a:pt x="736" y="118"/>
                  </a:lnTo>
                  <a:lnTo>
                    <a:pt x="736" y="120"/>
                  </a:lnTo>
                  <a:lnTo>
                    <a:pt x="736" y="122"/>
                  </a:lnTo>
                  <a:lnTo>
                    <a:pt x="735" y="123"/>
                  </a:lnTo>
                  <a:lnTo>
                    <a:pt x="733" y="124"/>
                  </a:lnTo>
                  <a:lnTo>
                    <a:pt x="665" y="144"/>
                  </a:lnTo>
                  <a:lnTo>
                    <a:pt x="657" y="152"/>
                  </a:lnTo>
                  <a:lnTo>
                    <a:pt x="652" y="155"/>
                  </a:lnTo>
                  <a:lnTo>
                    <a:pt x="648" y="159"/>
                  </a:lnTo>
                  <a:lnTo>
                    <a:pt x="639" y="165"/>
                  </a:lnTo>
                  <a:lnTo>
                    <a:pt x="629" y="170"/>
                  </a:lnTo>
                  <a:lnTo>
                    <a:pt x="619" y="175"/>
                  </a:lnTo>
                  <a:lnTo>
                    <a:pt x="609" y="179"/>
                  </a:lnTo>
                  <a:lnTo>
                    <a:pt x="598" y="183"/>
                  </a:lnTo>
                  <a:lnTo>
                    <a:pt x="587" y="185"/>
                  </a:lnTo>
                  <a:lnTo>
                    <a:pt x="578" y="187"/>
                  </a:lnTo>
                  <a:lnTo>
                    <a:pt x="569" y="188"/>
                  </a:lnTo>
                  <a:lnTo>
                    <a:pt x="561" y="189"/>
                  </a:lnTo>
                  <a:lnTo>
                    <a:pt x="553" y="189"/>
                  </a:lnTo>
                  <a:lnTo>
                    <a:pt x="708" y="267"/>
                  </a:lnTo>
                  <a:lnTo>
                    <a:pt x="709" y="268"/>
                  </a:lnTo>
                  <a:lnTo>
                    <a:pt x="710" y="269"/>
                  </a:lnTo>
                  <a:lnTo>
                    <a:pt x="710" y="270"/>
                  </a:lnTo>
                  <a:lnTo>
                    <a:pt x="710" y="272"/>
                  </a:lnTo>
                  <a:lnTo>
                    <a:pt x="710" y="273"/>
                  </a:lnTo>
                  <a:lnTo>
                    <a:pt x="709" y="275"/>
                  </a:lnTo>
                  <a:lnTo>
                    <a:pt x="707" y="276"/>
                  </a:lnTo>
                  <a:lnTo>
                    <a:pt x="705" y="276"/>
                  </a:lnTo>
                  <a:lnTo>
                    <a:pt x="703" y="275"/>
                  </a:lnTo>
                  <a:lnTo>
                    <a:pt x="538" y="192"/>
                  </a:lnTo>
                  <a:lnTo>
                    <a:pt x="547" y="202"/>
                  </a:lnTo>
                  <a:lnTo>
                    <a:pt x="555" y="213"/>
                  </a:lnTo>
                  <a:lnTo>
                    <a:pt x="564" y="223"/>
                  </a:lnTo>
                  <a:lnTo>
                    <a:pt x="573" y="233"/>
                  </a:lnTo>
                  <a:lnTo>
                    <a:pt x="583" y="242"/>
                  </a:lnTo>
                  <a:lnTo>
                    <a:pt x="592" y="251"/>
                  </a:lnTo>
                  <a:lnTo>
                    <a:pt x="602" y="260"/>
                  </a:lnTo>
                  <a:lnTo>
                    <a:pt x="612" y="269"/>
                  </a:lnTo>
                  <a:lnTo>
                    <a:pt x="623" y="277"/>
                  </a:lnTo>
                  <a:lnTo>
                    <a:pt x="634" y="285"/>
                  </a:lnTo>
                  <a:lnTo>
                    <a:pt x="645" y="292"/>
                  </a:lnTo>
                  <a:lnTo>
                    <a:pt x="656" y="299"/>
                  </a:lnTo>
                  <a:lnTo>
                    <a:pt x="668" y="306"/>
                  </a:lnTo>
                  <a:lnTo>
                    <a:pt x="680" y="312"/>
                  </a:lnTo>
                  <a:lnTo>
                    <a:pt x="692" y="318"/>
                  </a:lnTo>
                  <a:lnTo>
                    <a:pt x="705" y="324"/>
                  </a:lnTo>
                  <a:lnTo>
                    <a:pt x="706" y="325"/>
                  </a:lnTo>
                  <a:lnTo>
                    <a:pt x="707" y="327"/>
                  </a:lnTo>
                  <a:lnTo>
                    <a:pt x="708" y="328"/>
                  </a:lnTo>
                  <a:lnTo>
                    <a:pt x="707" y="330"/>
                  </a:lnTo>
                  <a:lnTo>
                    <a:pt x="706" y="332"/>
                  </a:lnTo>
                  <a:lnTo>
                    <a:pt x="705" y="333"/>
                  </a:lnTo>
                  <a:lnTo>
                    <a:pt x="703" y="333"/>
                  </a:lnTo>
                  <a:lnTo>
                    <a:pt x="702" y="333"/>
                  </a:lnTo>
                  <a:lnTo>
                    <a:pt x="701" y="333"/>
                  </a:lnTo>
                  <a:lnTo>
                    <a:pt x="689" y="327"/>
                  </a:lnTo>
                  <a:lnTo>
                    <a:pt x="676" y="321"/>
                  </a:lnTo>
                  <a:lnTo>
                    <a:pt x="665" y="315"/>
                  </a:lnTo>
                  <a:lnTo>
                    <a:pt x="653" y="308"/>
                  </a:lnTo>
                  <a:lnTo>
                    <a:pt x="642" y="302"/>
                  </a:lnTo>
                  <a:lnTo>
                    <a:pt x="631" y="294"/>
                  </a:lnTo>
                  <a:lnTo>
                    <a:pt x="609" y="279"/>
                  </a:lnTo>
                  <a:lnTo>
                    <a:pt x="599" y="270"/>
                  </a:lnTo>
                  <a:lnTo>
                    <a:pt x="589" y="262"/>
                  </a:lnTo>
                  <a:lnTo>
                    <a:pt x="580" y="253"/>
                  </a:lnTo>
                  <a:lnTo>
                    <a:pt x="570" y="243"/>
                  </a:lnTo>
                  <a:lnTo>
                    <a:pt x="561" y="234"/>
                  </a:lnTo>
                  <a:lnTo>
                    <a:pt x="552" y="224"/>
                  </a:lnTo>
                  <a:lnTo>
                    <a:pt x="535" y="203"/>
                  </a:lnTo>
                  <a:lnTo>
                    <a:pt x="543" y="230"/>
                  </a:lnTo>
                  <a:lnTo>
                    <a:pt x="551" y="256"/>
                  </a:lnTo>
                  <a:lnTo>
                    <a:pt x="556" y="269"/>
                  </a:lnTo>
                  <a:lnTo>
                    <a:pt x="561" y="281"/>
                  </a:lnTo>
                  <a:lnTo>
                    <a:pt x="566" y="293"/>
                  </a:lnTo>
                  <a:lnTo>
                    <a:pt x="572" y="306"/>
                  </a:lnTo>
                  <a:lnTo>
                    <a:pt x="578" y="318"/>
                  </a:lnTo>
                  <a:lnTo>
                    <a:pt x="584" y="330"/>
                  </a:lnTo>
                  <a:lnTo>
                    <a:pt x="591" y="341"/>
                  </a:lnTo>
                  <a:lnTo>
                    <a:pt x="598" y="353"/>
                  </a:lnTo>
                  <a:lnTo>
                    <a:pt x="606" y="364"/>
                  </a:lnTo>
                  <a:lnTo>
                    <a:pt x="614" y="376"/>
                  </a:lnTo>
                  <a:lnTo>
                    <a:pt x="631" y="398"/>
                  </a:lnTo>
                  <a:lnTo>
                    <a:pt x="632" y="400"/>
                  </a:lnTo>
                  <a:lnTo>
                    <a:pt x="632" y="402"/>
                  </a:lnTo>
                  <a:lnTo>
                    <a:pt x="632" y="403"/>
                  </a:lnTo>
                  <a:lnTo>
                    <a:pt x="630" y="405"/>
                  </a:lnTo>
                  <a:lnTo>
                    <a:pt x="629" y="405"/>
                  </a:lnTo>
                  <a:lnTo>
                    <a:pt x="627" y="406"/>
                  </a:lnTo>
                  <a:lnTo>
                    <a:pt x="625" y="405"/>
                  </a:lnTo>
                  <a:lnTo>
                    <a:pt x="624" y="404"/>
                  </a:lnTo>
                  <a:lnTo>
                    <a:pt x="609" y="385"/>
                  </a:lnTo>
                  <a:lnTo>
                    <a:pt x="595" y="365"/>
                  </a:lnTo>
                  <a:lnTo>
                    <a:pt x="588" y="355"/>
                  </a:lnTo>
                  <a:lnTo>
                    <a:pt x="582" y="345"/>
                  </a:lnTo>
                  <a:lnTo>
                    <a:pt x="571" y="325"/>
                  </a:lnTo>
                  <a:lnTo>
                    <a:pt x="561" y="304"/>
                  </a:lnTo>
                  <a:lnTo>
                    <a:pt x="551" y="283"/>
                  </a:lnTo>
                  <a:lnTo>
                    <a:pt x="543" y="261"/>
                  </a:lnTo>
                  <a:lnTo>
                    <a:pt x="539" y="250"/>
                  </a:lnTo>
                  <a:lnTo>
                    <a:pt x="535" y="239"/>
                  </a:lnTo>
                  <a:lnTo>
                    <a:pt x="541" y="262"/>
                  </a:lnTo>
                  <a:lnTo>
                    <a:pt x="543" y="273"/>
                  </a:lnTo>
                  <a:lnTo>
                    <a:pt x="547" y="284"/>
                  </a:lnTo>
                  <a:lnTo>
                    <a:pt x="554" y="307"/>
                  </a:lnTo>
                  <a:lnTo>
                    <a:pt x="558" y="317"/>
                  </a:lnTo>
                  <a:lnTo>
                    <a:pt x="562" y="328"/>
                  </a:lnTo>
                  <a:lnTo>
                    <a:pt x="572" y="350"/>
                  </a:lnTo>
                  <a:lnTo>
                    <a:pt x="583" y="370"/>
                  </a:lnTo>
                  <a:lnTo>
                    <a:pt x="595" y="391"/>
                  </a:lnTo>
                  <a:lnTo>
                    <a:pt x="608" y="410"/>
                  </a:lnTo>
                  <a:lnTo>
                    <a:pt x="609" y="412"/>
                  </a:lnTo>
                  <a:lnTo>
                    <a:pt x="609" y="414"/>
                  </a:lnTo>
                  <a:lnTo>
                    <a:pt x="608" y="416"/>
                  </a:lnTo>
                  <a:lnTo>
                    <a:pt x="607" y="417"/>
                  </a:lnTo>
                  <a:lnTo>
                    <a:pt x="605" y="418"/>
                  </a:lnTo>
                  <a:lnTo>
                    <a:pt x="603" y="418"/>
                  </a:lnTo>
                  <a:lnTo>
                    <a:pt x="602" y="417"/>
                  </a:lnTo>
                  <a:lnTo>
                    <a:pt x="600" y="416"/>
                  </a:lnTo>
                  <a:lnTo>
                    <a:pt x="587" y="396"/>
                  </a:lnTo>
                  <a:lnTo>
                    <a:pt x="581" y="386"/>
                  </a:lnTo>
                  <a:lnTo>
                    <a:pt x="575" y="376"/>
                  </a:lnTo>
                  <a:lnTo>
                    <a:pt x="564" y="355"/>
                  </a:lnTo>
                  <a:lnTo>
                    <a:pt x="555" y="334"/>
                  </a:lnTo>
                  <a:lnTo>
                    <a:pt x="546" y="313"/>
                  </a:lnTo>
                  <a:lnTo>
                    <a:pt x="539" y="291"/>
                  </a:lnTo>
                  <a:lnTo>
                    <a:pt x="535" y="279"/>
                  </a:lnTo>
                  <a:lnTo>
                    <a:pt x="532" y="268"/>
                  </a:lnTo>
                  <a:lnTo>
                    <a:pt x="530" y="257"/>
                  </a:lnTo>
                  <a:lnTo>
                    <a:pt x="527" y="245"/>
                  </a:lnTo>
                  <a:lnTo>
                    <a:pt x="528" y="270"/>
                  </a:lnTo>
                  <a:lnTo>
                    <a:pt x="530" y="295"/>
                  </a:lnTo>
                  <a:lnTo>
                    <a:pt x="534" y="320"/>
                  </a:lnTo>
                  <a:lnTo>
                    <a:pt x="536" y="333"/>
                  </a:lnTo>
                  <a:lnTo>
                    <a:pt x="539" y="345"/>
                  </a:lnTo>
                  <a:lnTo>
                    <a:pt x="542" y="356"/>
                  </a:lnTo>
                  <a:lnTo>
                    <a:pt x="543" y="367"/>
                  </a:lnTo>
                  <a:lnTo>
                    <a:pt x="543" y="378"/>
                  </a:lnTo>
                  <a:lnTo>
                    <a:pt x="542" y="389"/>
                  </a:lnTo>
                  <a:lnTo>
                    <a:pt x="540" y="399"/>
                  </a:lnTo>
                  <a:lnTo>
                    <a:pt x="537" y="410"/>
                  </a:lnTo>
                  <a:lnTo>
                    <a:pt x="533" y="420"/>
                  </a:lnTo>
                  <a:lnTo>
                    <a:pt x="528" y="430"/>
                  </a:lnTo>
                  <a:lnTo>
                    <a:pt x="527" y="432"/>
                  </a:lnTo>
                  <a:lnTo>
                    <a:pt x="525" y="433"/>
                  </a:lnTo>
                  <a:lnTo>
                    <a:pt x="524" y="433"/>
                  </a:lnTo>
                  <a:lnTo>
                    <a:pt x="522" y="432"/>
                  </a:lnTo>
                  <a:lnTo>
                    <a:pt x="521" y="431"/>
                  </a:lnTo>
                  <a:lnTo>
                    <a:pt x="520" y="430"/>
                  </a:lnTo>
                  <a:lnTo>
                    <a:pt x="519" y="428"/>
                  </a:lnTo>
                  <a:lnTo>
                    <a:pt x="520" y="426"/>
                  </a:lnTo>
                  <a:lnTo>
                    <a:pt x="524" y="416"/>
                  </a:lnTo>
                  <a:lnTo>
                    <a:pt x="528" y="407"/>
                  </a:lnTo>
                  <a:lnTo>
                    <a:pt x="531" y="397"/>
                  </a:lnTo>
                  <a:lnTo>
                    <a:pt x="532" y="392"/>
                  </a:lnTo>
                  <a:lnTo>
                    <a:pt x="533" y="388"/>
                  </a:lnTo>
                  <a:lnTo>
                    <a:pt x="534" y="378"/>
                  </a:lnTo>
                  <a:lnTo>
                    <a:pt x="533" y="368"/>
                  </a:lnTo>
                  <a:lnTo>
                    <a:pt x="533" y="363"/>
                  </a:lnTo>
                  <a:lnTo>
                    <a:pt x="532" y="358"/>
                  </a:lnTo>
                  <a:lnTo>
                    <a:pt x="530" y="348"/>
                  </a:lnTo>
                  <a:lnTo>
                    <a:pt x="527" y="336"/>
                  </a:lnTo>
                  <a:lnTo>
                    <a:pt x="525" y="325"/>
                  </a:lnTo>
                  <a:lnTo>
                    <a:pt x="523" y="314"/>
                  </a:lnTo>
                  <a:lnTo>
                    <a:pt x="521" y="303"/>
                  </a:lnTo>
                  <a:lnTo>
                    <a:pt x="519" y="281"/>
                  </a:lnTo>
                  <a:lnTo>
                    <a:pt x="518" y="259"/>
                  </a:lnTo>
                  <a:lnTo>
                    <a:pt x="491" y="419"/>
                  </a:lnTo>
                  <a:lnTo>
                    <a:pt x="490" y="421"/>
                  </a:lnTo>
                  <a:lnTo>
                    <a:pt x="489" y="422"/>
                  </a:lnTo>
                  <a:lnTo>
                    <a:pt x="487" y="423"/>
                  </a:lnTo>
                  <a:lnTo>
                    <a:pt x="486" y="423"/>
                  </a:lnTo>
                  <a:lnTo>
                    <a:pt x="484" y="422"/>
                  </a:lnTo>
                  <a:lnTo>
                    <a:pt x="483" y="421"/>
                  </a:lnTo>
                  <a:lnTo>
                    <a:pt x="482" y="420"/>
                  </a:lnTo>
                  <a:lnTo>
                    <a:pt x="482" y="419"/>
                  </a:lnTo>
                  <a:lnTo>
                    <a:pt x="482" y="417"/>
                  </a:lnTo>
                  <a:lnTo>
                    <a:pt x="503" y="291"/>
                  </a:lnTo>
                  <a:lnTo>
                    <a:pt x="476" y="397"/>
                  </a:lnTo>
                  <a:lnTo>
                    <a:pt x="475" y="399"/>
                  </a:lnTo>
                  <a:lnTo>
                    <a:pt x="473" y="400"/>
                  </a:lnTo>
                  <a:lnTo>
                    <a:pt x="472" y="401"/>
                  </a:lnTo>
                  <a:lnTo>
                    <a:pt x="470" y="400"/>
                  </a:lnTo>
                  <a:lnTo>
                    <a:pt x="468" y="400"/>
                  </a:lnTo>
                  <a:lnTo>
                    <a:pt x="467" y="398"/>
                  </a:lnTo>
                  <a:lnTo>
                    <a:pt x="466" y="397"/>
                  </a:lnTo>
                  <a:lnTo>
                    <a:pt x="466" y="395"/>
                  </a:lnTo>
                  <a:lnTo>
                    <a:pt x="514" y="210"/>
                  </a:lnTo>
                  <a:lnTo>
                    <a:pt x="433" y="346"/>
                  </a:lnTo>
                  <a:lnTo>
                    <a:pt x="432" y="347"/>
                  </a:lnTo>
                  <a:lnTo>
                    <a:pt x="430" y="348"/>
                  </a:lnTo>
                  <a:lnTo>
                    <a:pt x="429" y="348"/>
                  </a:lnTo>
                  <a:lnTo>
                    <a:pt x="427" y="348"/>
                  </a:lnTo>
                  <a:lnTo>
                    <a:pt x="426" y="346"/>
                  </a:lnTo>
                  <a:lnTo>
                    <a:pt x="425" y="345"/>
                  </a:lnTo>
                  <a:lnTo>
                    <a:pt x="425" y="343"/>
                  </a:lnTo>
                  <a:lnTo>
                    <a:pt x="425" y="341"/>
                  </a:lnTo>
                  <a:lnTo>
                    <a:pt x="502" y="211"/>
                  </a:lnTo>
                  <a:lnTo>
                    <a:pt x="433" y="274"/>
                  </a:lnTo>
                  <a:lnTo>
                    <a:pt x="431" y="276"/>
                  </a:lnTo>
                  <a:lnTo>
                    <a:pt x="430" y="276"/>
                  </a:lnTo>
                  <a:lnTo>
                    <a:pt x="428" y="275"/>
                  </a:lnTo>
                  <a:lnTo>
                    <a:pt x="426" y="274"/>
                  </a:lnTo>
                  <a:lnTo>
                    <a:pt x="426" y="273"/>
                  </a:lnTo>
                  <a:lnTo>
                    <a:pt x="425" y="271"/>
                  </a:lnTo>
                  <a:lnTo>
                    <a:pt x="425" y="269"/>
                  </a:lnTo>
                  <a:lnTo>
                    <a:pt x="427" y="267"/>
                  </a:lnTo>
                  <a:lnTo>
                    <a:pt x="476" y="222"/>
                  </a:lnTo>
                  <a:lnTo>
                    <a:pt x="419" y="261"/>
                  </a:lnTo>
                  <a:lnTo>
                    <a:pt x="418" y="262"/>
                  </a:lnTo>
                  <a:lnTo>
                    <a:pt x="416" y="262"/>
                  </a:lnTo>
                  <a:lnTo>
                    <a:pt x="414" y="261"/>
                  </a:lnTo>
                  <a:lnTo>
                    <a:pt x="413" y="260"/>
                  </a:lnTo>
                  <a:lnTo>
                    <a:pt x="412" y="258"/>
                  </a:lnTo>
                  <a:lnTo>
                    <a:pt x="412" y="257"/>
                  </a:lnTo>
                  <a:lnTo>
                    <a:pt x="413" y="255"/>
                  </a:lnTo>
                  <a:lnTo>
                    <a:pt x="414" y="253"/>
                  </a:lnTo>
                  <a:lnTo>
                    <a:pt x="518"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Freeform 1953"/>
            <p:cNvSpPr>
              <a:spLocks noEditPoints="1"/>
            </p:cNvSpPr>
            <p:nvPr userDrawn="1"/>
          </p:nvSpPr>
          <p:spPr bwMode="auto">
            <a:xfrm>
              <a:off x="4569547" y="4419178"/>
              <a:ext cx="1146175" cy="752475"/>
            </a:xfrm>
            <a:custGeom>
              <a:avLst/>
              <a:gdLst>
                <a:gd name="T0" fmla="*/ 133 w 722"/>
                <a:gd name="T1" fmla="*/ 255 h 474"/>
                <a:gd name="T2" fmla="*/ 642 w 722"/>
                <a:gd name="T3" fmla="*/ 448 h 474"/>
                <a:gd name="T4" fmla="*/ 637 w 722"/>
                <a:gd name="T5" fmla="*/ 458 h 474"/>
                <a:gd name="T6" fmla="*/ 595 w 722"/>
                <a:gd name="T7" fmla="*/ 423 h 474"/>
                <a:gd name="T8" fmla="*/ 655 w 722"/>
                <a:gd name="T9" fmla="*/ 432 h 474"/>
                <a:gd name="T10" fmla="*/ 243 w 722"/>
                <a:gd name="T11" fmla="*/ 267 h 474"/>
                <a:gd name="T12" fmla="*/ 394 w 722"/>
                <a:gd name="T13" fmla="*/ 353 h 474"/>
                <a:gd name="T14" fmla="*/ 573 w 722"/>
                <a:gd name="T15" fmla="*/ 416 h 474"/>
                <a:gd name="T16" fmla="*/ 643 w 722"/>
                <a:gd name="T17" fmla="*/ 419 h 474"/>
                <a:gd name="T18" fmla="*/ 706 w 722"/>
                <a:gd name="T19" fmla="*/ 448 h 474"/>
                <a:gd name="T20" fmla="*/ 706 w 722"/>
                <a:gd name="T21" fmla="*/ 471 h 474"/>
                <a:gd name="T22" fmla="*/ 627 w 722"/>
                <a:gd name="T23" fmla="*/ 465 h 474"/>
                <a:gd name="T24" fmla="*/ 577 w 722"/>
                <a:gd name="T25" fmla="*/ 431 h 474"/>
                <a:gd name="T26" fmla="*/ 409 w 722"/>
                <a:gd name="T27" fmla="*/ 370 h 474"/>
                <a:gd name="T28" fmla="*/ 258 w 722"/>
                <a:gd name="T29" fmla="*/ 290 h 474"/>
                <a:gd name="T30" fmla="*/ 100 w 722"/>
                <a:gd name="T31" fmla="*/ 422 h 474"/>
                <a:gd name="T32" fmla="*/ 175 w 722"/>
                <a:gd name="T33" fmla="*/ 292 h 474"/>
                <a:gd name="T34" fmla="*/ 87 w 722"/>
                <a:gd name="T35" fmla="*/ 401 h 474"/>
                <a:gd name="T36" fmla="*/ 78 w 722"/>
                <a:gd name="T37" fmla="*/ 399 h 474"/>
                <a:gd name="T38" fmla="*/ 126 w 722"/>
                <a:gd name="T39" fmla="*/ 329 h 474"/>
                <a:gd name="T40" fmla="*/ 42 w 722"/>
                <a:gd name="T41" fmla="*/ 375 h 474"/>
                <a:gd name="T42" fmla="*/ 141 w 722"/>
                <a:gd name="T43" fmla="*/ 283 h 474"/>
                <a:gd name="T44" fmla="*/ 64 w 722"/>
                <a:gd name="T45" fmla="*/ 324 h 474"/>
                <a:gd name="T46" fmla="*/ 11 w 722"/>
                <a:gd name="T47" fmla="*/ 365 h 474"/>
                <a:gd name="T48" fmla="*/ 24 w 722"/>
                <a:gd name="T49" fmla="*/ 342 h 474"/>
                <a:gd name="T50" fmla="*/ 151 w 722"/>
                <a:gd name="T51" fmla="*/ 269 h 474"/>
                <a:gd name="T52" fmla="*/ 51 w 722"/>
                <a:gd name="T53" fmla="*/ 301 h 474"/>
                <a:gd name="T54" fmla="*/ 3 w 722"/>
                <a:gd name="T55" fmla="*/ 296 h 474"/>
                <a:gd name="T56" fmla="*/ 4 w 722"/>
                <a:gd name="T57" fmla="*/ 287 h 474"/>
                <a:gd name="T58" fmla="*/ 133 w 722"/>
                <a:gd name="T59" fmla="*/ 245 h 474"/>
                <a:gd name="T60" fmla="*/ 43 w 722"/>
                <a:gd name="T61" fmla="*/ 146 h 474"/>
                <a:gd name="T62" fmla="*/ 46 w 722"/>
                <a:gd name="T63" fmla="*/ 137 h 474"/>
                <a:gd name="T64" fmla="*/ 166 w 722"/>
                <a:gd name="T65" fmla="*/ 185 h 474"/>
                <a:gd name="T66" fmla="*/ 98 w 722"/>
                <a:gd name="T67" fmla="*/ 119 h 474"/>
                <a:gd name="T68" fmla="*/ 49 w 722"/>
                <a:gd name="T69" fmla="*/ 85 h 474"/>
                <a:gd name="T70" fmla="*/ 92 w 722"/>
                <a:gd name="T71" fmla="*/ 103 h 474"/>
                <a:gd name="T72" fmla="*/ 161 w 722"/>
                <a:gd name="T73" fmla="*/ 165 h 474"/>
                <a:gd name="T74" fmla="*/ 198 w 722"/>
                <a:gd name="T75" fmla="*/ 175 h 474"/>
                <a:gd name="T76" fmla="*/ 162 w 722"/>
                <a:gd name="T77" fmla="*/ 72 h 474"/>
                <a:gd name="T78" fmla="*/ 134 w 722"/>
                <a:gd name="T79" fmla="*/ 19 h 474"/>
                <a:gd name="T80" fmla="*/ 166 w 722"/>
                <a:gd name="T81" fmla="*/ 60 h 474"/>
                <a:gd name="T82" fmla="*/ 207 w 722"/>
                <a:gd name="T83" fmla="*/ 170 h 474"/>
                <a:gd name="T84" fmla="*/ 195 w 722"/>
                <a:gd name="T85" fmla="*/ 100 h 474"/>
                <a:gd name="T86" fmla="*/ 157 w 722"/>
                <a:gd name="T87" fmla="*/ 12 h 474"/>
                <a:gd name="T88" fmla="*/ 166 w 722"/>
                <a:gd name="T89" fmla="*/ 9 h 474"/>
                <a:gd name="T90" fmla="*/ 209 w 722"/>
                <a:gd name="T91" fmla="*/ 117 h 474"/>
                <a:gd name="T92" fmla="*/ 223 w 722"/>
                <a:gd name="T93" fmla="*/ 149 h 474"/>
                <a:gd name="T94" fmla="*/ 219 w 722"/>
                <a:gd name="T95" fmla="*/ 53 h 474"/>
                <a:gd name="T96" fmla="*/ 242 w 722"/>
                <a:gd name="T97" fmla="*/ 0 h 474"/>
                <a:gd name="T98" fmla="*/ 242 w 722"/>
                <a:gd name="T99" fmla="*/ 17 h 474"/>
                <a:gd name="T100" fmla="*/ 228 w 722"/>
                <a:gd name="T101" fmla="*/ 74 h 474"/>
                <a:gd name="T102" fmla="*/ 232 w 722"/>
                <a:gd name="T103" fmla="*/ 164 h 474"/>
                <a:gd name="T104" fmla="*/ 283 w 722"/>
                <a:gd name="T105" fmla="*/ 15 h 474"/>
                <a:gd name="T106" fmla="*/ 291 w 722"/>
                <a:gd name="T107" fmla="*/ 38 h 474"/>
                <a:gd name="T108" fmla="*/ 231 w 722"/>
                <a:gd name="T109" fmla="*/ 224 h 474"/>
                <a:gd name="T110" fmla="*/ 333 w 722"/>
                <a:gd name="T111" fmla="*/ 98 h 474"/>
                <a:gd name="T112" fmla="*/ 322 w 722"/>
                <a:gd name="T113" fmla="*/ 168 h 474"/>
                <a:gd name="T114" fmla="*/ 270 w 722"/>
                <a:gd name="T115" fmla="*/ 216 h 474"/>
                <a:gd name="T116" fmla="*/ 337 w 722"/>
                <a:gd name="T117" fmla="*/ 18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2" h="474">
                  <a:moveTo>
                    <a:pt x="191" y="251"/>
                  </a:moveTo>
                  <a:lnTo>
                    <a:pt x="181" y="250"/>
                  </a:lnTo>
                  <a:lnTo>
                    <a:pt x="172" y="250"/>
                  </a:lnTo>
                  <a:lnTo>
                    <a:pt x="162" y="250"/>
                  </a:lnTo>
                  <a:lnTo>
                    <a:pt x="152" y="251"/>
                  </a:lnTo>
                  <a:lnTo>
                    <a:pt x="143" y="252"/>
                  </a:lnTo>
                  <a:lnTo>
                    <a:pt x="133" y="255"/>
                  </a:lnTo>
                  <a:lnTo>
                    <a:pt x="123" y="258"/>
                  </a:lnTo>
                  <a:lnTo>
                    <a:pt x="114" y="261"/>
                  </a:lnTo>
                  <a:lnTo>
                    <a:pt x="105" y="265"/>
                  </a:lnTo>
                  <a:lnTo>
                    <a:pt x="97" y="269"/>
                  </a:lnTo>
                  <a:lnTo>
                    <a:pt x="191" y="251"/>
                  </a:lnTo>
                  <a:close/>
                  <a:moveTo>
                    <a:pt x="697" y="464"/>
                  </a:moveTo>
                  <a:lnTo>
                    <a:pt x="642" y="448"/>
                  </a:lnTo>
                  <a:lnTo>
                    <a:pt x="590" y="432"/>
                  </a:lnTo>
                  <a:lnTo>
                    <a:pt x="596" y="437"/>
                  </a:lnTo>
                  <a:lnTo>
                    <a:pt x="603" y="442"/>
                  </a:lnTo>
                  <a:lnTo>
                    <a:pt x="610" y="447"/>
                  </a:lnTo>
                  <a:lnTo>
                    <a:pt x="619" y="451"/>
                  </a:lnTo>
                  <a:lnTo>
                    <a:pt x="628" y="455"/>
                  </a:lnTo>
                  <a:lnTo>
                    <a:pt x="637" y="458"/>
                  </a:lnTo>
                  <a:lnTo>
                    <a:pt x="647" y="461"/>
                  </a:lnTo>
                  <a:lnTo>
                    <a:pt x="657" y="463"/>
                  </a:lnTo>
                  <a:lnTo>
                    <a:pt x="667" y="464"/>
                  </a:lnTo>
                  <a:lnTo>
                    <a:pt x="677" y="465"/>
                  </a:lnTo>
                  <a:lnTo>
                    <a:pt x="687" y="465"/>
                  </a:lnTo>
                  <a:lnTo>
                    <a:pt x="697" y="464"/>
                  </a:lnTo>
                  <a:close/>
                  <a:moveTo>
                    <a:pt x="595" y="423"/>
                  </a:moveTo>
                  <a:lnTo>
                    <a:pt x="620" y="431"/>
                  </a:lnTo>
                  <a:lnTo>
                    <a:pt x="644" y="438"/>
                  </a:lnTo>
                  <a:lnTo>
                    <a:pt x="697" y="454"/>
                  </a:lnTo>
                  <a:lnTo>
                    <a:pt x="686" y="447"/>
                  </a:lnTo>
                  <a:lnTo>
                    <a:pt x="674" y="440"/>
                  </a:lnTo>
                  <a:lnTo>
                    <a:pt x="662" y="435"/>
                  </a:lnTo>
                  <a:lnTo>
                    <a:pt x="655" y="432"/>
                  </a:lnTo>
                  <a:lnTo>
                    <a:pt x="649" y="430"/>
                  </a:lnTo>
                  <a:lnTo>
                    <a:pt x="635" y="427"/>
                  </a:lnTo>
                  <a:lnTo>
                    <a:pt x="622" y="424"/>
                  </a:lnTo>
                  <a:lnTo>
                    <a:pt x="608" y="423"/>
                  </a:lnTo>
                  <a:lnTo>
                    <a:pt x="595" y="423"/>
                  </a:lnTo>
                  <a:close/>
                  <a:moveTo>
                    <a:pt x="223" y="252"/>
                  </a:moveTo>
                  <a:lnTo>
                    <a:pt x="243" y="267"/>
                  </a:lnTo>
                  <a:lnTo>
                    <a:pt x="264" y="282"/>
                  </a:lnTo>
                  <a:lnTo>
                    <a:pt x="284" y="295"/>
                  </a:lnTo>
                  <a:lnTo>
                    <a:pt x="305" y="308"/>
                  </a:lnTo>
                  <a:lnTo>
                    <a:pt x="326" y="320"/>
                  </a:lnTo>
                  <a:lnTo>
                    <a:pt x="348" y="331"/>
                  </a:lnTo>
                  <a:lnTo>
                    <a:pt x="370" y="342"/>
                  </a:lnTo>
                  <a:lnTo>
                    <a:pt x="394" y="353"/>
                  </a:lnTo>
                  <a:lnTo>
                    <a:pt x="413" y="361"/>
                  </a:lnTo>
                  <a:lnTo>
                    <a:pt x="431" y="369"/>
                  </a:lnTo>
                  <a:lnTo>
                    <a:pt x="448" y="375"/>
                  </a:lnTo>
                  <a:lnTo>
                    <a:pt x="465" y="381"/>
                  </a:lnTo>
                  <a:lnTo>
                    <a:pt x="499" y="392"/>
                  </a:lnTo>
                  <a:lnTo>
                    <a:pt x="537" y="404"/>
                  </a:lnTo>
                  <a:lnTo>
                    <a:pt x="573" y="416"/>
                  </a:lnTo>
                  <a:lnTo>
                    <a:pt x="583" y="415"/>
                  </a:lnTo>
                  <a:lnTo>
                    <a:pt x="594" y="414"/>
                  </a:lnTo>
                  <a:lnTo>
                    <a:pt x="604" y="414"/>
                  </a:lnTo>
                  <a:lnTo>
                    <a:pt x="614" y="414"/>
                  </a:lnTo>
                  <a:lnTo>
                    <a:pt x="623" y="415"/>
                  </a:lnTo>
                  <a:lnTo>
                    <a:pt x="633" y="417"/>
                  </a:lnTo>
                  <a:lnTo>
                    <a:pt x="643" y="419"/>
                  </a:lnTo>
                  <a:lnTo>
                    <a:pt x="653" y="422"/>
                  </a:lnTo>
                  <a:lnTo>
                    <a:pt x="662" y="425"/>
                  </a:lnTo>
                  <a:lnTo>
                    <a:pt x="671" y="428"/>
                  </a:lnTo>
                  <a:lnTo>
                    <a:pt x="680" y="433"/>
                  </a:lnTo>
                  <a:lnTo>
                    <a:pt x="689" y="437"/>
                  </a:lnTo>
                  <a:lnTo>
                    <a:pt x="697" y="443"/>
                  </a:lnTo>
                  <a:lnTo>
                    <a:pt x="706" y="448"/>
                  </a:lnTo>
                  <a:lnTo>
                    <a:pt x="714" y="455"/>
                  </a:lnTo>
                  <a:lnTo>
                    <a:pt x="721" y="461"/>
                  </a:lnTo>
                  <a:lnTo>
                    <a:pt x="722" y="464"/>
                  </a:lnTo>
                  <a:lnTo>
                    <a:pt x="721" y="466"/>
                  </a:lnTo>
                  <a:lnTo>
                    <a:pt x="721" y="467"/>
                  </a:lnTo>
                  <a:lnTo>
                    <a:pt x="719" y="469"/>
                  </a:lnTo>
                  <a:lnTo>
                    <a:pt x="706" y="471"/>
                  </a:lnTo>
                  <a:lnTo>
                    <a:pt x="693" y="473"/>
                  </a:lnTo>
                  <a:lnTo>
                    <a:pt x="679" y="474"/>
                  </a:lnTo>
                  <a:lnTo>
                    <a:pt x="673" y="474"/>
                  </a:lnTo>
                  <a:lnTo>
                    <a:pt x="666" y="473"/>
                  </a:lnTo>
                  <a:lnTo>
                    <a:pt x="653" y="472"/>
                  </a:lnTo>
                  <a:lnTo>
                    <a:pt x="639" y="469"/>
                  </a:lnTo>
                  <a:lnTo>
                    <a:pt x="627" y="465"/>
                  </a:lnTo>
                  <a:lnTo>
                    <a:pt x="621" y="462"/>
                  </a:lnTo>
                  <a:lnTo>
                    <a:pt x="615" y="460"/>
                  </a:lnTo>
                  <a:lnTo>
                    <a:pt x="602" y="453"/>
                  </a:lnTo>
                  <a:lnTo>
                    <a:pt x="591" y="445"/>
                  </a:lnTo>
                  <a:lnTo>
                    <a:pt x="586" y="441"/>
                  </a:lnTo>
                  <a:lnTo>
                    <a:pt x="582" y="436"/>
                  </a:lnTo>
                  <a:lnTo>
                    <a:pt x="577" y="431"/>
                  </a:lnTo>
                  <a:lnTo>
                    <a:pt x="572" y="426"/>
                  </a:lnTo>
                  <a:lnTo>
                    <a:pt x="534" y="413"/>
                  </a:lnTo>
                  <a:lnTo>
                    <a:pt x="495" y="401"/>
                  </a:lnTo>
                  <a:lnTo>
                    <a:pt x="461" y="389"/>
                  </a:lnTo>
                  <a:lnTo>
                    <a:pt x="444" y="384"/>
                  </a:lnTo>
                  <a:lnTo>
                    <a:pt x="427" y="377"/>
                  </a:lnTo>
                  <a:lnTo>
                    <a:pt x="409" y="370"/>
                  </a:lnTo>
                  <a:lnTo>
                    <a:pt x="390" y="362"/>
                  </a:lnTo>
                  <a:lnTo>
                    <a:pt x="366" y="351"/>
                  </a:lnTo>
                  <a:lnTo>
                    <a:pt x="343" y="340"/>
                  </a:lnTo>
                  <a:lnTo>
                    <a:pt x="321" y="328"/>
                  </a:lnTo>
                  <a:lnTo>
                    <a:pt x="300" y="316"/>
                  </a:lnTo>
                  <a:lnTo>
                    <a:pt x="279" y="303"/>
                  </a:lnTo>
                  <a:lnTo>
                    <a:pt x="258" y="290"/>
                  </a:lnTo>
                  <a:lnTo>
                    <a:pt x="238" y="275"/>
                  </a:lnTo>
                  <a:lnTo>
                    <a:pt x="217" y="259"/>
                  </a:lnTo>
                  <a:lnTo>
                    <a:pt x="215" y="261"/>
                  </a:lnTo>
                  <a:lnTo>
                    <a:pt x="105" y="420"/>
                  </a:lnTo>
                  <a:lnTo>
                    <a:pt x="103" y="421"/>
                  </a:lnTo>
                  <a:lnTo>
                    <a:pt x="101" y="422"/>
                  </a:lnTo>
                  <a:lnTo>
                    <a:pt x="100" y="422"/>
                  </a:lnTo>
                  <a:lnTo>
                    <a:pt x="98" y="421"/>
                  </a:lnTo>
                  <a:lnTo>
                    <a:pt x="97" y="420"/>
                  </a:lnTo>
                  <a:lnTo>
                    <a:pt x="96" y="418"/>
                  </a:lnTo>
                  <a:lnTo>
                    <a:pt x="96" y="416"/>
                  </a:lnTo>
                  <a:lnTo>
                    <a:pt x="97" y="414"/>
                  </a:lnTo>
                  <a:lnTo>
                    <a:pt x="191" y="279"/>
                  </a:lnTo>
                  <a:lnTo>
                    <a:pt x="175" y="292"/>
                  </a:lnTo>
                  <a:lnTo>
                    <a:pt x="161" y="306"/>
                  </a:lnTo>
                  <a:lnTo>
                    <a:pt x="146" y="320"/>
                  </a:lnTo>
                  <a:lnTo>
                    <a:pt x="133" y="335"/>
                  </a:lnTo>
                  <a:lnTo>
                    <a:pt x="120" y="351"/>
                  </a:lnTo>
                  <a:lnTo>
                    <a:pt x="108" y="367"/>
                  </a:lnTo>
                  <a:lnTo>
                    <a:pt x="97" y="384"/>
                  </a:lnTo>
                  <a:lnTo>
                    <a:pt x="87" y="401"/>
                  </a:lnTo>
                  <a:lnTo>
                    <a:pt x="85" y="403"/>
                  </a:lnTo>
                  <a:lnTo>
                    <a:pt x="84" y="404"/>
                  </a:lnTo>
                  <a:lnTo>
                    <a:pt x="82" y="404"/>
                  </a:lnTo>
                  <a:lnTo>
                    <a:pt x="80" y="403"/>
                  </a:lnTo>
                  <a:lnTo>
                    <a:pt x="79" y="402"/>
                  </a:lnTo>
                  <a:lnTo>
                    <a:pt x="78" y="401"/>
                  </a:lnTo>
                  <a:lnTo>
                    <a:pt x="78" y="399"/>
                  </a:lnTo>
                  <a:lnTo>
                    <a:pt x="79" y="397"/>
                  </a:lnTo>
                  <a:lnTo>
                    <a:pt x="85" y="385"/>
                  </a:lnTo>
                  <a:lnTo>
                    <a:pt x="93" y="373"/>
                  </a:lnTo>
                  <a:lnTo>
                    <a:pt x="100" y="362"/>
                  </a:lnTo>
                  <a:lnTo>
                    <a:pt x="108" y="350"/>
                  </a:lnTo>
                  <a:lnTo>
                    <a:pt x="117" y="340"/>
                  </a:lnTo>
                  <a:lnTo>
                    <a:pt x="126" y="329"/>
                  </a:lnTo>
                  <a:lnTo>
                    <a:pt x="135" y="319"/>
                  </a:lnTo>
                  <a:lnTo>
                    <a:pt x="144" y="309"/>
                  </a:lnTo>
                  <a:lnTo>
                    <a:pt x="48" y="376"/>
                  </a:lnTo>
                  <a:lnTo>
                    <a:pt x="46" y="377"/>
                  </a:lnTo>
                  <a:lnTo>
                    <a:pt x="45" y="377"/>
                  </a:lnTo>
                  <a:lnTo>
                    <a:pt x="43" y="376"/>
                  </a:lnTo>
                  <a:lnTo>
                    <a:pt x="42" y="375"/>
                  </a:lnTo>
                  <a:lnTo>
                    <a:pt x="41" y="373"/>
                  </a:lnTo>
                  <a:lnTo>
                    <a:pt x="41" y="371"/>
                  </a:lnTo>
                  <a:lnTo>
                    <a:pt x="41" y="370"/>
                  </a:lnTo>
                  <a:lnTo>
                    <a:pt x="43" y="368"/>
                  </a:lnTo>
                  <a:lnTo>
                    <a:pt x="188" y="266"/>
                  </a:lnTo>
                  <a:lnTo>
                    <a:pt x="164" y="274"/>
                  </a:lnTo>
                  <a:lnTo>
                    <a:pt x="141" y="283"/>
                  </a:lnTo>
                  <a:lnTo>
                    <a:pt x="130" y="288"/>
                  </a:lnTo>
                  <a:lnTo>
                    <a:pt x="118" y="293"/>
                  </a:lnTo>
                  <a:lnTo>
                    <a:pt x="107" y="299"/>
                  </a:lnTo>
                  <a:lnTo>
                    <a:pt x="96" y="305"/>
                  </a:lnTo>
                  <a:lnTo>
                    <a:pt x="86" y="311"/>
                  </a:lnTo>
                  <a:lnTo>
                    <a:pt x="75" y="317"/>
                  </a:lnTo>
                  <a:lnTo>
                    <a:pt x="64" y="324"/>
                  </a:lnTo>
                  <a:lnTo>
                    <a:pt x="54" y="331"/>
                  </a:lnTo>
                  <a:lnTo>
                    <a:pt x="44" y="339"/>
                  </a:lnTo>
                  <a:lnTo>
                    <a:pt x="34" y="347"/>
                  </a:lnTo>
                  <a:lnTo>
                    <a:pt x="24" y="355"/>
                  </a:lnTo>
                  <a:lnTo>
                    <a:pt x="15" y="363"/>
                  </a:lnTo>
                  <a:lnTo>
                    <a:pt x="13" y="365"/>
                  </a:lnTo>
                  <a:lnTo>
                    <a:pt x="11" y="365"/>
                  </a:lnTo>
                  <a:lnTo>
                    <a:pt x="9" y="364"/>
                  </a:lnTo>
                  <a:lnTo>
                    <a:pt x="8" y="363"/>
                  </a:lnTo>
                  <a:lnTo>
                    <a:pt x="7" y="362"/>
                  </a:lnTo>
                  <a:lnTo>
                    <a:pt x="7" y="360"/>
                  </a:lnTo>
                  <a:lnTo>
                    <a:pt x="7" y="358"/>
                  </a:lnTo>
                  <a:lnTo>
                    <a:pt x="8" y="357"/>
                  </a:lnTo>
                  <a:lnTo>
                    <a:pt x="24" y="342"/>
                  </a:lnTo>
                  <a:lnTo>
                    <a:pt x="41" y="329"/>
                  </a:lnTo>
                  <a:lnTo>
                    <a:pt x="58" y="317"/>
                  </a:lnTo>
                  <a:lnTo>
                    <a:pt x="76" y="305"/>
                  </a:lnTo>
                  <a:lnTo>
                    <a:pt x="95" y="295"/>
                  </a:lnTo>
                  <a:lnTo>
                    <a:pt x="113" y="285"/>
                  </a:lnTo>
                  <a:lnTo>
                    <a:pt x="132" y="276"/>
                  </a:lnTo>
                  <a:lnTo>
                    <a:pt x="151" y="269"/>
                  </a:lnTo>
                  <a:lnTo>
                    <a:pt x="76" y="283"/>
                  </a:lnTo>
                  <a:lnTo>
                    <a:pt x="67" y="291"/>
                  </a:lnTo>
                  <a:lnTo>
                    <a:pt x="57" y="300"/>
                  </a:lnTo>
                  <a:lnTo>
                    <a:pt x="56" y="302"/>
                  </a:lnTo>
                  <a:lnTo>
                    <a:pt x="54" y="302"/>
                  </a:lnTo>
                  <a:lnTo>
                    <a:pt x="52" y="302"/>
                  </a:lnTo>
                  <a:lnTo>
                    <a:pt x="51" y="301"/>
                  </a:lnTo>
                  <a:lnTo>
                    <a:pt x="50" y="299"/>
                  </a:lnTo>
                  <a:lnTo>
                    <a:pt x="49" y="298"/>
                  </a:lnTo>
                  <a:lnTo>
                    <a:pt x="49" y="296"/>
                  </a:lnTo>
                  <a:lnTo>
                    <a:pt x="50" y="294"/>
                  </a:lnTo>
                  <a:lnTo>
                    <a:pt x="58" y="286"/>
                  </a:lnTo>
                  <a:lnTo>
                    <a:pt x="5" y="296"/>
                  </a:lnTo>
                  <a:lnTo>
                    <a:pt x="3" y="296"/>
                  </a:lnTo>
                  <a:lnTo>
                    <a:pt x="2" y="295"/>
                  </a:lnTo>
                  <a:lnTo>
                    <a:pt x="1" y="294"/>
                  </a:lnTo>
                  <a:lnTo>
                    <a:pt x="0" y="292"/>
                  </a:lnTo>
                  <a:lnTo>
                    <a:pt x="0" y="290"/>
                  </a:lnTo>
                  <a:lnTo>
                    <a:pt x="0" y="289"/>
                  </a:lnTo>
                  <a:lnTo>
                    <a:pt x="2" y="287"/>
                  </a:lnTo>
                  <a:lnTo>
                    <a:pt x="4" y="287"/>
                  </a:lnTo>
                  <a:lnTo>
                    <a:pt x="73" y="274"/>
                  </a:lnTo>
                  <a:lnTo>
                    <a:pt x="82" y="267"/>
                  </a:lnTo>
                  <a:lnTo>
                    <a:pt x="92" y="261"/>
                  </a:lnTo>
                  <a:lnTo>
                    <a:pt x="102" y="256"/>
                  </a:lnTo>
                  <a:lnTo>
                    <a:pt x="112" y="251"/>
                  </a:lnTo>
                  <a:lnTo>
                    <a:pt x="122" y="248"/>
                  </a:lnTo>
                  <a:lnTo>
                    <a:pt x="133" y="245"/>
                  </a:lnTo>
                  <a:lnTo>
                    <a:pt x="144" y="242"/>
                  </a:lnTo>
                  <a:lnTo>
                    <a:pt x="155" y="241"/>
                  </a:lnTo>
                  <a:lnTo>
                    <a:pt x="165" y="240"/>
                  </a:lnTo>
                  <a:lnTo>
                    <a:pt x="173" y="240"/>
                  </a:lnTo>
                  <a:lnTo>
                    <a:pt x="181" y="240"/>
                  </a:lnTo>
                  <a:lnTo>
                    <a:pt x="189" y="241"/>
                  </a:lnTo>
                  <a:lnTo>
                    <a:pt x="43" y="146"/>
                  </a:lnTo>
                  <a:lnTo>
                    <a:pt x="41" y="145"/>
                  </a:lnTo>
                  <a:lnTo>
                    <a:pt x="40" y="143"/>
                  </a:lnTo>
                  <a:lnTo>
                    <a:pt x="41" y="141"/>
                  </a:lnTo>
                  <a:lnTo>
                    <a:pt x="41" y="140"/>
                  </a:lnTo>
                  <a:lnTo>
                    <a:pt x="42" y="138"/>
                  </a:lnTo>
                  <a:lnTo>
                    <a:pt x="44" y="137"/>
                  </a:lnTo>
                  <a:lnTo>
                    <a:pt x="46" y="137"/>
                  </a:lnTo>
                  <a:lnTo>
                    <a:pt x="48" y="138"/>
                  </a:lnTo>
                  <a:lnTo>
                    <a:pt x="204" y="240"/>
                  </a:lnTo>
                  <a:lnTo>
                    <a:pt x="197" y="228"/>
                  </a:lnTo>
                  <a:lnTo>
                    <a:pt x="190" y="217"/>
                  </a:lnTo>
                  <a:lnTo>
                    <a:pt x="182" y="206"/>
                  </a:lnTo>
                  <a:lnTo>
                    <a:pt x="174" y="195"/>
                  </a:lnTo>
                  <a:lnTo>
                    <a:pt x="166" y="185"/>
                  </a:lnTo>
                  <a:lnTo>
                    <a:pt x="157" y="175"/>
                  </a:lnTo>
                  <a:lnTo>
                    <a:pt x="148" y="165"/>
                  </a:lnTo>
                  <a:lnTo>
                    <a:pt x="139" y="154"/>
                  </a:lnTo>
                  <a:lnTo>
                    <a:pt x="129" y="145"/>
                  </a:lnTo>
                  <a:lnTo>
                    <a:pt x="119" y="136"/>
                  </a:lnTo>
                  <a:lnTo>
                    <a:pt x="109" y="128"/>
                  </a:lnTo>
                  <a:lnTo>
                    <a:pt x="98" y="119"/>
                  </a:lnTo>
                  <a:lnTo>
                    <a:pt x="87" y="111"/>
                  </a:lnTo>
                  <a:lnTo>
                    <a:pt x="76" y="104"/>
                  </a:lnTo>
                  <a:lnTo>
                    <a:pt x="64" y="97"/>
                  </a:lnTo>
                  <a:lnTo>
                    <a:pt x="52" y="90"/>
                  </a:lnTo>
                  <a:lnTo>
                    <a:pt x="50" y="88"/>
                  </a:lnTo>
                  <a:lnTo>
                    <a:pt x="49" y="87"/>
                  </a:lnTo>
                  <a:lnTo>
                    <a:pt x="49" y="85"/>
                  </a:lnTo>
                  <a:lnTo>
                    <a:pt x="50" y="83"/>
                  </a:lnTo>
                  <a:lnTo>
                    <a:pt x="51" y="82"/>
                  </a:lnTo>
                  <a:lnTo>
                    <a:pt x="52" y="81"/>
                  </a:lnTo>
                  <a:lnTo>
                    <a:pt x="54" y="81"/>
                  </a:lnTo>
                  <a:lnTo>
                    <a:pt x="56" y="81"/>
                  </a:lnTo>
                  <a:lnTo>
                    <a:pt x="80" y="95"/>
                  </a:lnTo>
                  <a:lnTo>
                    <a:pt x="92" y="103"/>
                  </a:lnTo>
                  <a:lnTo>
                    <a:pt x="102" y="111"/>
                  </a:lnTo>
                  <a:lnTo>
                    <a:pt x="113" y="119"/>
                  </a:lnTo>
                  <a:lnTo>
                    <a:pt x="123" y="127"/>
                  </a:lnTo>
                  <a:lnTo>
                    <a:pt x="133" y="136"/>
                  </a:lnTo>
                  <a:lnTo>
                    <a:pt x="143" y="145"/>
                  </a:lnTo>
                  <a:lnTo>
                    <a:pt x="152" y="154"/>
                  </a:lnTo>
                  <a:lnTo>
                    <a:pt x="161" y="165"/>
                  </a:lnTo>
                  <a:lnTo>
                    <a:pt x="178" y="185"/>
                  </a:lnTo>
                  <a:lnTo>
                    <a:pt x="194" y="206"/>
                  </a:lnTo>
                  <a:lnTo>
                    <a:pt x="208" y="228"/>
                  </a:lnTo>
                  <a:lnTo>
                    <a:pt x="206" y="215"/>
                  </a:lnTo>
                  <a:lnTo>
                    <a:pt x="204" y="201"/>
                  </a:lnTo>
                  <a:lnTo>
                    <a:pt x="201" y="188"/>
                  </a:lnTo>
                  <a:lnTo>
                    <a:pt x="198" y="175"/>
                  </a:lnTo>
                  <a:lnTo>
                    <a:pt x="195" y="160"/>
                  </a:lnTo>
                  <a:lnTo>
                    <a:pt x="191" y="147"/>
                  </a:lnTo>
                  <a:lnTo>
                    <a:pt x="187" y="135"/>
                  </a:lnTo>
                  <a:lnTo>
                    <a:pt x="183" y="122"/>
                  </a:lnTo>
                  <a:lnTo>
                    <a:pt x="173" y="97"/>
                  </a:lnTo>
                  <a:lnTo>
                    <a:pt x="168" y="84"/>
                  </a:lnTo>
                  <a:lnTo>
                    <a:pt x="162" y="72"/>
                  </a:lnTo>
                  <a:lnTo>
                    <a:pt x="155" y="60"/>
                  </a:lnTo>
                  <a:lnTo>
                    <a:pt x="149" y="48"/>
                  </a:lnTo>
                  <a:lnTo>
                    <a:pt x="141" y="36"/>
                  </a:lnTo>
                  <a:lnTo>
                    <a:pt x="134" y="24"/>
                  </a:lnTo>
                  <a:lnTo>
                    <a:pt x="133" y="22"/>
                  </a:lnTo>
                  <a:lnTo>
                    <a:pt x="133" y="20"/>
                  </a:lnTo>
                  <a:lnTo>
                    <a:pt x="134" y="19"/>
                  </a:lnTo>
                  <a:lnTo>
                    <a:pt x="135" y="17"/>
                  </a:lnTo>
                  <a:lnTo>
                    <a:pt x="137" y="17"/>
                  </a:lnTo>
                  <a:lnTo>
                    <a:pt x="138" y="16"/>
                  </a:lnTo>
                  <a:lnTo>
                    <a:pt x="140" y="17"/>
                  </a:lnTo>
                  <a:lnTo>
                    <a:pt x="142" y="19"/>
                  </a:lnTo>
                  <a:lnTo>
                    <a:pt x="155" y="39"/>
                  </a:lnTo>
                  <a:lnTo>
                    <a:pt x="166" y="60"/>
                  </a:lnTo>
                  <a:lnTo>
                    <a:pt x="172" y="70"/>
                  </a:lnTo>
                  <a:lnTo>
                    <a:pt x="177" y="81"/>
                  </a:lnTo>
                  <a:lnTo>
                    <a:pt x="186" y="103"/>
                  </a:lnTo>
                  <a:lnTo>
                    <a:pt x="190" y="113"/>
                  </a:lnTo>
                  <a:lnTo>
                    <a:pt x="194" y="124"/>
                  </a:lnTo>
                  <a:lnTo>
                    <a:pt x="201" y="147"/>
                  </a:lnTo>
                  <a:lnTo>
                    <a:pt x="207" y="170"/>
                  </a:lnTo>
                  <a:lnTo>
                    <a:pt x="212" y="193"/>
                  </a:lnTo>
                  <a:lnTo>
                    <a:pt x="209" y="170"/>
                  </a:lnTo>
                  <a:lnTo>
                    <a:pt x="208" y="157"/>
                  </a:lnTo>
                  <a:lnTo>
                    <a:pt x="206" y="146"/>
                  </a:lnTo>
                  <a:lnTo>
                    <a:pt x="203" y="134"/>
                  </a:lnTo>
                  <a:lnTo>
                    <a:pt x="201" y="123"/>
                  </a:lnTo>
                  <a:lnTo>
                    <a:pt x="195" y="100"/>
                  </a:lnTo>
                  <a:lnTo>
                    <a:pt x="187" y="78"/>
                  </a:lnTo>
                  <a:lnTo>
                    <a:pt x="179" y="56"/>
                  </a:lnTo>
                  <a:lnTo>
                    <a:pt x="174" y="45"/>
                  </a:lnTo>
                  <a:lnTo>
                    <a:pt x="169" y="35"/>
                  </a:lnTo>
                  <a:lnTo>
                    <a:pt x="164" y="24"/>
                  </a:lnTo>
                  <a:lnTo>
                    <a:pt x="158" y="14"/>
                  </a:lnTo>
                  <a:lnTo>
                    <a:pt x="157" y="12"/>
                  </a:lnTo>
                  <a:lnTo>
                    <a:pt x="158" y="10"/>
                  </a:lnTo>
                  <a:lnTo>
                    <a:pt x="159" y="9"/>
                  </a:lnTo>
                  <a:lnTo>
                    <a:pt x="160" y="8"/>
                  </a:lnTo>
                  <a:lnTo>
                    <a:pt x="162" y="7"/>
                  </a:lnTo>
                  <a:lnTo>
                    <a:pt x="163" y="7"/>
                  </a:lnTo>
                  <a:lnTo>
                    <a:pt x="165" y="8"/>
                  </a:lnTo>
                  <a:lnTo>
                    <a:pt x="166" y="9"/>
                  </a:lnTo>
                  <a:lnTo>
                    <a:pt x="177" y="30"/>
                  </a:lnTo>
                  <a:lnTo>
                    <a:pt x="182" y="41"/>
                  </a:lnTo>
                  <a:lnTo>
                    <a:pt x="187" y="51"/>
                  </a:lnTo>
                  <a:lnTo>
                    <a:pt x="191" y="62"/>
                  </a:lnTo>
                  <a:lnTo>
                    <a:pt x="196" y="73"/>
                  </a:lnTo>
                  <a:lnTo>
                    <a:pt x="203" y="95"/>
                  </a:lnTo>
                  <a:lnTo>
                    <a:pt x="209" y="117"/>
                  </a:lnTo>
                  <a:lnTo>
                    <a:pt x="212" y="129"/>
                  </a:lnTo>
                  <a:lnTo>
                    <a:pt x="214" y="140"/>
                  </a:lnTo>
                  <a:lnTo>
                    <a:pt x="218" y="164"/>
                  </a:lnTo>
                  <a:lnTo>
                    <a:pt x="220" y="176"/>
                  </a:lnTo>
                  <a:lnTo>
                    <a:pt x="221" y="187"/>
                  </a:lnTo>
                  <a:lnTo>
                    <a:pt x="223" y="161"/>
                  </a:lnTo>
                  <a:lnTo>
                    <a:pt x="223" y="149"/>
                  </a:lnTo>
                  <a:lnTo>
                    <a:pt x="223" y="136"/>
                  </a:lnTo>
                  <a:lnTo>
                    <a:pt x="223" y="124"/>
                  </a:lnTo>
                  <a:lnTo>
                    <a:pt x="222" y="111"/>
                  </a:lnTo>
                  <a:lnTo>
                    <a:pt x="219" y="86"/>
                  </a:lnTo>
                  <a:lnTo>
                    <a:pt x="218" y="75"/>
                  </a:lnTo>
                  <a:lnTo>
                    <a:pt x="218" y="63"/>
                  </a:lnTo>
                  <a:lnTo>
                    <a:pt x="219" y="53"/>
                  </a:lnTo>
                  <a:lnTo>
                    <a:pt x="221" y="42"/>
                  </a:lnTo>
                  <a:lnTo>
                    <a:pt x="224" y="32"/>
                  </a:lnTo>
                  <a:lnTo>
                    <a:pt x="228" y="22"/>
                  </a:lnTo>
                  <a:lnTo>
                    <a:pt x="233" y="12"/>
                  </a:lnTo>
                  <a:lnTo>
                    <a:pt x="239" y="2"/>
                  </a:lnTo>
                  <a:lnTo>
                    <a:pt x="241" y="1"/>
                  </a:lnTo>
                  <a:lnTo>
                    <a:pt x="242" y="0"/>
                  </a:lnTo>
                  <a:lnTo>
                    <a:pt x="244" y="0"/>
                  </a:lnTo>
                  <a:lnTo>
                    <a:pt x="246" y="1"/>
                  </a:lnTo>
                  <a:lnTo>
                    <a:pt x="247" y="2"/>
                  </a:lnTo>
                  <a:lnTo>
                    <a:pt x="248" y="4"/>
                  </a:lnTo>
                  <a:lnTo>
                    <a:pt x="248" y="6"/>
                  </a:lnTo>
                  <a:lnTo>
                    <a:pt x="247" y="7"/>
                  </a:lnTo>
                  <a:lnTo>
                    <a:pt x="242" y="17"/>
                  </a:lnTo>
                  <a:lnTo>
                    <a:pt x="239" y="21"/>
                  </a:lnTo>
                  <a:lnTo>
                    <a:pt x="237" y="26"/>
                  </a:lnTo>
                  <a:lnTo>
                    <a:pt x="233" y="35"/>
                  </a:lnTo>
                  <a:lnTo>
                    <a:pt x="230" y="44"/>
                  </a:lnTo>
                  <a:lnTo>
                    <a:pt x="229" y="54"/>
                  </a:lnTo>
                  <a:lnTo>
                    <a:pt x="228" y="64"/>
                  </a:lnTo>
                  <a:lnTo>
                    <a:pt x="228" y="74"/>
                  </a:lnTo>
                  <a:lnTo>
                    <a:pt x="229" y="84"/>
                  </a:lnTo>
                  <a:lnTo>
                    <a:pt x="230" y="96"/>
                  </a:lnTo>
                  <a:lnTo>
                    <a:pt x="232" y="107"/>
                  </a:lnTo>
                  <a:lnTo>
                    <a:pt x="232" y="118"/>
                  </a:lnTo>
                  <a:lnTo>
                    <a:pt x="233" y="130"/>
                  </a:lnTo>
                  <a:lnTo>
                    <a:pt x="233" y="152"/>
                  </a:lnTo>
                  <a:lnTo>
                    <a:pt x="232" y="164"/>
                  </a:lnTo>
                  <a:lnTo>
                    <a:pt x="232" y="175"/>
                  </a:lnTo>
                  <a:lnTo>
                    <a:pt x="275" y="18"/>
                  </a:lnTo>
                  <a:lnTo>
                    <a:pt x="276" y="16"/>
                  </a:lnTo>
                  <a:lnTo>
                    <a:pt x="277" y="15"/>
                  </a:lnTo>
                  <a:lnTo>
                    <a:pt x="279" y="14"/>
                  </a:lnTo>
                  <a:lnTo>
                    <a:pt x="281" y="14"/>
                  </a:lnTo>
                  <a:lnTo>
                    <a:pt x="283" y="15"/>
                  </a:lnTo>
                  <a:lnTo>
                    <a:pt x="284" y="16"/>
                  </a:lnTo>
                  <a:lnTo>
                    <a:pt x="284" y="18"/>
                  </a:lnTo>
                  <a:lnTo>
                    <a:pt x="284" y="20"/>
                  </a:lnTo>
                  <a:lnTo>
                    <a:pt x="250" y="144"/>
                  </a:lnTo>
                  <a:lnTo>
                    <a:pt x="288" y="41"/>
                  </a:lnTo>
                  <a:lnTo>
                    <a:pt x="289" y="39"/>
                  </a:lnTo>
                  <a:lnTo>
                    <a:pt x="291" y="38"/>
                  </a:lnTo>
                  <a:lnTo>
                    <a:pt x="292" y="38"/>
                  </a:lnTo>
                  <a:lnTo>
                    <a:pt x="294" y="38"/>
                  </a:lnTo>
                  <a:lnTo>
                    <a:pt x="296" y="39"/>
                  </a:lnTo>
                  <a:lnTo>
                    <a:pt x="297" y="40"/>
                  </a:lnTo>
                  <a:lnTo>
                    <a:pt x="297" y="42"/>
                  </a:lnTo>
                  <a:lnTo>
                    <a:pt x="297" y="44"/>
                  </a:lnTo>
                  <a:lnTo>
                    <a:pt x="231" y="224"/>
                  </a:lnTo>
                  <a:lnTo>
                    <a:pt x="325" y="96"/>
                  </a:lnTo>
                  <a:lnTo>
                    <a:pt x="326" y="95"/>
                  </a:lnTo>
                  <a:lnTo>
                    <a:pt x="328" y="94"/>
                  </a:lnTo>
                  <a:lnTo>
                    <a:pt x="330" y="94"/>
                  </a:lnTo>
                  <a:lnTo>
                    <a:pt x="331" y="95"/>
                  </a:lnTo>
                  <a:lnTo>
                    <a:pt x="333" y="97"/>
                  </a:lnTo>
                  <a:lnTo>
                    <a:pt x="333" y="98"/>
                  </a:lnTo>
                  <a:lnTo>
                    <a:pt x="333" y="100"/>
                  </a:lnTo>
                  <a:lnTo>
                    <a:pt x="332" y="102"/>
                  </a:lnTo>
                  <a:lnTo>
                    <a:pt x="242" y="225"/>
                  </a:lnTo>
                  <a:lnTo>
                    <a:pt x="317" y="168"/>
                  </a:lnTo>
                  <a:lnTo>
                    <a:pt x="319" y="167"/>
                  </a:lnTo>
                  <a:lnTo>
                    <a:pt x="321" y="167"/>
                  </a:lnTo>
                  <a:lnTo>
                    <a:pt x="322" y="168"/>
                  </a:lnTo>
                  <a:lnTo>
                    <a:pt x="323" y="168"/>
                  </a:lnTo>
                  <a:lnTo>
                    <a:pt x="324" y="169"/>
                  </a:lnTo>
                  <a:lnTo>
                    <a:pt x="325" y="171"/>
                  </a:lnTo>
                  <a:lnTo>
                    <a:pt x="325" y="173"/>
                  </a:lnTo>
                  <a:lnTo>
                    <a:pt x="325" y="174"/>
                  </a:lnTo>
                  <a:lnTo>
                    <a:pt x="323" y="176"/>
                  </a:lnTo>
                  <a:lnTo>
                    <a:pt x="270" y="216"/>
                  </a:lnTo>
                  <a:lnTo>
                    <a:pt x="330" y="183"/>
                  </a:lnTo>
                  <a:lnTo>
                    <a:pt x="332" y="182"/>
                  </a:lnTo>
                  <a:lnTo>
                    <a:pt x="334" y="182"/>
                  </a:lnTo>
                  <a:lnTo>
                    <a:pt x="335" y="183"/>
                  </a:lnTo>
                  <a:lnTo>
                    <a:pt x="336" y="185"/>
                  </a:lnTo>
                  <a:lnTo>
                    <a:pt x="337" y="186"/>
                  </a:lnTo>
                  <a:lnTo>
                    <a:pt x="337" y="188"/>
                  </a:lnTo>
                  <a:lnTo>
                    <a:pt x="336" y="190"/>
                  </a:lnTo>
                  <a:lnTo>
                    <a:pt x="334" y="191"/>
                  </a:lnTo>
                  <a:lnTo>
                    <a:pt x="223"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6" name="Freeform 1954"/>
            <p:cNvSpPr>
              <a:spLocks noEditPoints="1"/>
            </p:cNvSpPr>
            <p:nvPr userDrawn="1"/>
          </p:nvSpPr>
          <p:spPr bwMode="auto">
            <a:xfrm>
              <a:off x="5194300" y="3030538"/>
              <a:ext cx="706438" cy="1198563"/>
            </a:xfrm>
            <a:custGeom>
              <a:avLst/>
              <a:gdLst>
                <a:gd name="T0" fmla="*/ 170 w 445"/>
                <a:gd name="T1" fmla="*/ 131 h 755"/>
                <a:gd name="T2" fmla="*/ 143 w 445"/>
                <a:gd name="T3" fmla="*/ 674 h 755"/>
                <a:gd name="T4" fmla="*/ 131 w 445"/>
                <a:gd name="T5" fmla="*/ 673 h 755"/>
                <a:gd name="T6" fmla="*/ 152 w 445"/>
                <a:gd name="T7" fmla="*/ 622 h 755"/>
                <a:gd name="T8" fmla="*/ 162 w 445"/>
                <a:gd name="T9" fmla="*/ 675 h 755"/>
                <a:gd name="T10" fmla="*/ 200 w 445"/>
                <a:gd name="T11" fmla="*/ 216 h 755"/>
                <a:gd name="T12" fmla="*/ 163 w 445"/>
                <a:gd name="T13" fmla="*/ 358 h 755"/>
                <a:gd name="T14" fmla="*/ 152 w 445"/>
                <a:gd name="T15" fmla="*/ 561 h 755"/>
                <a:gd name="T16" fmla="*/ 171 w 445"/>
                <a:gd name="T17" fmla="*/ 676 h 755"/>
                <a:gd name="T18" fmla="*/ 153 w 445"/>
                <a:gd name="T19" fmla="*/ 755 h 755"/>
                <a:gd name="T20" fmla="*/ 130 w 445"/>
                <a:gd name="T21" fmla="*/ 718 h 755"/>
                <a:gd name="T22" fmla="*/ 126 w 445"/>
                <a:gd name="T23" fmla="*/ 638 h 755"/>
                <a:gd name="T24" fmla="*/ 143 w 445"/>
                <a:gd name="T25" fmla="*/ 484 h 755"/>
                <a:gd name="T26" fmla="*/ 158 w 445"/>
                <a:gd name="T27" fmla="*/ 332 h 755"/>
                <a:gd name="T28" fmla="*/ 4 w 445"/>
                <a:gd name="T29" fmla="*/ 155 h 755"/>
                <a:gd name="T30" fmla="*/ 3 w 445"/>
                <a:gd name="T31" fmla="*/ 146 h 755"/>
                <a:gd name="T32" fmla="*/ 102 w 445"/>
                <a:gd name="T33" fmla="*/ 159 h 755"/>
                <a:gd name="T34" fmla="*/ 14 w 445"/>
                <a:gd name="T35" fmla="*/ 131 h 755"/>
                <a:gd name="T36" fmla="*/ 17 w 445"/>
                <a:gd name="T37" fmla="*/ 123 h 755"/>
                <a:gd name="T38" fmla="*/ 122 w 445"/>
                <a:gd name="T39" fmla="*/ 158 h 755"/>
                <a:gd name="T40" fmla="*/ 30 w 445"/>
                <a:gd name="T41" fmla="*/ 80 h 755"/>
                <a:gd name="T42" fmla="*/ 128 w 445"/>
                <a:gd name="T43" fmla="*/ 129 h 755"/>
                <a:gd name="T44" fmla="*/ 41 w 445"/>
                <a:gd name="T45" fmla="*/ 59 h 755"/>
                <a:gd name="T46" fmla="*/ 29 w 445"/>
                <a:gd name="T47" fmla="*/ 45 h 755"/>
                <a:gd name="T48" fmla="*/ 104 w 445"/>
                <a:gd name="T49" fmla="*/ 92 h 755"/>
                <a:gd name="T50" fmla="*/ 115 w 445"/>
                <a:gd name="T51" fmla="*/ 79 h 755"/>
                <a:gd name="T52" fmla="*/ 103 w 445"/>
                <a:gd name="T53" fmla="*/ 65 h 755"/>
                <a:gd name="T54" fmla="*/ 92 w 445"/>
                <a:gd name="T55" fmla="*/ 18 h 755"/>
                <a:gd name="T56" fmla="*/ 142 w 445"/>
                <a:gd name="T57" fmla="*/ 86 h 755"/>
                <a:gd name="T58" fmla="*/ 185 w 445"/>
                <a:gd name="T59" fmla="*/ 137 h 755"/>
                <a:gd name="T60" fmla="*/ 245 w 445"/>
                <a:gd name="T61" fmla="*/ 10 h 755"/>
                <a:gd name="T62" fmla="*/ 253 w 445"/>
                <a:gd name="T63" fmla="*/ 15 h 755"/>
                <a:gd name="T64" fmla="*/ 266 w 445"/>
                <a:gd name="T65" fmla="*/ 105 h 755"/>
                <a:gd name="T66" fmla="*/ 298 w 445"/>
                <a:gd name="T67" fmla="*/ 17 h 755"/>
                <a:gd name="T68" fmla="*/ 309 w 445"/>
                <a:gd name="T69" fmla="*/ 1 h 755"/>
                <a:gd name="T70" fmla="*/ 296 w 445"/>
                <a:gd name="T71" fmla="*/ 57 h 755"/>
                <a:gd name="T72" fmla="*/ 250 w 445"/>
                <a:gd name="T73" fmla="*/ 152 h 755"/>
                <a:gd name="T74" fmla="*/ 277 w 445"/>
                <a:gd name="T75" fmla="*/ 161 h 755"/>
                <a:gd name="T76" fmla="*/ 361 w 445"/>
                <a:gd name="T77" fmla="*/ 92 h 755"/>
                <a:gd name="T78" fmla="*/ 395 w 445"/>
                <a:gd name="T79" fmla="*/ 59 h 755"/>
                <a:gd name="T80" fmla="*/ 364 w 445"/>
                <a:gd name="T81" fmla="*/ 102 h 755"/>
                <a:gd name="T82" fmla="*/ 273 w 445"/>
                <a:gd name="T83" fmla="*/ 175 h 755"/>
                <a:gd name="T84" fmla="*/ 334 w 445"/>
                <a:gd name="T85" fmla="*/ 142 h 755"/>
                <a:gd name="T86" fmla="*/ 405 w 445"/>
                <a:gd name="T87" fmla="*/ 80 h 755"/>
                <a:gd name="T88" fmla="*/ 413 w 445"/>
                <a:gd name="T89" fmla="*/ 85 h 755"/>
                <a:gd name="T90" fmla="*/ 342 w 445"/>
                <a:gd name="T91" fmla="*/ 148 h 755"/>
                <a:gd name="T92" fmla="*/ 281 w 445"/>
                <a:gd name="T93" fmla="*/ 189 h 755"/>
                <a:gd name="T94" fmla="*/ 364 w 445"/>
                <a:gd name="T95" fmla="*/ 157 h 755"/>
                <a:gd name="T96" fmla="*/ 428 w 445"/>
                <a:gd name="T97" fmla="*/ 151 h 755"/>
                <a:gd name="T98" fmla="*/ 443 w 445"/>
                <a:gd name="T99" fmla="*/ 162 h 755"/>
                <a:gd name="T100" fmla="*/ 394 w 445"/>
                <a:gd name="T101" fmla="*/ 159 h 755"/>
                <a:gd name="T102" fmla="*/ 328 w 445"/>
                <a:gd name="T103" fmla="*/ 184 h 755"/>
                <a:gd name="T104" fmla="*/ 443 w 445"/>
                <a:gd name="T105" fmla="*/ 197 h 755"/>
                <a:gd name="T106" fmla="*/ 422 w 445"/>
                <a:gd name="T107" fmla="*/ 213 h 755"/>
                <a:gd name="T108" fmla="*/ 419 w 445"/>
                <a:gd name="T109" fmla="*/ 222 h 755"/>
                <a:gd name="T110" fmla="*/ 380 w 445"/>
                <a:gd name="T111" fmla="*/ 272 h 755"/>
                <a:gd name="T112" fmla="*/ 311 w 445"/>
                <a:gd name="T113" fmla="*/ 283 h 755"/>
                <a:gd name="T114" fmla="*/ 249 w 445"/>
                <a:gd name="T115" fmla="*/ 249 h 755"/>
                <a:gd name="T116" fmla="*/ 296 w 445"/>
                <a:gd name="T117" fmla="*/ 30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5" h="755">
                  <a:moveTo>
                    <a:pt x="191" y="185"/>
                  </a:moveTo>
                  <a:lnTo>
                    <a:pt x="189" y="175"/>
                  </a:lnTo>
                  <a:lnTo>
                    <a:pt x="186" y="166"/>
                  </a:lnTo>
                  <a:lnTo>
                    <a:pt x="183" y="157"/>
                  </a:lnTo>
                  <a:lnTo>
                    <a:pt x="179" y="148"/>
                  </a:lnTo>
                  <a:lnTo>
                    <a:pt x="175" y="139"/>
                  </a:lnTo>
                  <a:lnTo>
                    <a:pt x="170" y="131"/>
                  </a:lnTo>
                  <a:lnTo>
                    <a:pt x="164" y="122"/>
                  </a:lnTo>
                  <a:lnTo>
                    <a:pt x="157" y="114"/>
                  </a:lnTo>
                  <a:lnTo>
                    <a:pt x="151" y="107"/>
                  </a:lnTo>
                  <a:lnTo>
                    <a:pt x="144" y="100"/>
                  </a:lnTo>
                  <a:lnTo>
                    <a:pt x="191" y="185"/>
                  </a:lnTo>
                  <a:close/>
                  <a:moveTo>
                    <a:pt x="145" y="732"/>
                  </a:moveTo>
                  <a:lnTo>
                    <a:pt x="143" y="674"/>
                  </a:lnTo>
                  <a:lnTo>
                    <a:pt x="142" y="620"/>
                  </a:lnTo>
                  <a:lnTo>
                    <a:pt x="139" y="627"/>
                  </a:lnTo>
                  <a:lnTo>
                    <a:pt x="136" y="635"/>
                  </a:lnTo>
                  <a:lnTo>
                    <a:pt x="134" y="644"/>
                  </a:lnTo>
                  <a:lnTo>
                    <a:pt x="133" y="653"/>
                  </a:lnTo>
                  <a:lnTo>
                    <a:pt x="132" y="663"/>
                  </a:lnTo>
                  <a:lnTo>
                    <a:pt x="131" y="673"/>
                  </a:lnTo>
                  <a:lnTo>
                    <a:pt x="132" y="683"/>
                  </a:lnTo>
                  <a:lnTo>
                    <a:pt x="133" y="693"/>
                  </a:lnTo>
                  <a:lnTo>
                    <a:pt x="135" y="703"/>
                  </a:lnTo>
                  <a:lnTo>
                    <a:pt x="138" y="713"/>
                  </a:lnTo>
                  <a:lnTo>
                    <a:pt x="141" y="723"/>
                  </a:lnTo>
                  <a:lnTo>
                    <a:pt x="145" y="732"/>
                  </a:lnTo>
                  <a:close/>
                  <a:moveTo>
                    <a:pt x="152" y="622"/>
                  </a:moveTo>
                  <a:lnTo>
                    <a:pt x="152" y="648"/>
                  </a:lnTo>
                  <a:lnTo>
                    <a:pt x="153" y="674"/>
                  </a:lnTo>
                  <a:lnTo>
                    <a:pt x="154" y="729"/>
                  </a:lnTo>
                  <a:lnTo>
                    <a:pt x="158" y="716"/>
                  </a:lnTo>
                  <a:lnTo>
                    <a:pt x="160" y="703"/>
                  </a:lnTo>
                  <a:lnTo>
                    <a:pt x="161" y="689"/>
                  </a:lnTo>
                  <a:lnTo>
                    <a:pt x="162" y="675"/>
                  </a:lnTo>
                  <a:lnTo>
                    <a:pt x="161" y="661"/>
                  </a:lnTo>
                  <a:lnTo>
                    <a:pt x="160" y="655"/>
                  </a:lnTo>
                  <a:lnTo>
                    <a:pt x="159" y="648"/>
                  </a:lnTo>
                  <a:lnTo>
                    <a:pt x="158" y="641"/>
                  </a:lnTo>
                  <a:lnTo>
                    <a:pt x="156" y="635"/>
                  </a:lnTo>
                  <a:lnTo>
                    <a:pt x="152" y="622"/>
                  </a:lnTo>
                  <a:close/>
                  <a:moveTo>
                    <a:pt x="200" y="216"/>
                  </a:moveTo>
                  <a:lnTo>
                    <a:pt x="191" y="239"/>
                  </a:lnTo>
                  <a:lnTo>
                    <a:pt x="184" y="263"/>
                  </a:lnTo>
                  <a:lnTo>
                    <a:pt x="178" y="287"/>
                  </a:lnTo>
                  <a:lnTo>
                    <a:pt x="175" y="298"/>
                  </a:lnTo>
                  <a:lnTo>
                    <a:pt x="172" y="310"/>
                  </a:lnTo>
                  <a:lnTo>
                    <a:pt x="167" y="334"/>
                  </a:lnTo>
                  <a:lnTo>
                    <a:pt x="163" y="358"/>
                  </a:lnTo>
                  <a:lnTo>
                    <a:pt x="159" y="383"/>
                  </a:lnTo>
                  <a:lnTo>
                    <a:pt x="156" y="409"/>
                  </a:lnTo>
                  <a:lnTo>
                    <a:pt x="154" y="430"/>
                  </a:lnTo>
                  <a:lnTo>
                    <a:pt x="153" y="449"/>
                  </a:lnTo>
                  <a:lnTo>
                    <a:pt x="152" y="467"/>
                  </a:lnTo>
                  <a:lnTo>
                    <a:pt x="152" y="485"/>
                  </a:lnTo>
                  <a:lnTo>
                    <a:pt x="152" y="561"/>
                  </a:lnTo>
                  <a:lnTo>
                    <a:pt x="152" y="599"/>
                  </a:lnTo>
                  <a:lnTo>
                    <a:pt x="156" y="608"/>
                  </a:lnTo>
                  <a:lnTo>
                    <a:pt x="160" y="618"/>
                  </a:lnTo>
                  <a:lnTo>
                    <a:pt x="163" y="627"/>
                  </a:lnTo>
                  <a:lnTo>
                    <a:pt x="166" y="637"/>
                  </a:lnTo>
                  <a:lnTo>
                    <a:pt x="170" y="656"/>
                  </a:lnTo>
                  <a:lnTo>
                    <a:pt x="171" y="676"/>
                  </a:lnTo>
                  <a:lnTo>
                    <a:pt x="170" y="696"/>
                  </a:lnTo>
                  <a:lnTo>
                    <a:pt x="167" y="716"/>
                  </a:lnTo>
                  <a:lnTo>
                    <a:pt x="165" y="725"/>
                  </a:lnTo>
                  <a:lnTo>
                    <a:pt x="162" y="735"/>
                  </a:lnTo>
                  <a:lnTo>
                    <a:pt x="159" y="745"/>
                  </a:lnTo>
                  <a:lnTo>
                    <a:pt x="155" y="754"/>
                  </a:lnTo>
                  <a:lnTo>
                    <a:pt x="153" y="755"/>
                  </a:lnTo>
                  <a:lnTo>
                    <a:pt x="151" y="755"/>
                  </a:lnTo>
                  <a:lnTo>
                    <a:pt x="149" y="755"/>
                  </a:lnTo>
                  <a:lnTo>
                    <a:pt x="147" y="754"/>
                  </a:lnTo>
                  <a:lnTo>
                    <a:pt x="140" y="743"/>
                  </a:lnTo>
                  <a:lnTo>
                    <a:pt x="135" y="731"/>
                  </a:lnTo>
                  <a:lnTo>
                    <a:pt x="132" y="724"/>
                  </a:lnTo>
                  <a:lnTo>
                    <a:pt x="130" y="718"/>
                  </a:lnTo>
                  <a:lnTo>
                    <a:pt x="126" y="705"/>
                  </a:lnTo>
                  <a:lnTo>
                    <a:pt x="123" y="692"/>
                  </a:lnTo>
                  <a:lnTo>
                    <a:pt x="122" y="678"/>
                  </a:lnTo>
                  <a:lnTo>
                    <a:pt x="122" y="665"/>
                  </a:lnTo>
                  <a:lnTo>
                    <a:pt x="122" y="658"/>
                  </a:lnTo>
                  <a:lnTo>
                    <a:pt x="123" y="652"/>
                  </a:lnTo>
                  <a:lnTo>
                    <a:pt x="126" y="638"/>
                  </a:lnTo>
                  <a:lnTo>
                    <a:pt x="128" y="631"/>
                  </a:lnTo>
                  <a:lnTo>
                    <a:pt x="130" y="625"/>
                  </a:lnTo>
                  <a:lnTo>
                    <a:pt x="135" y="613"/>
                  </a:lnTo>
                  <a:lnTo>
                    <a:pt x="138" y="607"/>
                  </a:lnTo>
                  <a:lnTo>
                    <a:pt x="142" y="601"/>
                  </a:lnTo>
                  <a:lnTo>
                    <a:pt x="143" y="561"/>
                  </a:lnTo>
                  <a:lnTo>
                    <a:pt x="143" y="484"/>
                  </a:lnTo>
                  <a:lnTo>
                    <a:pt x="143" y="467"/>
                  </a:lnTo>
                  <a:lnTo>
                    <a:pt x="144" y="448"/>
                  </a:lnTo>
                  <a:lnTo>
                    <a:pt x="145" y="429"/>
                  </a:lnTo>
                  <a:lnTo>
                    <a:pt x="147" y="408"/>
                  </a:lnTo>
                  <a:lnTo>
                    <a:pt x="150" y="382"/>
                  </a:lnTo>
                  <a:lnTo>
                    <a:pt x="154" y="357"/>
                  </a:lnTo>
                  <a:lnTo>
                    <a:pt x="158" y="332"/>
                  </a:lnTo>
                  <a:lnTo>
                    <a:pt x="163" y="308"/>
                  </a:lnTo>
                  <a:lnTo>
                    <a:pt x="168" y="284"/>
                  </a:lnTo>
                  <a:lnTo>
                    <a:pt x="175" y="261"/>
                  </a:lnTo>
                  <a:lnTo>
                    <a:pt x="182" y="237"/>
                  </a:lnTo>
                  <a:lnTo>
                    <a:pt x="191" y="212"/>
                  </a:lnTo>
                  <a:lnTo>
                    <a:pt x="189" y="211"/>
                  </a:lnTo>
                  <a:lnTo>
                    <a:pt x="4" y="155"/>
                  </a:lnTo>
                  <a:lnTo>
                    <a:pt x="3" y="154"/>
                  </a:lnTo>
                  <a:lnTo>
                    <a:pt x="2" y="154"/>
                  </a:lnTo>
                  <a:lnTo>
                    <a:pt x="1" y="152"/>
                  </a:lnTo>
                  <a:lnTo>
                    <a:pt x="0" y="150"/>
                  </a:lnTo>
                  <a:lnTo>
                    <a:pt x="1" y="149"/>
                  </a:lnTo>
                  <a:lnTo>
                    <a:pt x="1" y="147"/>
                  </a:lnTo>
                  <a:lnTo>
                    <a:pt x="3" y="146"/>
                  </a:lnTo>
                  <a:lnTo>
                    <a:pt x="4" y="145"/>
                  </a:lnTo>
                  <a:lnTo>
                    <a:pt x="6" y="145"/>
                  </a:lnTo>
                  <a:lnTo>
                    <a:pt x="164" y="193"/>
                  </a:lnTo>
                  <a:lnTo>
                    <a:pt x="147" y="182"/>
                  </a:lnTo>
                  <a:lnTo>
                    <a:pt x="129" y="173"/>
                  </a:lnTo>
                  <a:lnTo>
                    <a:pt x="111" y="163"/>
                  </a:lnTo>
                  <a:lnTo>
                    <a:pt x="102" y="159"/>
                  </a:lnTo>
                  <a:lnTo>
                    <a:pt x="93" y="155"/>
                  </a:lnTo>
                  <a:lnTo>
                    <a:pt x="74" y="148"/>
                  </a:lnTo>
                  <a:lnTo>
                    <a:pt x="65" y="145"/>
                  </a:lnTo>
                  <a:lnTo>
                    <a:pt x="55" y="142"/>
                  </a:lnTo>
                  <a:lnTo>
                    <a:pt x="35" y="136"/>
                  </a:lnTo>
                  <a:lnTo>
                    <a:pt x="16" y="132"/>
                  </a:lnTo>
                  <a:lnTo>
                    <a:pt x="14" y="131"/>
                  </a:lnTo>
                  <a:lnTo>
                    <a:pt x="12" y="130"/>
                  </a:lnTo>
                  <a:lnTo>
                    <a:pt x="12" y="128"/>
                  </a:lnTo>
                  <a:lnTo>
                    <a:pt x="12" y="126"/>
                  </a:lnTo>
                  <a:lnTo>
                    <a:pt x="12" y="125"/>
                  </a:lnTo>
                  <a:lnTo>
                    <a:pt x="14" y="123"/>
                  </a:lnTo>
                  <a:lnTo>
                    <a:pt x="15" y="123"/>
                  </a:lnTo>
                  <a:lnTo>
                    <a:pt x="17" y="123"/>
                  </a:lnTo>
                  <a:lnTo>
                    <a:pt x="44" y="129"/>
                  </a:lnTo>
                  <a:lnTo>
                    <a:pt x="58" y="133"/>
                  </a:lnTo>
                  <a:lnTo>
                    <a:pt x="71" y="137"/>
                  </a:lnTo>
                  <a:lnTo>
                    <a:pt x="84" y="141"/>
                  </a:lnTo>
                  <a:lnTo>
                    <a:pt x="96" y="146"/>
                  </a:lnTo>
                  <a:lnTo>
                    <a:pt x="109" y="152"/>
                  </a:lnTo>
                  <a:lnTo>
                    <a:pt x="122" y="158"/>
                  </a:lnTo>
                  <a:lnTo>
                    <a:pt x="28" y="88"/>
                  </a:lnTo>
                  <a:lnTo>
                    <a:pt x="27" y="87"/>
                  </a:lnTo>
                  <a:lnTo>
                    <a:pt x="26" y="85"/>
                  </a:lnTo>
                  <a:lnTo>
                    <a:pt x="27" y="83"/>
                  </a:lnTo>
                  <a:lnTo>
                    <a:pt x="27" y="82"/>
                  </a:lnTo>
                  <a:lnTo>
                    <a:pt x="29" y="81"/>
                  </a:lnTo>
                  <a:lnTo>
                    <a:pt x="30" y="80"/>
                  </a:lnTo>
                  <a:lnTo>
                    <a:pt x="32" y="80"/>
                  </a:lnTo>
                  <a:lnTo>
                    <a:pt x="34" y="81"/>
                  </a:lnTo>
                  <a:lnTo>
                    <a:pt x="176" y="186"/>
                  </a:lnTo>
                  <a:lnTo>
                    <a:pt x="161" y="166"/>
                  </a:lnTo>
                  <a:lnTo>
                    <a:pt x="145" y="147"/>
                  </a:lnTo>
                  <a:lnTo>
                    <a:pt x="137" y="138"/>
                  </a:lnTo>
                  <a:lnTo>
                    <a:pt x="128" y="129"/>
                  </a:lnTo>
                  <a:lnTo>
                    <a:pt x="120" y="120"/>
                  </a:lnTo>
                  <a:lnTo>
                    <a:pt x="111" y="111"/>
                  </a:lnTo>
                  <a:lnTo>
                    <a:pt x="92" y="95"/>
                  </a:lnTo>
                  <a:lnTo>
                    <a:pt x="72" y="80"/>
                  </a:lnTo>
                  <a:lnTo>
                    <a:pt x="62" y="72"/>
                  </a:lnTo>
                  <a:lnTo>
                    <a:pt x="52" y="65"/>
                  </a:lnTo>
                  <a:lnTo>
                    <a:pt x="41" y="59"/>
                  </a:lnTo>
                  <a:lnTo>
                    <a:pt x="30" y="53"/>
                  </a:lnTo>
                  <a:lnTo>
                    <a:pt x="28" y="51"/>
                  </a:lnTo>
                  <a:lnTo>
                    <a:pt x="28" y="50"/>
                  </a:lnTo>
                  <a:lnTo>
                    <a:pt x="27" y="49"/>
                  </a:lnTo>
                  <a:lnTo>
                    <a:pt x="27" y="48"/>
                  </a:lnTo>
                  <a:lnTo>
                    <a:pt x="28" y="46"/>
                  </a:lnTo>
                  <a:lnTo>
                    <a:pt x="29" y="45"/>
                  </a:lnTo>
                  <a:lnTo>
                    <a:pt x="30" y="44"/>
                  </a:lnTo>
                  <a:lnTo>
                    <a:pt x="32" y="44"/>
                  </a:lnTo>
                  <a:lnTo>
                    <a:pt x="34" y="44"/>
                  </a:lnTo>
                  <a:lnTo>
                    <a:pt x="53" y="55"/>
                  </a:lnTo>
                  <a:lnTo>
                    <a:pt x="71" y="67"/>
                  </a:lnTo>
                  <a:lnTo>
                    <a:pt x="88" y="79"/>
                  </a:lnTo>
                  <a:lnTo>
                    <a:pt x="104" y="92"/>
                  </a:lnTo>
                  <a:lnTo>
                    <a:pt x="119" y="106"/>
                  </a:lnTo>
                  <a:lnTo>
                    <a:pt x="134" y="121"/>
                  </a:lnTo>
                  <a:lnTo>
                    <a:pt x="148" y="136"/>
                  </a:lnTo>
                  <a:lnTo>
                    <a:pt x="155" y="144"/>
                  </a:lnTo>
                  <a:lnTo>
                    <a:pt x="162" y="152"/>
                  </a:lnTo>
                  <a:lnTo>
                    <a:pt x="125" y="85"/>
                  </a:lnTo>
                  <a:lnTo>
                    <a:pt x="115" y="79"/>
                  </a:lnTo>
                  <a:lnTo>
                    <a:pt x="103" y="74"/>
                  </a:lnTo>
                  <a:lnTo>
                    <a:pt x="101" y="72"/>
                  </a:lnTo>
                  <a:lnTo>
                    <a:pt x="100" y="71"/>
                  </a:lnTo>
                  <a:lnTo>
                    <a:pt x="100" y="69"/>
                  </a:lnTo>
                  <a:lnTo>
                    <a:pt x="100" y="67"/>
                  </a:lnTo>
                  <a:lnTo>
                    <a:pt x="101" y="66"/>
                  </a:lnTo>
                  <a:lnTo>
                    <a:pt x="103" y="65"/>
                  </a:lnTo>
                  <a:lnTo>
                    <a:pt x="105" y="65"/>
                  </a:lnTo>
                  <a:lnTo>
                    <a:pt x="107" y="65"/>
                  </a:lnTo>
                  <a:lnTo>
                    <a:pt x="117" y="70"/>
                  </a:lnTo>
                  <a:lnTo>
                    <a:pt x="91" y="23"/>
                  </a:lnTo>
                  <a:lnTo>
                    <a:pt x="90" y="21"/>
                  </a:lnTo>
                  <a:lnTo>
                    <a:pt x="91" y="19"/>
                  </a:lnTo>
                  <a:lnTo>
                    <a:pt x="92" y="18"/>
                  </a:lnTo>
                  <a:lnTo>
                    <a:pt x="93" y="16"/>
                  </a:lnTo>
                  <a:lnTo>
                    <a:pt x="95" y="16"/>
                  </a:lnTo>
                  <a:lnTo>
                    <a:pt x="96" y="16"/>
                  </a:lnTo>
                  <a:lnTo>
                    <a:pt x="98" y="17"/>
                  </a:lnTo>
                  <a:lnTo>
                    <a:pt x="99" y="18"/>
                  </a:lnTo>
                  <a:lnTo>
                    <a:pt x="133" y="80"/>
                  </a:lnTo>
                  <a:lnTo>
                    <a:pt x="142" y="86"/>
                  </a:lnTo>
                  <a:lnTo>
                    <a:pt x="150" y="93"/>
                  </a:lnTo>
                  <a:lnTo>
                    <a:pt x="158" y="101"/>
                  </a:lnTo>
                  <a:lnTo>
                    <a:pt x="166" y="109"/>
                  </a:lnTo>
                  <a:lnTo>
                    <a:pt x="169" y="114"/>
                  </a:lnTo>
                  <a:lnTo>
                    <a:pt x="173" y="118"/>
                  </a:lnTo>
                  <a:lnTo>
                    <a:pt x="179" y="128"/>
                  </a:lnTo>
                  <a:lnTo>
                    <a:pt x="185" y="137"/>
                  </a:lnTo>
                  <a:lnTo>
                    <a:pt x="189" y="148"/>
                  </a:lnTo>
                  <a:lnTo>
                    <a:pt x="193" y="156"/>
                  </a:lnTo>
                  <a:lnTo>
                    <a:pt x="196" y="164"/>
                  </a:lnTo>
                  <a:lnTo>
                    <a:pt x="198" y="172"/>
                  </a:lnTo>
                  <a:lnTo>
                    <a:pt x="200" y="180"/>
                  </a:lnTo>
                  <a:lnTo>
                    <a:pt x="244" y="12"/>
                  </a:lnTo>
                  <a:lnTo>
                    <a:pt x="245" y="10"/>
                  </a:lnTo>
                  <a:lnTo>
                    <a:pt x="246" y="9"/>
                  </a:lnTo>
                  <a:lnTo>
                    <a:pt x="248" y="9"/>
                  </a:lnTo>
                  <a:lnTo>
                    <a:pt x="250" y="9"/>
                  </a:lnTo>
                  <a:lnTo>
                    <a:pt x="252" y="10"/>
                  </a:lnTo>
                  <a:lnTo>
                    <a:pt x="253" y="11"/>
                  </a:lnTo>
                  <a:lnTo>
                    <a:pt x="253" y="13"/>
                  </a:lnTo>
                  <a:lnTo>
                    <a:pt x="253" y="15"/>
                  </a:lnTo>
                  <a:lnTo>
                    <a:pt x="206" y="194"/>
                  </a:lnTo>
                  <a:lnTo>
                    <a:pt x="214" y="183"/>
                  </a:lnTo>
                  <a:lnTo>
                    <a:pt x="223" y="173"/>
                  </a:lnTo>
                  <a:lnTo>
                    <a:pt x="231" y="162"/>
                  </a:lnTo>
                  <a:lnTo>
                    <a:pt x="239" y="151"/>
                  </a:lnTo>
                  <a:lnTo>
                    <a:pt x="253" y="129"/>
                  </a:lnTo>
                  <a:lnTo>
                    <a:pt x="266" y="105"/>
                  </a:lnTo>
                  <a:lnTo>
                    <a:pt x="272" y="93"/>
                  </a:lnTo>
                  <a:lnTo>
                    <a:pt x="277" y="81"/>
                  </a:lnTo>
                  <a:lnTo>
                    <a:pt x="282" y="69"/>
                  </a:lnTo>
                  <a:lnTo>
                    <a:pt x="286" y="56"/>
                  </a:lnTo>
                  <a:lnTo>
                    <a:pt x="291" y="43"/>
                  </a:lnTo>
                  <a:lnTo>
                    <a:pt x="294" y="30"/>
                  </a:lnTo>
                  <a:lnTo>
                    <a:pt x="298" y="17"/>
                  </a:lnTo>
                  <a:lnTo>
                    <a:pt x="300" y="4"/>
                  </a:lnTo>
                  <a:lnTo>
                    <a:pt x="301" y="2"/>
                  </a:lnTo>
                  <a:lnTo>
                    <a:pt x="303" y="0"/>
                  </a:lnTo>
                  <a:lnTo>
                    <a:pt x="304" y="0"/>
                  </a:lnTo>
                  <a:lnTo>
                    <a:pt x="306" y="0"/>
                  </a:lnTo>
                  <a:lnTo>
                    <a:pt x="308" y="0"/>
                  </a:lnTo>
                  <a:lnTo>
                    <a:pt x="309" y="1"/>
                  </a:lnTo>
                  <a:lnTo>
                    <a:pt x="309" y="2"/>
                  </a:lnTo>
                  <a:lnTo>
                    <a:pt x="310" y="3"/>
                  </a:lnTo>
                  <a:lnTo>
                    <a:pt x="310" y="5"/>
                  </a:lnTo>
                  <a:lnTo>
                    <a:pt x="307" y="19"/>
                  </a:lnTo>
                  <a:lnTo>
                    <a:pt x="304" y="32"/>
                  </a:lnTo>
                  <a:lnTo>
                    <a:pt x="300" y="45"/>
                  </a:lnTo>
                  <a:lnTo>
                    <a:pt x="296" y="57"/>
                  </a:lnTo>
                  <a:lnTo>
                    <a:pt x="292" y="70"/>
                  </a:lnTo>
                  <a:lnTo>
                    <a:pt x="287" y="82"/>
                  </a:lnTo>
                  <a:lnTo>
                    <a:pt x="282" y="94"/>
                  </a:lnTo>
                  <a:lnTo>
                    <a:pt x="276" y="106"/>
                  </a:lnTo>
                  <a:lnTo>
                    <a:pt x="270" y="118"/>
                  </a:lnTo>
                  <a:lnTo>
                    <a:pt x="264" y="129"/>
                  </a:lnTo>
                  <a:lnTo>
                    <a:pt x="250" y="152"/>
                  </a:lnTo>
                  <a:lnTo>
                    <a:pt x="234" y="173"/>
                  </a:lnTo>
                  <a:lnTo>
                    <a:pt x="226" y="184"/>
                  </a:lnTo>
                  <a:lnTo>
                    <a:pt x="218" y="194"/>
                  </a:lnTo>
                  <a:lnTo>
                    <a:pt x="230" y="188"/>
                  </a:lnTo>
                  <a:lnTo>
                    <a:pt x="242" y="182"/>
                  </a:lnTo>
                  <a:lnTo>
                    <a:pt x="266" y="168"/>
                  </a:lnTo>
                  <a:lnTo>
                    <a:pt x="277" y="161"/>
                  </a:lnTo>
                  <a:lnTo>
                    <a:pt x="288" y="153"/>
                  </a:lnTo>
                  <a:lnTo>
                    <a:pt x="299" y="145"/>
                  </a:lnTo>
                  <a:lnTo>
                    <a:pt x="310" y="137"/>
                  </a:lnTo>
                  <a:lnTo>
                    <a:pt x="331" y="120"/>
                  </a:lnTo>
                  <a:lnTo>
                    <a:pt x="341" y="111"/>
                  </a:lnTo>
                  <a:lnTo>
                    <a:pt x="351" y="102"/>
                  </a:lnTo>
                  <a:lnTo>
                    <a:pt x="361" y="92"/>
                  </a:lnTo>
                  <a:lnTo>
                    <a:pt x="370" y="82"/>
                  </a:lnTo>
                  <a:lnTo>
                    <a:pt x="379" y="71"/>
                  </a:lnTo>
                  <a:lnTo>
                    <a:pt x="388" y="60"/>
                  </a:lnTo>
                  <a:lnTo>
                    <a:pt x="390" y="59"/>
                  </a:lnTo>
                  <a:lnTo>
                    <a:pt x="391" y="58"/>
                  </a:lnTo>
                  <a:lnTo>
                    <a:pt x="393" y="59"/>
                  </a:lnTo>
                  <a:lnTo>
                    <a:pt x="395" y="59"/>
                  </a:lnTo>
                  <a:lnTo>
                    <a:pt x="396" y="61"/>
                  </a:lnTo>
                  <a:lnTo>
                    <a:pt x="397" y="62"/>
                  </a:lnTo>
                  <a:lnTo>
                    <a:pt x="397" y="64"/>
                  </a:lnTo>
                  <a:lnTo>
                    <a:pt x="396" y="66"/>
                  </a:lnTo>
                  <a:lnTo>
                    <a:pt x="388" y="76"/>
                  </a:lnTo>
                  <a:lnTo>
                    <a:pt x="380" y="85"/>
                  </a:lnTo>
                  <a:lnTo>
                    <a:pt x="364" y="102"/>
                  </a:lnTo>
                  <a:lnTo>
                    <a:pt x="356" y="111"/>
                  </a:lnTo>
                  <a:lnTo>
                    <a:pt x="347" y="119"/>
                  </a:lnTo>
                  <a:lnTo>
                    <a:pt x="329" y="134"/>
                  </a:lnTo>
                  <a:lnTo>
                    <a:pt x="311" y="149"/>
                  </a:lnTo>
                  <a:lnTo>
                    <a:pt x="302" y="155"/>
                  </a:lnTo>
                  <a:lnTo>
                    <a:pt x="292" y="162"/>
                  </a:lnTo>
                  <a:lnTo>
                    <a:pt x="273" y="175"/>
                  </a:lnTo>
                  <a:lnTo>
                    <a:pt x="252" y="187"/>
                  </a:lnTo>
                  <a:lnTo>
                    <a:pt x="263" y="182"/>
                  </a:lnTo>
                  <a:lnTo>
                    <a:pt x="274" y="177"/>
                  </a:lnTo>
                  <a:lnTo>
                    <a:pt x="295" y="166"/>
                  </a:lnTo>
                  <a:lnTo>
                    <a:pt x="315" y="155"/>
                  </a:lnTo>
                  <a:lnTo>
                    <a:pt x="325" y="148"/>
                  </a:lnTo>
                  <a:lnTo>
                    <a:pt x="334" y="142"/>
                  </a:lnTo>
                  <a:lnTo>
                    <a:pt x="344" y="135"/>
                  </a:lnTo>
                  <a:lnTo>
                    <a:pt x="353" y="128"/>
                  </a:lnTo>
                  <a:lnTo>
                    <a:pt x="362" y="121"/>
                  </a:lnTo>
                  <a:lnTo>
                    <a:pt x="371" y="113"/>
                  </a:lnTo>
                  <a:lnTo>
                    <a:pt x="380" y="105"/>
                  </a:lnTo>
                  <a:lnTo>
                    <a:pt x="389" y="97"/>
                  </a:lnTo>
                  <a:lnTo>
                    <a:pt x="405" y="80"/>
                  </a:lnTo>
                  <a:lnTo>
                    <a:pt x="407" y="79"/>
                  </a:lnTo>
                  <a:lnTo>
                    <a:pt x="409" y="79"/>
                  </a:lnTo>
                  <a:lnTo>
                    <a:pt x="410" y="79"/>
                  </a:lnTo>
                  <a:lnTo>
                    <a:pt x="412" y="80"/>
                  </a:lnTo>
                  <a:lnTo>
                    <a:pt x="413" y="81"/>
                  </a:lnTo>
                  <a:lnTo>
                    <a:pt x="413" y="83"/>
                  </a:lnTo>
                  <a:lnTo>
                    <a:pt x="413" y="85"/>
                  </a:lnTo>
                  <a:lnTo>
                    <a:pt x="412" y="87"/>
                  </a:lnTo>
                  <a:lnTo>
                    <a:pt x="404" y="95"/>
                  </a:lnTo>
                  <a:lnTo>
                    <a:pt x="396" y="104"/>
                  </a:lnTo>
                  <a:lnTo>
                    <a:pt x="387" y="112"/>
                  </a:lnTo>
                  <a:lnTo>
                    <a:pt x="378" y="120"/>
                  </a:lnTo>
                  <a:lnTo>
                    <a:pt x="360" y="134"/>
                  </a:lnTo>
                  <a:lnTo>
                    <a:pt x="342" y="148"/>
                  </a:lnTo>
                  <a:lnTo>
                    <a:pt x="322" y="161"/>
                  </a:lnTo>
                  <a:lnTo>
                    <a:pt x="302" y="173"/>
                  </a:lnTo>
                  <a:lnTo>
                    <a:pt x="292" y="179"/>
                  </a:lnTo>
                  <a:lnTo>
                    <a:pt x="281" y="184"/>
                  </a:lnTo>
                  <a:lnTo>
                    <a:pt x="271" y="189"/>
                  </a:lnTo>
                  <a:lnTo>
                    <a:pt x="260" y="194"/>
                  </a:lnTo>
                  <a:lnTo>
                    <a:pt x="281" y="189"/>
                  </a:lnTo>
                  <a:lnTo>
                    <a:pt x="303" y="183"/>
                  </a:lnTo>
                  <a:lnTo>
                    <a:pt x="313" y="180"/>
                  </a:lnTo>
                  <a:lnTo>
                    <a:pt x="323" y="176"/>
                  </a:lnTo>
                  <a:lnTo>
                    <a:pt x="332" y="172"/>
                  </a:lnTo>
                  <a:lnTo>
                    <a:pt x="341" y="168"/>
                  </a:lnTo>
                  <a:lnTo>
                    <a:pt x="353" y="162"/>
                  </a:lnTo>
                  <a:lnTo>
                    <a:pt x="364" y="157"/>
                  </a:lnTo>
                  <a:lnTo>
                    <a:pt x="376" y="153"/>
                  </a:lnTo>
                  <a:lnTo>
                    <a:pt x="382" y="151"/>
                  </a:lnTo>
                  <a:lnTo>
                    <a:pt x="389" y="150"/>
                  </a:lnTo>
                  <a:lnTo>
                    <a:pt x="403" y="149"/>
                  </a:lnTo>
                  <a:lnTo>
                    <a:pt x="409" y="149"/>
                  </a:lnTo>
                  <a:lnTo>
                    <a:pt x="416" y="149"/>
                  </a:lnTo>
                  <a:lnTo>
                    <a:pt x="428" y="151"/>
                  </a:lnTo>
                  <a:lnTo>
                    <a:pt x="441" y="154"/>
                  </a:lnTo>
                  <a:lnTo>
                    <a:pt x="443" y="155"/>
                  </a:lnTo>
                  <a:lnTo>
                    <a:pt x="444" y="156"/>
                  </a:lnTo>
                  <a:lnTo>
                    <a:pt x="445" y="158"/>
                  </a:lnTo>
                  <a:lnTo>
                    <a:pt x="445" y="160"/>
                  </a:lnTo>
                  <a:lnTo>
                    <a:pt x="444" y="161"/>
                  </a:lnTo>
                  <a:lnTo>
                    <a:pt x="443" y="162"/>
                  </a:lnTo>
                  <a:lnTo>
                    <a:pt x="441" y="163"/>
                  </a:lnTo>
                  <a:lnTo>
                    <a:pt x="439" y="163"/>
                  </a:lnTo>
                  <a:lnTo>
                    <a:pt x="428" y="161"/>
                  </a:lnTo>
                  <a:lnTo>
                    <a:pt x="418" y="159"/>
                  </a:lnTo>
                  <a:lnTo>
                    <a:pt x="408" y="158"/>
                  </a:lnTo>
                  <a:lnTo>
                    <a:pt x="399" y="159"/>
                  </a:lnTo>
                  <a:lnTo>
                    <a:pt x="394" y="159"/>
                  </a:lnTo>
                  <a:lnTo>
                    <a:pt x="389" y="160"/>
                  </a:lnTo>
                  <a:lnTo>
                    <a:pt x="379" y="162"/>
                  </a:lnTo>
                  <a:lnTo>
                    <a:pt x="370" y="165"/>
                  </a:lnTo>
                  <a:lnTo>
                    <a:pt x="360" y="169"/>
                  </a:lnTo>
                  <a:lnTo>
                    <a:pt x="344" y="177"/>
                  </a:lnTo>
                  <a:lnTo>
                    <a:pt x="336" y="181"/>
                  </a:lnTo>
                  <a:lnTo>
                    <a:pt x="328" y="184"/>
                  </a:lnTo>
                  <a:lnTo>
                    <a:pt x="300" y="193"/>
                  </a:lnTo>
                  <a:lnTo>
                    <a:pt x="275" y="200"/>
                  </a:lnTo>
                  <a:lnTo>
                    <a:pt x="438" y="193"/>
                  </a:lnTo>
                  <a:lnTo>
                    <a:pt x="440" y="193"/>
                  </a:lnTo>
                  <a:lnTo>
                    <a:pt x="441" y="194"/>
                  </a:lnTo>
                  <a:lnTo>
                    <a:pt x="442" y="196"/>
                  </a:lnTo>
                  <a:lnTo>
                    <a:pt x="443" y="197"/>
                  </a:lnTo>
                  <a:lnTo>
                    <a:pt x="443" y="199"/>
                  </a:lnTo>
                  <a:lnTo>
                    <a:pt x="442" y="201"/>
                  </a:lnTo>
                  <a:lnTo>
                    <a:pt x="440" y="202"/>
                  </a:lnTo>
                  <a:lnTo>
                    <a:pt x="438" y="202"/>
                  </a:lnTo>
                  <a:lnTo>
                    <a:pt x="310" y="208"/>
                  </a:lnTo>
                  <a:lnTo>
                    <a:pt x="420" y="212"/>
                  </a:lnTo>
                  <a:lnTo>
                    <a:pt x="422" y="213"/>
                  </a:lnTo>
                  <a:lnTo>
                    <a:pt x="423" y="214"/>
                  </a:lnTo>
                  <a:lnTo>
                    <a:pt x="424" y="216"/>
                  </a:lnTo>
                  <a:lnTo>
                    <a:pt x="424" y="217"/>
                  </a:lnTo>
                  <a:lnTo>
                    <a:pt x="424" y="219"/>
                  </a:lnTo>
                  <a:lnTo>
                    <a:pt x="423" y="221"/>
                  </a:lnTo>
                  <a:lnTo>
                    <a:pt x="421" y="222"/>
                  </a:lnTo>
                  <a:lnTo>
                    <a:pt x="419" y="222"/>
                  </a:lnTo>
                  <a:lnTo>
                    <a:pt x="229" y="214"/>
                  </a:lnTo>
                  <a:lnTo>
                    <a:pt x="378" y="264"/>
                  </a:lnTo>
                  <a:lnTo>
                    <a:pt x="380" y="265"/>
                  </a:lnTo>
                  <a:lnTo>
                    <a:pt x="381" y="267"/>
                  </a:lnTo>
                  <a:lnTo>
                    <a:pt x="382" y="268"/>
                  </a:lnTo>
                  <a:lnTo>
                    <a:pt x="381" y="270"/>
                  </a:lnTo>
                  <a:lnTo>
                    <a:pt x="380" y="272"/>
                  </a:lnTo>
                  <a:lnTo>
                    <a:pt x="379" y="273"/>
                  </a:lnTo>
                  <a:lnTo>
                    <a:pt x="377" y="273"/>
                  </a:lnTo>
                  <a:lnTo>
                    <a:pt x="375" y="273"/>
                  </a:lnTo>
                  <a:lnTo>
                    <a:pt x="232" y="225"/>
                  </a:lnTo>
                  <a:lnTo>
                    <a:pt x="309" y="279"/>
                  </a:lnTo>
                  <a:lnTo>
                    <a:pt x="310" y="281"/>
                  </a:lnTo>
                  <a:lnTo>
                    <a:pt x="311" y="283"/>
                  </a:lnTo>
                  <a:lnTo>
                    <a:pt x="310" y="284"/>
                  </a:lnTo>
                  <a:lnTo>
                    <a:pt x="310" y="286"/>
                  </a:lnTo>
                  <a:lnTo>
                    <a:pt x="308" y="287"/>
                  </a:lnTo>
                  <a:lnTo>
                    <a:pt x="307" y="288"/>
                  </a:lnTo>
                  <a:lnTo>
                    <a:pt x="305" y="288"/>
                  </a:lnTo>
                  <a:lnTo>
                    <a:pt x="303" y="287"/>
                  </a:lnTo>
                  <a:lnTo>
                    <a:pt x="249" y="249"/>
                  </a:lnTo>
                  <a:lnTo>
                    <a:pt x="298" y="295"/>
                  </a:lnTo>
                  <a:lnTo>
                    <a:pt x="300" y="297"/>
                  </a:lnTo>
                  <a:lnTo>
                    <a:pt x="300" y="299"/>
                  </a:lnTo>
                  <a:lnTo>
                    <a:pt x="300" y="301"/>
                  </a:lnTo>
                  <a:lnTo>
                    <a:pt x="299" y="302"/>
                  </a:lnTo>
                  <a:lnTo>
                    <a:pt x="297" y="303"/>
                  </a:lnTo>
                  <a:lnTo>
                    <a:pt x="296" y="304"/>
                  </a:lnTo>
                  <a:lnTo>
                    <a:pt x="294" y="304"/>
                  </a:lnTo>
                  <a:lnTo>
                    <a:pt x="293" y="303"/>
                  </a:lnTo>
                  <a:lnTo>
                    <a:pt x="292" y="302"/>
                  </a:lnTo>
                  <a:lnTo>
                    <a:pt x="200"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1955"/>
            <p:cNvSpPr>
              <a:spLocks noEditPoints="1"/>
            </p:cNvSpPr>
            <p:nvPr userDrawn="1"/>
          </p:nvSpPr>
          <p:spPr bwMode="auto">
            <a:xfrm>
              <a:off x="7497763" y="2867397"/>
              <a:ext cx="1082675" cy="903288"/>
            </a:xfrm>
            <a:custGeom>
              <a:avLst/>
              <a:gdLst>
                <a:gd name="T0" fmla="*/ 478 w 682"/>
                <a:gd name="T1" fmla="*/ 163 h 569"/>
                <a:gd name="T2" fmla="*/ 56 w 682"/>
                <a:gd name="T3" fmla="*/ 508 h 569"/>
                <a:gd name="T4" fmla="*/ 50 w 682"/>
                <a:gd name="T5" fmla="*/ 497 h 569"/>
                <a:gd name="T6" fmla="*/ 101 w 682"/>
                <a:gd name="T7" fmla="*/ 479 h 569"/>
                <a:gd name="T8" fmla="*/ 63 w 682"/>
                <a:gd name="T9" fmla="*/ 526 h 569"/>
                <a:gd name="T10" fmla="*/ 98 w 682"/>
                <a:gd name="T11" fmla="*/ 485 h 569"/>
                <a:gd name="T12" fmla="*/ 343 w 682"/>
                <a:gd name="T13" fmla="*/ 287 h 569"/>
                <a:gd name="T14" fmla="*/ 230 w 682"/>
                <a:gd name="T15" fmla="*/ 365 h 569"/>
                <a:gd name="T16" fmla="*/ 100 w 682"/>
                <a:gd name="T17" fmla="*/ 499 h 569"/>
                <a:gd name="T18" fmla="*/ 59 w 682"/>
                <a:gd name="T19" fmla="*/ 542 h 569"/>
                <a:gd name="T20" fmla="*/ 3 w 682"/>
                <a:gd name="T21" fmla="*/ 568 h 569"/>
                <a:gd name="T22" fmla="*/ 19 w 682"/>
                <a:gd name="T23" fmla="*/ 521 h 569"/>
                <a:gd name="T24" fmla="*/ 60 w 682"/>
                <a:gd name="T25" fmla="*/ 477 h 569"/>
                <a:gd name="T26" fmla="*/ 111 w 682"/>
                <a:gd name="T27" fmla="*/ 458 h 569"/>
                <a:gd name="T28" fmla="*/ 279 w 682"/>
                <a:gd name="T29" fmla="*/ 315 h 569"/>
                <a:gd name="T30" fmla="*/ 384 w 682"/>
                <a:gd name="T31" fmla="*/ 254 h 569"/>
                <a:gd name="T32" fmla="*/ 350 w 682"/>
                <a:gd name="T33" fmla="*/ 52 h 569"/>
                <a:gd name="T34" fmla="*/ 428 w 682"/>
                <a:gd name="T35" fmla="*/ 201 h 569"/>
                <a:gd name="T36" fmla="*/ 394 w 682"/>
                <a:gd name="T37" fmla="*/ 85 h 569"/>
                <a:gd name="T38" fmla="*/ 378 w 682"/>
                <a:gd name="T39" fmla="*/ 42 h 569"/>
                <a:gd name="T40" fmla="*/ 408 w 682"/>
                <a:gd name="T41" fmla="*/ 94 h 569"/>
                <a:gd name="T42" fmla="*/ 418 w 682"/>
                <a:gd name="T43" fmla="*/ 25 h 569"/>
                <a:gd name="T44" fmla="*/ 441 w 682"/>
                <a:gd name="T45" fmla="*/ 205 h 569"/>
                <a:gd name="T46" fmla="*/ 453 w 682"/>
                <a:gd name="T47" fmla="*/ 81 h 569"/>
                <a:gd name="T48" fmla="*/ 443 w 682"/>
                <a:gd name="T49" fmla="*/ 4 h 569"/>
                <a:gd name="T50" fmla="*/ 451 w 682"/>
                <a:gd name="T51" fmla="*/ 2 h 569"/>
                <a:gd name="T52" fmla="*/ 462 w 682"/>
                <a:gd name="T53" fmla="*/ 68 h 569"/>
                <a:gd name="T54" fmla="*/ 480 w 682"/>
                <a:gd name="T55" fmla="*/ 88 h 569"/>
                <a:gd name="T56" fmla="*/ 484 w 682"/>
                <a:gd name="T57" fmla="*/ 70 h 569"/>
                <a:gd name="T58" fmla="*/ 512 w 682"/>
                <a:gd name="T59" fmla="*/ 30 h 569"/>
                <a:gd name="T60" fmla="*/ 493 w 682"/>
                <a:gd name="T61" fmla="*/ 118 h 569"/>
                <a:gd name="T62" fmla="*/ 479 w 682"/>
                <a:gd name="T63" fmla="*/ 189 h 569"/>
                <a:gd name="T64" fmla="*/ 620 w 682"/>
                <a:gd name="T65" fmla="*/ 139 h 569"/>
                <a:gd name="T66" fmla="*/ 456 w 682"/>
                <a:gd name="T67" fmla="*/ 232 h 569"/>
                <a:gd name="T68" fmla="*/ 574 w 682"/>
                <a:gd name="T69" fmla="*/ 214 h 569"/>
                <a:gd name="T70" fmla="*/ 660 w 682"/>
                <a:gd name="T71" fmla="*/ 175 h 569"/>
                <a:gd name="T72" fmla="*/ 667 w 682"/>
                <a:gd name="T73" fmla="*/ 182 h 569"/>
                <a:gd name="T74" fmla="*/ 593 w 682"/>
                <a:gd name="T75" fmla="*/ 218 h 569"/>
                <a:gd name="T76" fmla="*/ 490 w 682"/>
                <a:gd name="T77" fmla="*/ 240 h 569"/>
                <a:gd name="T78" fmla="*/ 568 w 682"/>
                <a:gd name="T79" fmla="*/ 272 h 569"/>
                <a:gd name="T80" fmla="*/ 677 w 682"/>
                <a:gd name="T81" fmla="*/ 278 h 569"/>
                <a:gd name="T82" fmla="*/ 680 w 682"/>
                <a:gd name="T83" fmla="*/ 287 h 569"/>
                <a:gd name="T84" fmla="*/ 571 w 682"/>
                <a:gd name="T85" fmla="*/ 282 h 569"/>
                <a:gd name="T86" fmla="*/ 536 w 682"/>
                <a:gd name="T87" fmla="*/ 280 h 569"/>
                <a:gd name="T88" fmla="*/ 650 w 682"/>
                <a:gd name="T89" fmla="*/ 303 h 569"/>
                <a:gd name="T90" fmla="*/ 677 w 682"/>
                <a:gd name="T91" fmla="*/ 312 h 569"/>
                <a:gd name="T92" fmla="*/ 603 w 682"/>
                <a:gd name="T93" fmla="*/ 307 h 569"/>
                <a:gd name="T94" fmla="*/ 510 w 682"/>
                <a:gd name="T95" fmla="*/ 285 h 569"/>
                <a:gd name="T96" fmla="*/ 600 w 682"/>
                <a:gd name="T97" fmla="*/ 331 h 569"/>
                <a:gd name="T98" fmla="*/ 643 w 682"/>
                <a:gd name="T99" fmla="*/ 380 h 569"/>
                <a:gd name="T100" fmla="*/ 636 w 682"/>
                <a:gd name="T101" fmla="*/ 386 h 569"/>
                <a:gd name="T102" fmla="*/ 604 w 682"/>
                <a:gd name="T103" fmla="*/ 345 h 569"/>
                <a:gd name="T104" fmla="*/ 520 w 682"/>
                <a:gd name="T105" fmla="*/ 302 h 569"/>
                <a:gd name="T106" fmla="*/ 610 w 682"/>
                <a:gd name="T107" fmla="*/ 412 h 569"/>
                <a:gd name="T108" fmla="*/ 586 w 682"/>
                <a:gd name="T109" fmla="*/ 407 h 569"/>
                <a:gd name="T110" fmla="*/ 456 w 682"/>
                <a:gd name="T111" fmla="*/ 263 h 569"/>
                <a:gd name="T112" fmla="*/ 513 w 682"/>
                <a:gd name="T113" fmla="*/ 414 h 569"/>
                <a:gd name="T114" fmla="*/ 458 w 682"/>
                <a:gd name="T115" fmla="*/ 370 h 569"/>
                <a:gd name="T116" fmla="*/ 444 w 682"/>
                <a:gd name="T117" fmla="*/ 301 h 569"/>
                <a:gd name="T118" fmla="*/ 434 w 682"/>
                <a:gd name="T119" fmla="*/ 372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69">
                  <a:moveTo>
                    <a:pt x="452" y="215"/>
                  </a:moveTo>
                  <a:lnTo>
                    <a:pt x="458" y="207"/>
                  </a:lnTo>
                  <a:lnTo>
                    <a:pt x="463" y="199"/>
                  </a:lnTo>
                  <a:lnTo>
                    <a:pt x="468" y="190"/>
                  </a:lnTo>
                  <a:lnTo>
                    <a:pt x="472" y="182"/>
                  </a:lnTo>
                  <a:lnTo>
                    <a:pt x="476" y="172"/>
                  </a:lnTo>
                  <a:lnTo>
                    <a:pt x="478" y="163"/>
                  </a:lnTo>
                  <a:lnTo>
                    <a:pt x="481" y="153"/>
                  </a:lnTo>
                  <a:lnTo>
                    <a:pt x="482" y="143"/>
                  </a:lnTo>
                  <a:lnTo>
                    <a:pt x="483" y="133"/>
                  </a:lnTo>
                  <a:lnTo>
                    <a:pt x="484" y="124"/>
                  </a:lnTo>
                  <a:lnTo>
                    <a:pt x="452" y="215"/>
                  </a:lnTo>
                  <a:close/>
                  <a:moveTo>
                    <a:pt x="15" y="547"/>
                  </a:moveTo>
                  <a:lnTo>
                    <a:pt x="56" y="508"/>
                  </a:lnTo>
                  <a:lnTo>
                    <a:pt x="97" y="470"/>
                  </a:lnTo>
                  <a:lnTo>
                    <a:pt x="89" y="473"/>
                  </a:lnTo>
                  <a:lnTo>
                    <a:pt x="81" y="476"/>
                  </a:lnTo>
                  <a:lnTo>
                    <a:pt x="74" y="480"/>
                  </a:lnTo>
                  <a:lnTo>
                    <a:pt x="65" y="485"/>
                  </a:lnTo>
                  <a:lnTo>
                    <a:pt x="57" y="491"/>
                  </a:lnTo>
                  <a:lnTo>
                    <a:pt x="50" y="497"/>
                  </a:lnTo>
                  <a:lnTo>
                    <a:pt x="43" y="505"/>
                  </a:lnTo>
                  <a:lnTo>
                    <a:pt x="36" y="512"/>
                  </a:lnTo>
                  <a:lnTo>
                    <a:pt x="30" y="520"/>
                  </a:lnTo>
                  <a:lnTo>
                    <a:pt x="24" y="529"/>
                  </a:lnTo>
                  <a:lnTo>
                    <a:pt x="19" y="538"/>
                  </a:lnTo>
                  <a:lnTo>
                    <a:pt x="15" y="547"/>
                  </a:lnTo>
                  <a:close/>
                  <a:moveTo>
                    <a:pt x="101" y="479"/>
                  </a:moveTo>
                  <a:lnTo>
                    <a:pt x="62" y="515"/>
                  </a:lnTo>
                  <a:lnTo>
                    <a:pt x="24" y="552"/>
                  </a:lnTo>
                  <a:lnTo>
                    <a:pt x="36" y="546"/>
                  </a:lnTo>
                  <a:lnTo>
                    <a:pt x="41" y="542"/>
                  </a:lnTo>
                  <a:lnTo>
                    <a:pt x="47" y="539"/>
                  </a:lnTo>
                  <a:lnTo>
                    <a:pt x="58" y="530"/>
                  </a:lnTo>
                  <a:lnTo>
                    <a:pt x="63" y="526"/>
                  </a:lnTo>
                  <a:lnTo>
                    <a:pt x="68" y="522"/>
                  </a:lnTo>
                  <a:lnTo>
                    <a:pt x="78" y="512"/>
                  </a:lnTo>
                  <a:lnTo>
                    <a:pt x="83" y="507"/>
                  </a:lnTo>
                  <a:lnTo>
                    <a:pt x="87" y="501"/>
                  </a:lnTo>
                  <a:lnTo>
                    <a:pt x="91" y="496"/>
                  </a:lnTo>
                  <a:lnTo>
                    <a:pt x="95" y="490"/>
                  </a:lnTo>
                  <a:lnTo>
                    <a:pt x="98" y="485"/>
                  </a:lnTo>
                  <a:lnTo>
                    <a:pt x="101" y="479"/>
                  </a:lnTo>
                  <a:close/>
                  <a:moveTo>
                    <a:pt x="436" y="242"/>
                  </a:moveTo>
                  <a:lnTo>
                    <a:pt x="420" y="249"/>
                  </a:lnTo>
                  <a:lnTo>
                    <a:pt x="404" y="256"/>
                  </a:lnTo>
                  <a:lnTo>
                    <a:pt x="373" y="271"/>
                  </a:lnTo>
                  <a:lnTo>
                    <a:pt x="358" y="279"/>
                  </a:lnTo>
                  <a:lnTo>
                    <a:pt x="343" y="287"/>
                  </a:lnTo>
                  <a:lnTo>
                    <a:pt x="313" y="304"/>
                  </a:lnTo>
                  <a:lnTo>
                    <a:pt x="299" y="314"/>
                  </a:lnTo>
                  <a:lnTo>
                    <a:pt x="285" y="323"/>
                  </a:lnTo>
                  <a:lnTo>
                    <a:pt x="271" y="333"/>
                  </a:lnTo>
                  <a:lnTo>
                    <a:pt x="257" y="343"/>
                  </a:lnTo>
                  <a:lnTo>
                    <a:pt x="243" y="354"/>
                  </a:lnTo>
                  <a:lnTo>
                    <a:pt x="230" y="365"/>
                  </a:lnTo>
                  <a:lnTo>
                    <a:pt x="204" y="387"/>
                  </a:lnTo>
                  <a:lnTo>
                    <a:pt x="161" y="425"/>
                  </a:lnTo>
                  <a:lnTo>
                    <a:pt x="118" y="463"/>
                  </a:lnTo>
                  <a:lnTo>
                    <a:pt x="114" y="473"/>
                  </a:lnTo>
                  <a:lnTo>
                    <a:pt x="110" y="482"/>
                  </a:lnTo>
                  <a:lnTo>
                    <a:pt x="105" y="491"/>
                  </a:lnTo>
                  <a:lnTo>
                    <a:pt x="100" y="499"/>
                  </a:lnTo>
                  <a:lnTo>
                    <a:pt x="94" y="507"/>
                  </a:lnTo>
                  <a:lnTo>
                    <a:pt x="88" y="515"/>
                  </a:lnTo>
                  <a:lnTo>
                    <a:pt x="85" y="519"/>
                  </a:lnTo>
                  <a:lnTo>
                    <a:pt x="81" y="522"/>
                  </a:lnTo>
                  <a:lnTo>
                    <a:pt x="74" y="529"/>
                  </a:lnTo>
                  <a:lnTo>
                    <a:pt x="67" y="536"/>
                  </a:lnTo>
                  <a:lnTo>
                    <a:pt x="59" y="542"/>
                  </a:lnTo>
                  <a:lnTo>
                    <a:pt x="51" y="547"/>
                  </a:lnTo>
                  <a:lnTo>
                    <a:pt x="42" y="553"/>
                  </a:lnTo>
                  <a:lnTo>
                    <a:pt x="33" y="557"/>
                  </a:lnTo>
                  <a:lnTo>
                    <a:pt x="24" y="562"/>
                  </a:lnTo>
                  <a:lnTo>
                    <a:pt x="15" y="566"/>
                  </a:lnTo>
                  <a:lnTo>
                    <a:pt x="5" y="569"/>
                  </a:lnTo>
                  <a:lnTo>
                    <a:pt x="3" y="568"/>
                  </a:lnTo>
                  <a:lnTo>
                    <a:pt x="1" y="567"/>
                  </a:lnTo>
                  <a:lnTo>
                    <a:pt x="0" y="565"/>
                  </a:lnTo>
                  <a:lnTo>
                    <a:pt x="0" y="564"/>
                  </a:lnTo>
                  <a:lnTo>
                    <a:pt x="4" y="551"/>
                  </a:lnTo>
                  <a:lnTo>
                    <a:pt x="9" y="538"/>
                  </a:lnTo>
                  <a:lnTo>
                    <a:pt x="15" y="526"/>
                  </a:lnTo>
                  <a:lnTo>
                    <a:pt x="19" y="521"/>
                  </a:lnTo>
                  <a:lnTo>
                    <a:pt x="23" y="515"/>
                  </a:lnTo>
                  <a:lnTo>
                    <a:pt x="31" y="504"/>
                  </a:lnTo>
                  <a:lnTo>
                    <a:pt x="35" y="499"/>
                  </a:lnTo>
                  <a:lnTo>
                    <a:pt x="40" y="494"/>
                  </a:lnTo>
                  <a:lnTo>
                    <a:pt x="49" y="485"/>
                  </a:lnTo>
                  <a:lnTo>
                    <a:pt x="55" y="481"/>
                  </a:lnTo>
                  <a:lnTo>
                    <a:pt x="60" y="477"/>
                  </a:lnTo>
                  <a:lnTo>
                    <a:pt x="66" y="473"/>
                  </a:lnTo>
                  <a:lnTo>
                    <a:pt x="73" y="470"/>
                  </a:lnTo>
                  <a:lnTo>
                    <a:pt x="78" y="467"/>
                  </a:lnTo>
                  <a:lnTo>
                    <a:pt x="84" y="464"/>
                  </a:lnTo>
                  <a:lnTo>
                    <a:pt x="97" y="460"/>
                  </a:lnTo>
                  <a:lnTo>
                    <a:pt x="103" y="459"/>
                  </a:lnTo>
                  <a:lnTo>
                    <a:pt x="111" y="458"/>
                  </a:lnTo>
                  <a:lnTo>
                    <a:pt x="154" y="418"/>
                  </a:lnTo>
                  <a:lnTo>
                    <a:pt x="197" y="380"/>
                  </a:lnTo>
                  <a:lnTo>
                    <a:pt x="211" y="368"/>
                  </a:lnTo>
                  <a:lnTo>
                    <a:pt x="224" y="357"/>
                  </a:lnTo>
                  <a:lnTo>
                    <a:pt x="251" y="336"/>
                  </a:lnTo>
                  <a:lnTo>
                    <a:pt x="265" y="325"/>
                  </a:lnTo>
                  <a:lnTo>
                    <a:pt x="279" y="315"/>
                  </a:lnTo>
                  <a:lnTo>
                    <a:pt x="294" y="306"/>
                  </a:lnTo>
                  <a:lnTo>
                    <a:pt x="308" y="296"/>
                  </a:lnTo>
                  <a:lnTo>
                    <a:pt x="323" y="287"/>
                  </a:lnTo>
                  <a:lnTo>
                    <a:pt x="338" y="279"/>
                  </a:lnTo>
                  <a:lnTo>
                    <a:pt x="353" y="270"/>
                  </a:lnTo>
                  <a:lnTo>
                    <a:pt x="369" y="262"/>
                  </a:lnTo>
                  <a:lnTo>
                    <a:pt x="384" y="254"/>
                  </a:lnTo>
                  <a:lnTo>
                    <a:pt x="400" y="247"/>
                  </a:lnTo>
                  <a:lnTo>
                    <a:pt x="416" y="240"/>
                  </a:lnTo>
                  <a:lnTo>
                    <a:pt x="432" y="234"/>
                  </a:lnTo>
                  <a:lnTo>
                    <a:pt x="432" y="230"/>
                  </a:lnTo>
                  <a:lnTo>
                    <a:pt x="350" y="56"/>
                  </a:lnTo>
                  <a:lnTo>
                    <a:pt x="349" y="54"/>
                  </a:lnTo>
                  <a:lnTo>
                    <a:pt x="350" y="52"/>
                  </a:lnTo>
                  <a:lnTo>
                    <a:pt x="351" y="50"/>
                  </a:lnTo>
                  <a:lnTo>
                    <a:pt x="352" y="49"/>
                  </a:lnTo>
                  <a:lnTo>
                    <a:pt x="354" y="49"/>
                  </a:lnTo>
                  <a:lnTo>
                    <a:pt x="355" y="49"/>
                  </a:lnTo>
                  <a:lnTo>
                    <a:pt x="357" y="50"/>
                  </a:lnTo>
                  <a:lnTo>
                    <a:pt x="358" y="52"/>
                  </a:lnTo>
                  <a:lnTo>
                    <a:pt x="428" y="201"/>
                  </a:lnTo>
                  <a:lnTo>
                    <a:pt x="425" y="181"/>
                  </a:lnTo>
                  <a:lnTo>
                    <a:pt x="420" y="161"/>
                  </a:lnTo>
                  <a:lnTo>
                    <a:pt x="415" y="142"/>
                  </a:lnTo>
                  <a:lnTo>
                    <a:pt x="409" y="122"/>
                  </a:lnTo>
                  <a:lnTo>
                    <a:pt x="402" y="104"/>
                  </a:lnTo>
                  <a:lnTo>
                    <a:pt x="398" y="94"/>
                  </a:lnTo>
                  <a:lnTo>
                    <a:pt x="394" y="85"/>
                  </a:lnTo>
                  <a:lnTo>
                    <a:pt x="384" y="67"/>
                  </a:lnTo>
                  <a:lnTo>
                    <a:pt x="374" y="49"/>
                  </a:lnTo>
                  <a:lnTo>
                    <a:pt x="374" y="47"/>
                  </a:lnTo>
                  <a:lnTo>
                    <a:pt x="374" y="46"/>
                  </a:lnTo>
                  <a:lnTo>
                    <a:pt x="375" y="44"/>
                  </a:lnTo>
                  <a:lnTo>
                    <a:pt x="376" y="43"/>
                  </a:lnTo>
                  <a:lnTo>
                    <a:pt x="378" y="42"/>
                  </a:lnTo>
                  <a:lnTo>
                    <a:pt x="379" y="42"/>
                  </a:lnTo>
                  <a:lnTo>
                    <a:pt x="381" y="43"/>
                  </a:lnTo>
                  <a:lnTo>
                    <a:pt x="383" y="44"/>
                  </a:lnTo>
                  <a:lnTo>
                    <a:pt x="389" y="56"/>
                  </a:lnTo>
                  <a:lnTo>
                    <a:pt x="396" y="69"/>
                  </a:lnTo>
                  <a:lnTo>
                    <a:pt x="402" y="81"/>
                  </a:lnTo>
                  <a:lnTo>
                    <a:pt x="408" y="94"/>
                  </a:lnTo>
                  <a:lnTo>
                    <a:pt x="413" y="106"/>
                  </a:lnTo>
                  <a:lnTo>
                    <a:pt x="418" y="119"/>
                  </a:lnTo>
                  <a:lnTo>
                    <a:pt x="426" y="145"/>
                  </a:lnTo>
                  <a:lnTo>
                    <a:pt x="415" y="30"/>
                  </a:lnTo>
                  <a:lnTo>
                    <a:pt x="416" y="28"/>
                  </a:lnTo>
                  <a:lnTo>
                    <a:pt x="416" y="26"/>
                  </a:lnTo>
                  <a:lnTo>
                    <a:pt x="418" y="25"/>
                  </a:lnTo>
                  <a:lnTo>
                    <a:pt x="420" y="25"/>
                  </a:lnTo>
                  <a:lnTo>
                    <a:pt x="421" y="25"/>
                  </a:lnTo>
                  <a:lnTo>
                    <a:pt x="423" y="25"/>
                  </a:lnTo>
                  <a:lnTo>
                    <a:pt x="424" y="26"/>
                  </a:lnTo>
                  <a:lnTo>
                    <a:pt x="424" y="27"/>
                  </a:lnTo>
                  <a:lnTo>
                    <a:pt x="425" y="29"/>
                  </a:lnTo>
                  <a:lnTo>
                    <a:pt x="441" y="205"/>
                  </a:lnTo>
                  <a:lnTo>
                    <a:pt x="446" y="180"/>
                  </a:lnTo>
                  <a:lnTo>
                    <a:pt x="450" y="155"/>
                  </a:lnTo>
                  <a:lnTo>
                    <a:pt x="452" y="131"/>
                  </a:lnTo>
                  <a:lnTo>
                    <a:pt x="453" y="118"/>
                  </a:lnTo>
                  <a:lnTo>
                    <a:pt x="453" y="106"/>
                  </a:lnTo>
                  <a:lnTo>
                    <a:pt x="453" y="94"/>
                  </a:lnTo>
                  <a:lnTo>
                    <a:pt x="453" y="81"/>
                  </a:lnTo>
                  <a:lnTo>
                    <a:pt x="452" y="69"/>
                  </a:lnTo>
                  <a:lnTo>
                    <a:pt x="451" y="57"/>
                  </a:lnTo>
                  <a:lnTo>
                    <a:pt x="450" y="44"/>
                  </a:lnTo>
                  <a:lnTo>
                    <a:pt x="448" y="32"/>
                  </a:lnTo>
                  <a:lnTo>
                    <a:pt x="446" y="19"/>
                  </a:lnTo>
                  <a:lnTo>
                    <a:pt x="443" y="7"/>
                  </a:lnTo>
                  <a:lnTo>
                    <a:pt x="443" y="4"/>
                  </a:lnTo>
                  <a:lnTo>
                    <a:pt x="443" y="3"/>
                  </a:lnTo>
                  <a:lnTo>
                    <a:pt x="444" y="2"/>
                  </a:lnTo>
                  <a:lnTo>
                    <a:pt x="445" y="1"/>
                  </a:lnTo>
                  <a:lnTo>
                    <a:pt x="446" y="0"/>
                  </a:lnTo>
                  <a:lnTo>
                    <a:pt x="448" y="0"/>
                  </a:lnTo>
                  <a:lnTo>
                    <a:pt x="450" y="0"/>
                  </a:lnTo>
                  <a:lnTo>
                    <a:pt x="451" y="2"/>
                  </a:lnTo>
                  <a:lnTo>
                    <a:pt x="452" y="2"/>
                  </a:lnTo>
                  <a:lnTo>
                    <a:pt x="452" y="4"/>
                  </a:lnTo>
                  <a:lnTo>
                    <a:pt x="454" y="15"/>
                  </a:lnTo>
                  <a:lnTo>
                    <a:pt x="456" y="26"/>
                  </a:lnTo>
                  <a:lnTo>
                    <a:pt x="460" y="47"/>
                  </a:lnTo>
                  <a:lnTo>
                    <a:pt x="461" y="57"/>
                  </a:lnTo>
                  <a:lnTo>
                    <a:pt x="462" y="68"/>
                  </a:lnTo>
                  <a:lnTo>
                    <a:pt x="463" y="89"/>
                  </a:lnTo>
                  <a:lnTo>
                    <a:pt x="463" y="109"/>
                  </a:lnTo>
                  <a:lnTo>
                    <a:pt x="462" y="130"/>
                  </a:lnTo>
                  <a:lnTo>
                    <a:pt x="460" y="151"/>
                  </a:lnTo>
                  <a:lnTo>
                    <a:pt x="457" y="172"/>
                  </a:lnTo>
                  <a:lnTo>
                    <a:pt x="482" y="100"/>
                  </a:lnTo>
                  <a:lnTo>
                    <a:pt x="480" y="88"/>
                  </a:lnTo>
                  <a:lnTo>
                    <a:pt x="476" y="75"/>
                  </a:lnTo>
                  <a:lnTo>
                    <a:pt x="476" y="73"/>
                  </a:lnTo>
                  <a:lnTo>
                    <a:pt x="476" y="71"/>
                  </a:lnTo>
                  <a:lnTo>
                    <a:pt x="478" y="70"/>
                  </a:lnTo>
                  <a:lnTo>
                    <a:pt x="479" y="69"/>
                  </a:lnTo>
                  <a:lnTo>
                    <a:pt x="483" y="69"/>
                  </a:lnTo>
                  <a:lnTo>
                    <a:pt x="484" y="70"/>
                  </a:lnTo>
                  <a:lnTo>
                    <a:pt x="485" y="72"/>
                  </a:lnTo>
                  <a:lnTo>
                    <a:pt x="488" y="83"/>
                  </a:lnTo>
                  <a:lnTo>
                    <a:pt x="506" y="33"/>
                  </a:lnTo>
                  <a:lnTo>
                    <a:pt x="507" y="31"/>
                  </a:lnTo>
                  <a:lnTo>
                    <a:pt x="509" y="30"/>
                  </a:lnTo>
                  <a:lnTo>
                    <a:pt x="510" y="29"/>
                  </a:lnTo>
                  <a:lnTo>
                    <a:pt x="512" y="30"/>
                  </a:lnTo>
                  <a:lnTo>
                    <a:pt x="514" y="31"/>
                  </a:lnTo>
                  <a:lnTo>
                    <a:pt x="515" y="32"/>
                  </a:lnTo>
                  <a:lnTo>
                    <a:pt x="515" y="34"/>
                  </a:lnTo>
                  <a:lnTo>
                    <a:pt x="515" y="36"/>
                  </a:lnTo>
                  <a:lnTo>
                    <a:pt x="492" y="102"/>
                  </a:lnTo>
                  <a:lnTo>
                    <a:pt x="493" y="113"/>
                  </a:lnTo>
                  <a:lnTo>
                    <a:pt x="493" y="118"/>
                  </a:lnTo>
                  <a:lnTo>
                    <a:pt x="493" y="124"/>
                  </a:lnTo>
                  <a:lnTo>
                    <a:pt x="493" y="135"/>
                  </a:lnTo>
                  <a:lnTo>
                    <a:pt x="492" y="146"/>
                  </a:lnTo>
                  <a:lnTo>
                    <a:pt x="490" y="157"/>
                  </a:lnTo>
                  <a:lnTo>
                    <a:pt x="487" y="168"/>
                  </a:lnTo>
                  <a:lnTo>
                    <a:pt x="483" y="179"/>
                  </a:lnTo>
                  <a:lnTo>
                    <a:pt x="479" y="189"/>
                  </a:lnTo>
                  <a:lnTo>
                    <a:pt x="475" y="197"/>
                  </a:lnTo>
                  <a:lnTo>
                    <a:pt x="471" y="205"/>
                  </a:lnTo>
                  <a:lnTo>
                    <a:pt x="467" y="212"/>
                  </a:lnTo>
                  <a:lnTo>
                    <a:pt x="462" y="218"/>
                  </a:lnTo>
                  <a:lnTo>
                    <a:pt x="616" y="139"/>
                  </a:lnTo>
                  <a:lnTo>
                    <a:pt x="618" y="139"/>
                  </a:lnTo>
                  <a:lnTo>
                    <a:pt x="620" y="139"/>
                  </a:lnTo>
                  <a:lnTo>
                    <a:pt x="622" y="140"/>
                  </a:lnTo>
                  <a:lnTo>
                    <a:pt x="623" y="141"/>
                  </a:lnTo>
                  <a:lnTo>
                    <a:pt x="623" y="143"/>
                  </a:lnTo>
                  <a:lnTo>
                    <a:pt x="623" y="145"/>
                  </a:lnTo>
                  <a:lnTo>
                    <a:pt x="622" y="146"/>
                  </a:lnTo>
                  <a:lnTo>
                    <a:pt x="621" y="148"/>
                  </a:lnTo>
                  <a:lnTo>
                    <a:pt x="456" y="232"/>
                  </a:lnTo>
                  <a:lnTo>
                    <a:pt x="469" y="232"/>
                  </a:lnTo>
                  <a:lnTo>
                    <a:pt x="483" y="231"/>
                  </a:lnTo>
                  <a:lnTo>
                    <a:pt x="496" y="230"/>
                  </a:lnTo>
                  <a:lnTo>
                    <a:pt x="509" y="228"/>
                  </a:lnTo>
                  <a:lnTo>
                    <a:pt x="536" y="224"/>
                  </a:lnTo>
                  <a:lnTo>
                    <a:pt x="562" y="217"/>
                  </a:lnTo>
                  <a:lnTo>
                    <a:pt x="574" y="214"/>
                  </a:lnTo>
                  <a:lnTo>
                    <a:pt x="587" y="210"/>
                  </a:lnTo>
                  <a:lnTo>
                    <a:pt x="600" y="205"/>
                  </a:lnTo>
                  <a:lnTo>
                    <a:pt x="612" y="200"/>
                  </a:lnTo>
                  <a:lnTo>
                    <a:pt x="624" y="194"/>
                  </a:lnTo>
                  <a:lnTo>
                    <a:pt x="637" y="188"/>
                  </a:lnTo>
                  <a:lnTo>
                    <a:pt x="649" y="182"/>
                  </a:lnTo>
                  <a:lnTo>
                    <a:pt x="660" y="175"/>
                  </a:lnTo>
                  <a:lnTo>
                    <a:pt x="662" y="174"/>
                  </a:lnTo>
                  <a:lnTo>
                    <a:pt x="664" y="175"/>
                  </a:lnTo>
                  <a:lnTo>
                    <a:pt x="666" y="175"/>
                  </a:lnTo>
                  <a:lnTo>
                    <a:pt x="667" y="177"/>
                  </a:lnTo>
                  <a:lnTo>
                    <a:pt x="668" y="178"/>
                  </a:lnTo>
                  <a:lnTo>
                    <a:pt x="668" y="180"/>
                  </a:lnTo>
                  <a:lnTo>
                    <a:pt x="667" y="182"/>
                  </a:lnTo>
                  <a:lnTo>
                    <a:pt x="665" y="183"/>
                  </a:lnTo>
                  <a:lnTo>
                    <a:pt x="654" y="190"/>
                  </a:lnTo>
                  <a:lnTo>
                    <a:pt x="642" y="196"/>
                  </a:lnTo>
                  <a:lnTo>
                    <a:pt x="630" y="202"/>
                  </a:lnTo>
                  <a:lnTo>
                    <a:pt x="618" y="208"/>
                  </a:lnTo>
                  <a:lnTo>
                    <a:pt x="605" y="213"/>
                  </a:lnTo>
                  <a:lnTo>
                    <a:pt x="593" y="218"/>
                  </a:lnTo>
                  <a:lnTo>
                    <a:pt x="581" y="222"/>
                  </a:lnTo>
                  <a:lnTo>
                    <a:pt x="568" y="226"/>
                  </a:lnTo>
                  <a:lnTo>
                    <a:pt x="555" y="229"/>
                  </a:lnTo>
                  <a:lnTo>
                    <a:pt x="542" y="232"/>
                  </a:lnTo>
                  <a:lnTo>
                    <a:pt x="529" y="234"/>
                  </a:lnTo>
                  <a:lnTo>
                    <a:pt x="516" y="237"/>
                  </a:lnTo>
                  <a:lnTo>
                    <a:pt x="490" y="240"/>
                  </a:lnTo>
                  <a:lnTo>
                    <a:pt x="463" y="241"/>
                  </a:lnTo>
                  <a:lnTo>
                    <a:pt x="489" y="251"/>
                  </a:lnTo>
                  <a:lnTo>
                    <a:pt x="515" y="259"/>
                  </a:lnTo>
                  <a:lnTo>
                    <a:pt x="528" y="263"/>
                  </a:lnTo>
                  <a:lnTo>
                    <a:pt x="541" y="266"/>
                  </a:lnTo>
                  <a:lnTo>
                    <a:pt x="554" y="269"/>
                  </a:lnTo>
                  <a:lnTo>
                    <a:pt x="568" y="272"/>
                  </a:lnTo>
                  <a:lnTo>
                    <a:pt x="581" y="274"/>
                  </a:lnTo>
                  <a:lnTo>
                    <a:pt x="594" y="276"/>
                  </a:lnTo>
                  <a:lnTo>
                    <a:pt x="608" y="277"/>
                  </a:lnTo>
                  <a:lnTo>
                    <a:pt x="621" y="278"/>
                  </a:lnTo>
                  <a:lnTo>
                    <a:pt x="649" y="279"/>
                  </a:lnTo>
                  <a:lnTo>
                    <a:pt x="663" y="279"/>
                  </a:lnTo>
                  <a:lnTo>
                    <a:pt x="677" y="278"/>
                  </a:lnTo>
                  <a:lnTo>
                    <a:pt x="679" y="279"/>
                  </a:lnTo>
                  <a:lnTo>
                    <a:pt x="681" y="280"/>
                  </a:lnTo>
                  <a:lnTo>
                    <a:pt x="682" y="281"/>
                  </a:lnTo>
                  <a:lnTo>
                    <a:pt x="682" y="283"/>
                  </a:lnTo>
                  <a:lnTo>
                    <a:pt x="682" y="284"/>
                  </a:lnTo>
                  <a:lnTo>
                    <a:pt x="681" y="286"/>
                  </a:lnTo>
                  <a:lnTo>
                    <a:pt x="680" y="287"/>
                  </a:lnTo>
                  <a:lnTo>
                    <a:pt x="678" y="288"/>
                  </a:lnTo>
                  <a:lnTo>
                    <a:pt x="653" y="289"/>
                  </a:lnTo>
                  <a:lnTo>
                    <a:pt x="630" y="288"/>
                  </a:lnTo>
                  <a:lnTo>
                    <a:pt x="618" y="288"/>
                  </a:lnTo>
                  <a:lnTo>
                    <a:pt x="606" y="287"/>
                  </a:lnTo>
                  <a:lnTo>
                    <a:pt x="583" y="284"/>
                  </a:lnTo>
                  <a:lnTo>
                    <a:pt x="571" y="282"/>
                  </a:lnTo>
                  <a:lnTo>
                    <a:pt x="560" y="280"/>
                  </a:lnTo>
                  <a:lnTo>
                    <a:pt x="537" y="275"/>
                  </a:lnTo>
                  <a:lnTo>
                    <a:pt x="515" y="269"/>
                  </a:lnTo>
                  <a:lnTo>
                    <a:pt x="492" y="262"/>
                  </a:lnTo>
                  <a:lnTo>
                    <a:pt x="503" y="267"/>
                  </a:lnTo>
                  <a:lnTo>
                    <a:pt x="514" y="271"/>
                  </a:lnTo>
                  <a:lnTo>
                    <a:pt x="536" y="280"/>
                  </a:lnTo>
                  <a:lnTo>
                    <a:pt x="558" y="287"/>
                  </a:lnTo>
                  <a:lnTo>
                    <a:pt x="580" y="293"/>
                  </a:lnTo>
                  <a:lnTo>
                    <a:pt x="592" y="295"/>
                  </a:lnTo>
                  <a:lnTo>
                    <a:pt x="603" y="298"/>
                  </a:lnTo>
                  <a:lnTo>
                    <a:pt x="615" y="300"/>
                  </a:lnTo>
                  <a:lnTo>
                    <a:pt x="626" y="301"/>
                  </a:lnTo>
                  <a:lnTo>
                    <a:pt x="650" y="303"/>
                  </a:lnTo>
                  <a:lnTo>
                    <a:pt x="673" y="304"/>
                  </a:lnTo>
                  <a:lnTo>
                    <a:pt x="675" y="305"/>
                  </a:lnTo>
                  <a:lnTo>
                    <a:pt x="677" y="306"/>
                  </a:lnTo>
                  <a:lnTo>
                    <a:pt x="678" y="307"/>
                  </a:lnTo>
                  <a:lnTo>
                    <a:pt x="678" y="309"/>
                  </a:lnTo>
                  <a:lnTo>
                    <a:pt x="678" y="311"/>
                  </a:lnTo>
                  <a:lnTo>
                    <a:pt x="677" y="312"/>
                  </a:lnTo>
                  <a:lnTo>
                    <a:pt x="675" y="313"/>
                  </a:lnTo>
                  <a:lnTo>
                    <a:pt x="673" y="314"/>
                  </a:lnTo>
                  <a:lnTo>
                    <a:pt x="661" y="314"/>
                  </a:lnTo>
                  <a:lnTo>
                    <a:pt x="650" y="313"/>
                  </a:lnTo>
                  <a:lnTo>
                    <a:pt x="626" y="311"/>
                  </a:lnTo>
                  <a:lnTo>
                    <a:pt x="615" y="309"/>
                  </a:lnTo>
                  <a:lnTo>
                    <a:pt x="603" y="307"/>
                  </a:lnTo>
                  <a:lnTo>
                    <a:pt x="592" y="305"/>
                  </a:lnTo>
                  <a:lnTo>
                    <a:pt x="580" y="303"/>
                  </a:lnTo>
                  <a:lnTo>
                    <a:pt x="558" y="297"/>
                  </a:lnTo>
                  <a:lnTo>
                    <a:pt x="535" y="290"/>
                  </a:lnTo>
                  <a:lnTo>
                    <a:pt x="514" y="282"/>
                  </a:lnTo>
                  <a:lnTo>
                    <a:pt x="492" y="272"/>
                  </a:lnTo>
                  <a:lnTo>
                    <a:pt x="510" y="285"/>
                  </a:lnTo>
                  <a:lnTo>
                    <a:pt x="529" y="297"/>
                  </a:lnTo>
                  <a:lnTo>
                    <a:pt x="547" y="307"/>
                  </a:lnTo>
                  <a:lnTo>
                    <a:pt x="556" y="312"/>
                  </a:lnTo>
                  <a:lnTo>
                    <a:pt x="565" y="316"/>
                  </a:lnTo>
                  <a:lnTo>
                    <a:pt x="578" y="321"/>
                  </a:lnTo>
                  <a:lnTo>
                    <a:pt x="589" y="325"/>
                  </a:lnTo>
                  <a:lnTo>
                    <a:pt x="600" y="331"/>
                  </a:lnTo>
                  <a:lnTo>
                    <a:pt x="606" y="335"/>
                  </a:lnTo>
                  <a:lnTo>
                    <a:pt x="611" y="339"/>
                  </a:lnTo>
                  <a:lnTo>
                    <a:pt x="621" y="349"/>
                  </a:lnTo>
                  <a:lnTo>
                    <a:pt x="625" y="353"/>
                  </a:lnTo>
                  <a:lnTo>
                    <a:pt x="629" y="358"/>
                  </a:lnTo>
                  <a:lnTo>
                    <a:pt x="636" y="368"/>
                  </a:lnTo>
                  <a:lnTo>
                    <a:pt x="643" y="380"/>
                  </a:lnTo>
                  <a:lnTo>
                    <a:pt x="644" y="382"/>
                  </a:lnTo>
                  <a:lnTo>
                    <a:pt x="643" y="384"/>
                  </a:lnTo>
                  <a:lnTo>
                    <a:pt x="642" y="386"/>
                  </a:lnTo>
                  <a:lnTo>
                    <a:pt x="641" y="387"/>
                  </a:lnTo>
                  <a:lnTo>
                    <a:pt x="639" y="387"/>
                  </a:lnTo>
                  <a:lnTo>
                    <a:pt x="637" y="387"/>
                  </a:lnTo>
                  <a:lnTo>
                    <a:pt x="636" y="386"/>
                  </a:lnTo>
                  <a:lnTo>
                    <a:pt x="635" y="385"/>
                  </a:lnTo>
                  <a:lnTo>
                    <a:pt x="629" y="375"/>
                  </a:lnTo>
                  <a:lnTo>
                    <a:pt x="624" y="367"/>
                  </a:lnTo>
                  <a:lnTo>
                    <a:pt x="618" y="359"/>
                  </a:lnTo>
                  <a:lnTo>
                    <a:pt x="614" y="355"/>
                  </a:lnTo>
                  <a:lnTo>
                    <a:pt x="611" y="352"/>
                  </a:lnTo>
                  <a:lnTo>
                    <a:pt x="604" y="345"/>
                  </a:lnTo>
                  <a:lnTo>
                    <a:pt x="596" y="340"/>
                  </a:lnTo>
                  <a:lnTo>
                    <a:pt x="587" y="335"/>
                  </a:lnTo>
                  <a:lnTo>
                    <a:pt x="577" y="330"/>
                  </a:lnTo>
                  <a:lnTo>
                    <a:pt x="561" y="324"/>
                  </a:lnTo>
                  <a:lnTo>
                    <a:pt x="553" y="320"/>
                  </a:lnTo>
                  <a:lnTo>
                    <a:pt x="545" y="316"/>
                  </a:lnTo>
                  <a:lnTo>
                    <a:pt x="520" y="302"/>
                  </a:lnTo>
                  <a:lnTo>
                    <a:pt x="498" y="288"/>
                  </a:lnTo>
                  <a:lnTo>
                    <a:pt x="612" y="404"/>
                  </a:lnTo>
                  <a:lnTo>
                    <a:pt x="613" y="406"/>
                  </a:lnTo>
                  <a:lnTo>
                    <a:pt x="613" y="407"/>
                  </a:lnTo>
                  <a:lnTo>
                    <a:pt x="613" y="409"/>
                  </a:lnTo>
                  <a:lnTo>
                    <a:pt x="612" y="411"/>
                  </a:lnTo>
                  <a:lnTo>
                    <a:pt x="610" y="412"/>
                  </a:lnTo>
                  <a:lnTo>
                    <a:pt x="609" y="412"/>
                  </a:lnTo>
                  <a:lnTo>
                    <a:pt x="607" y="412"/>
                  </a:lnTo>
                  <a:lnTo>
                    <a:pt x="605" y="411"/>
                  </a:lnTo>
                  <a:lnTo>
                    <a:pt x="515" y="319"/>
                  </a:lnTo>
                  <a:lnTo>
                    <a:pt x="585" y="403"/>
                  </a:lnTo>
                  <a:lnTo>
                    <a:pt x="586" y="405"/>
                  </a:lnTo>
                  <a:lnTo>
                    <a:pt x="586" y="407"/>
                  </a:lnTo>
                  <a:lnTo>
                    <a:pt x="586" y="409"/>
                  </a:lnTo>
                  <a:lnTo>
                    <a:pt x="584" y="410"/>
                  </a:lnTo>
                  <a:lnTo>
                    <a:pt x="583" y="411"/>
                  </a:lnTo>
                  <a:lnTo>
                    <a:pt x="581" y="411"/>
                  </a:lnTo>
                  <a:lnTo>
                    <a:pt x="579" y="411"/>
                  </a:lnTo>
                  <a:lnTo>
                    <a:pt x="578" y="409"/>
                  </a:lnTo>
                  <a:lnTo>
                    <a:pt x="456" y="263"/>
                  </a:lnTo>
                  <a:lnTo>
                    <a:pt x="519" y="407"/>
                  </a:lnTo>
                  <a:lnTo>
                    <a:pt x="519" y="410"/>
                  </a:lnTo>
                  <a:lnTo>
                    <a:pt x="519" y="411"/>
                  </a:lnTo>
                  <a:lnTo>
                    <a:pt x="518" y="413"/>
                  </a:lnTo>
                  <a:lnTo>
                    <a:pt x="516" y="414"/>
                  </a:lnTo>
                  <a:lnTo>
                    <a:pt x="515" y="414"/>
                  </a:lnTo>
                  <a:lnTo>
                    <a:pt x="513" y="414"/>
                  </a:lnTo>
                  <a:lnTo>
                    <a:pt x="511" y="413"/>
                  </a:lnTo>
                  <a:lnTo>
                    <a:pt x="510" y="411"/>
                  </a:lnTo>
                  <a:lnTo>
                    <a:pt x="450" y="272"/>
                  </a:lnTo>
                  <a:lnTo>
                    <a:pt x="461" y="366"/>
                  </a:lnTo>
                  <a:lnTo>
                    <a:pt x="461" y="368"/>
                  </a:lnTo>
                  <a:lnTo>
                    <a:pt x="460" y="369"/>
                  </a:lnTo>
                  <a:lnTo>
                    <a:pt x="458" y="370"/>
                  </a:lnTo>
                  <a:lnTo>
                    <a:pt x="457" y="371"/>
                  </a:lnTo>
                  <a:lnTo>
                    <a:pt x="455" y="371"/>
                  </a:lnTo>
                  <a:lnTo>
                    <a:pt x="454" y="371"/>
                  </a:lnTo>
                  <a:lnTo>
                    <a:pt x="453" y="370"/>
                  </a:lnTo>
                  <a:lnTo>
                    <a:pt x="452" y="369"/>
                  </a:lnTo>
                  <a:lnTo>
                    <a:pt x="451" y="367"/>
                  </a:lnTo>
                  <a:lnTo>
                    <a:pt x="444" y="301"/>
                  </a:lnTo>
                  <a:lnTo>
                    <a:pt x="442" y="369"/>
                  </a:lnTo>
                  <a:lnTo>
                    <a:pt x="442" y="371"/>
                  </a:lnTo>
                  <a:lnTo>
                    <a:pt x="441" y="373"/>
                  </a:lnTo>
                  <a:lnTo>
                    <a:pt x="439" y="373"/>
                  </a:lnTo>
                  <a:lnTo>
                    <a:pt x="437" y="374"/>
                  </a:lnTo>
                  <a:lnTo>
                    <a:pt x="436" y="373"/>
                  </a:lnTo>
                  <a:lnTo>
                    <a:pt x="434" y="372"/>
                  </a:lnTo>
                  <a:lnTo>
                    <a:pt x="433" y="371"/>
                  </a:lnTo>
                  <a:lnTo>
                    <a:pt x="433" y="370"/>
                  </a:lnTo>
                  <a:lnTo>
                    <a:pt x="433" y="369"/>
                  </a:lnTo>
                  <a:lnTo>
                    <a:pt x="43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8" name="Freeform 1956"/>
            <p:cNvSpPr>
              <a:spLocks noEditPoints="1"/>
            </p:cNvSpPr>
            <p:nvPr userDrawn="1"/>
          </p:nvSpPr>
          <p:spPr bwMode="auto">
            <a:xfrm>
              <a:off x="6311900" y="3792538"/>
              <a:ext cx="1062038" cy="923925"/>
            </a:xfrm>
            <a:custGeom>
              <a:avLst/>
              <a:gdLst>
                <a:gd name="T0" fmla="*/ 148 w 669"/>
                <a:gd name="T1" fmla="*/ 232 h 582"/>
                <a:gd name="T2" fmla="*/ 594 w 669"/>
                <a:gd name="T3" fmla="*/ 543 h 582"/>
                <a:gd name="T4" fmla="*/ 587 w 669"/>
                <a:gd name="T5" fmla="*/ 553 h 582"/>
                <a:gd name="T6" fmla="*/ 555 w 669"/>
                <a:gd name="T7" fmla="*/ 508 h 582"/>
                <a:gd name="T8" fmla="*/ 622 w 669"/>
                <a:gd name="T9" fmla="*/ 540 h 582"/>
                <a:gd name="T10" fmla="*/ 568 w 669"/>
                <a:gd name="T11" fmla="*/ 512 h 582"/>
                <a:gd name="T12" fmla="*/ 284 w 669"/>
                <a:gd name="T13" fmla="*/ 308 h 582"/>
                <a:gd name="T14" fmla="*/ 409 w 669"/>
                <a:gd name="T15" fmla="*/ 415 h 582"/>
                <a:gd name="T16" fmla="*/ 556 w 669"/>
                <a:gd name="T17" fmla="*/ 499 h 582"/>
                <a:gd name="T18" fmla="*/ 619 w 669"/>
                <a:gd name="T19" fmla="*/ 526 h 582"/>
                <a:gd name="T20" fmla="*/ 669 w 669"/>
                <a:gd name="T21" fmla="*/ 576 h 582"/>
                <a:gd name="T22" fmla="*/ 645 w 669"/>
                <a:gd name="T23" fmla="*/ 581 h 582"/>
                <a:gd name="T24" fmla="*/ 587 w 669"/>
                <a:gd name="T25" fmla="*/ 564 h 582"/>
                <a:gd name="T26" fmla="*/ 539 w 669"/>
                <a:gd name="T27" fmla="*/ 518 h 582"/>
                <a:gd name="T28" fmla="*/ 403 w 669"/>
                <a:gd name="T29" fmla="*/ 422 h 582"/>
                <a:gd name="T30" fmla="*/ 277 w 669"/>
                <a:gd name="T31" fmla="*/ 314 h 582"/>
                <a:gd name="T32" fmla="*/ 78 w 669"/>
                <a:gd name="T33" fmla="*/ 386 h 582"/>
                <a:gd name="T34" fmla="*/ 74 w 669"/>
                <a:gd name="T35" fmla="*/ 378 h 582"/>
                <a:gd name="T36" fmla="*/ 112 w 669"/>
                <a:gd name="T37" fmla="*/ 322 h 582"/>
                <a:gd name="T38" fmla="*/ 60 w 669"/>
                <a:gd name="T39" fmla="*/ 364 h 582"/>
                <a:gd name="T40" fmla="*/ 90 w 669"/>
                <a:gd name="T41" fmla="*/ 328 h 582"/>
                <a:gd name="T42" fmla="*/ 36 w 669"/>
                <a:gd name="T43" fmla="*/ 330 h 582"/>
                <a:gd name="T44" fmla="*/ 32 w 669"/>
                <a:gd name="T45" fmla="*/ 322 h 582"/>
                <a:gd name="T46" fmla="*/ 124 w 669"/>
                <a:gd name="T47" fmla="*/ 266 h 582"/>
                <a:gd name="T48" fmla="*/ 41 w 669"/>
                <a:gd name="T49" fmla="*/ 292 h 582"/>
                <a:gd name="T50" fmla="*/ 1 w 669"/>
                <a:gd name="T51" fmla="*/ 307 h 582"/>
                <a:gd name="T52" fmla="*/ 51 w 669"/>
                <a:gd name="T53" fmla="*/ 278 h 582"/>
                <a:gd name="T54" fmla="*/ 86 w 669"/>
                <a:gd name="T55" fmla="*/ 246 h 582"/>
                <a:gd name="T56" fmla="*/ 57 w 669"/>
                <a:gd name="T57" fmla="*/ 257 h 582"/>
                <a:gd name="T58" fmla="*/ 13 w 669"/>
                <a:gd name="T59" fmla="*/ 241 h 582"/>
                <a:gd name="T60" fmla="*/ 15 w 669"/>
                <a:gd name="T61" fmla="*/ 232 h 582"/>
                <a:gd name="T62" fmla="*/ 150 w 669"/>
                <a:gd name="T63" fmla="*/ 222 h 582"/>
                <a:gd name="T64" fmla="*/ 87 w 669"/>
                <a:gd name="T65" fmla="*/ 106 h 582"/>
                <a:gd name="T66" fmla="*/ 92 w 669"/>
                <a:gd name="T67" fmla="*/ 98 h 582"/>
                <a:gd name="T68" fmla="*/ 196 w 669"/>
                <a:gd name="T69" fmla="*/ 172 h 582"/>
                <a:gd name="T70" fmla="*/ 146 w 669"/>
                <a:gd name="T71" fmla="*/ 93 h 582"/>
                <a:gd name="T72" fmla="*/ 108 w 669"/>
                <a:gd name="T73" fmla="*/ 48 h 582"/>
                <a:gd name="T74" fmla="*/ 135 w 669"/>
                <a:gd name="T75" fmla="*/ 66 h 582"/>
                <a:gd name="T76" fmla="*/ 190 w 669"/>
                <a:gd name="T77" fmla="*/ 140 h 582"/>
                <a:gd name="T78" fmla="*/ 229 w 669"/>
                <a:gd name="T79" fmla="*/ 197 h 582"/>
                <a:gd name="T80" fmla="*/ 224 w 669"/>
                <a:gd name="T81" fmla="*/ 89 h 582"/>
                <a:gd name="T82" fmla="*/ 204 w 669"/>
                <a:gd name="T83" fmla="*/ 5 h 582"/>
                <a:gd name="T84" fmla="*/ 220 w 669"/>
                <a:gd name="T85" fmla="*/ 29 h 582"/>
                <a:gd name="T86" fmla="*/ 239 w 669"/>
                <a:gd name="T87" fmla="*/ 145 h 582"/>
                <a:gd name="T88" fmla="*/ 244 w 669"/>
                <a:gd name="T89" fmla="*/ 98 h 582"/>
                <a:gd name="T90" fmla="*/ 230 w 669"/>
                <a:gd name="T91" fmla="*/ 2 h 582"/>
                <a:gd name="T92" fmla="*/ 242 w 669"/>
                <a:gd name="T93" fmla="*/ 14 h 582"/>
                <a:gd name="T94" fmla="*/ 254 w 669"/>
                <a:gd name="T95" fmla="*/ 107 h 582"/>
                <a:gd name="T96" fmla="*/ 260 w 669"/>
                <a:gd name="T97" fmla="*/ 152 h 582"/>
                <a:gd name="T98" fmla="*/ 273 w 669"/>
                <a:gd name="T99" fmla="*/ 79 h 582"/>
                <a:gd name="T100" fmla="*/ 311 w 669"/>
                <a:gd name="T101" fmla="*/ 14 h 582"/>
                <a:gd name="T102" fmla="*/ 319 w 669"/>
                <a:gd name="T103" fmla="*/ 19 h 582"/>
                <a:gd name="T104" fmla="*/ 285 w 669"/>
                <a:gd name="T105" fmla="*/ 71 h 582"/>
                <a:gd name="T106" fmla="*/ 272 w 669"/>
                <a:gd name="T107" fmla="*/ 147 h 582"/>
                <a:gd name="T108" fmla="*/ 347 w 669"/>
                <a:gd name="T109" fmla="*/ 35 h 582"/>
                <a:gd name="T110" fmla="*/ 349 w 669"/>
                <a:gd name="T111" fmla="*/ 63 h 582"/>
                <a:gd name="T112" fmla="*/ 358 w 669"/>
                <a:gd name="T113" fmla="*/ 67 h 582"/>
                <a:gd name="T114" fmla="*/ 378 w 669"/>
                <a:gd name="T115" fmla="*/ 126 h 582"/>
                <a:gd name="T116" fmla="*/ 349 w 669"/>
                <a:gd name="T117" fmla="*/ 192 h 582"/>
                <a:gd name="T118" fmla="*/ 351 w 669"/>
                <a:gd name="T119" fmla="*/ 202 h 582"/>
                <a:gd name="T120" fmla="*/ 362 w 669"/>
                <a:gd name="T121" fmla="*/ 21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9" h="582">
                  <a:moveTo>
                    <a:pt x="205" y="243"/>
                  </a:moveTo>
                  <a:lnTo>
                    <a:pt x="196" y="239"/>
                  </a:lnTo>
                  <a:lnTo>
                    <a:pt x="186" y="236"/>
                  </a:lnTo>
                  <a:lnTo>
                    <a:pt x="177" y="234"/>
                  </a:lnTo>
                  <a:lnTo>
                    <a:pt x="167" y="233"/>
                  </a:lnTo>
                  <a:lnTo>
                    <a:pt x="157" y="232"/>
                  </a:lnTo>
                  <a:lnTo>
                    <a:pt x="148" y="232"/>
                  </a:lnTo>
                  <a:lnTo>
                    <a:pt x="137" y="233"/>
                  </a:lnTo>
                  <a:lnTo>
                    <a:pt x="127" y="234"/>
                  </a:lnTo>
                  <a:lnTo>
                    <a:pt x="117" y="235"/>
                  </a:lnTo>
                  <a:lnTo>
                    <a:pt x="109" y="237"/>
                  </a:lnTo>
                  <a:lnTo>
                    <a:pt x="205" y="243"/>
                  </a:lnTo>
                  <a:close/>
                  <a:moveTo>
                    <a:pt x="644" y="572"/>
                  </a:moveTo>
                  <a:lnTo>
                    <a:pt x="594" y="543"/>
                  </a:lnTo>
                  <a:lnTo>
                    <a:pt x="548" y="515"/>
                  </a:lnTo>
                  <a:lnTo>
                    <a:pt x="553" y="522"/>
                  </a:lnTo>
                  <a:lnTo>
                    <a:pt x="558" y="528"/>
                  </a:lnTo>
                  <a:lnTo>
                    <a:pt x="564" y="535"/>
                  </a:lnTo>
                  <a:lnTo>
                    <a:pt x="571" y="541"/>
                  </a:lnTo>
                  <a:lnTo>
                    <a:pt x="579" y="547"/>
                  </a:lnTo>
                  <a:lnTo>
                    <a:pt x="587" y="553"/>
                  </a:lnTo>
                  <a:lnTo>
                    <a:pt x="596" y="557"/>
                  </a:lnTo>
                  <a:lnTo>
                    <a:pt x="605" y="562"/>
                  </a:lnTo>
                  <a:lnTo>
                    <a:pt x="615" y="565"/>
                  </a:lnTo>
                  <a:lnTo>
                    <a:pt x="625" y="568"/>
                  </a:lnTo>
                  <a:lnTo>
                    <a:pt x="634" y="571"/>
                  </a:lnTo>
                  <a:lnTo>
                    <a:pt x="644" y="572"/>
                  </a:lnTo>
                  <a:close/>
                  <a:moveTo>
                    <a:pt x="555" y="508"/>
                  </a:moveTo>
                  <a:lnTo>
                    <a:pt x="599" y="535"/>
                  </a:lnTo>
                  <a:lnTo>
                    <a:pt x="647" y="563"/>
                  </a:lnTo>
                  <a:lnTo>
                    <a:pt x="642" y="558"/>
                  </a:lnTo>
                  <a:lnTo>
                    <a:pt x="638" y="553"/>
                  </a:lnTo>
                  <a:lnTo>
                    <a:pt x="633" y="549"/>
                  </a:lnTo>
                  <a:lnTo>
                    <a:pt x="628" y="544"/>
                  </a:lnTo>
                  <a:lnTo>
                    <a:pt x="622" y="540"/>
                  </a:lnTo>
                  <a:lnTo>
                    <a:pt x="617" y="536"/>
                  </a:lnTo>
                  <a:lnTo>
                    <a:pt x="611" y="532"/>
                  </a:lnTo>
                  <a:lnTo>
                    <a:pt x="605" y="528"/>
                  </a:lnTo>
                  <a:lnTo>
                    <a:pt x="593" y="522"/>
                  </a:lnTo>
                  <a:lnTo>
                    <a:pt x="587" y="519"/>
                  </a:lnTo>
                  <a:lnTo>
                    <a:pt x="581" y="516"/>
                  </a:lnTo>
                  <a:lnTo>
                    <a:pt x="568" y="512"/>
                  </a:lnTo>
                  <a:lnTo>
                    <a:pt x="561" y="510"/>
                  </a:lnTo>
                  <a:lnTo>
                    <a:pt x="555" y="508"/>
                  </a:lnTo>
                  <a:close/>
                  <a:moveTo>
                    <a:pt x="236" y="251"/>
                  </a:moveTo>
                  <a:lnTo>
                    <a:pt x="251" y="271"/>
                  </a:lnTo>
                  <a:lnTo>
                    <a:pt x="259" y="281"/>
                  </a:lnTo>
                  <a:lnTo>
                    <a:pt x="268" y="290"/>
                  </a:lnTo>
                  <a:lnTo>
                    <a:pt x="284" y="308"/>
                  </a:lnTo>
                  <a:lnTo>
                    <a:pt x="301" y="325"/>
                  </a:lnTo>
                  <a:lnTo>
                    <a:pt x="319" y="342"/>
                  </a:lnTo>
                  <a:lnTo>
                    <a:pt x="337" y="358"/>
                  </a:lnTo>
                  <a:lnTo>
                    <a:pt x="356" y="374"/>
                  </a:lnTo>
                  <a:lnTo>
                    <a:pt x="376" y="390"/>
                  </a:lnTo>
                  <a:lnTo>
                    <a:pt x="393" y="403"/>
                  </a:lnTo>
                  <a:lnTo>
                    <a:pt x="409" y="415"/>
                  </a:lnTo>
                  <a:lnTo>
                    <a:pt x="424" y="425"/>
                  </a:lnTo>
                  <a:lnTo>
                    <a:pt x="439" y="434"/>
                  </a:lnTo>
                  <a:lnTo>
                    <a:pt x="469" y="453"/>
                  </a:lnTo>
                  <a:lnTo>
                    <a:pt x="503" y="476"/>
                  </a:lnTo>
                  <a:lnTo>
                    <a:pt x="536" y="496"/>
                  </a:lnTo>
                  <a:lnTo>
                    <a:pt x="546" y="497"/>
                  </a:lnTo>
                  <a:lnTo>
                    <a:pt x="556" y="499"/>
                  </a:lnTo>
                  <a:lnTo>
                    <a:pt x="566" y="501"/>
                  </a:lnTo>
                  <a:lnTo>
                    <a:pt x="575" y="504"/>
                  </a:lnTo>
                  <a:lnTo>
                    <a:pt x="584" y="508"/>
                  </a:lnTo>
                  <a:lnTo>
                    <a:pt x="594" y="511"/>
                  </a:lnTo>
                  <a:lnTo>
                    <a:pt x="603" y="516"/>
                  </a:lnTo>
                  <a:lnTo>
                    <a:pt x="611" y="521"/>
                  </a:lnTo>
                  <a:lnTo>
                    <a:pt x="619" y="526"/>
                  </a:lnTo>
                  <a:lnTo>
                    <a:pt x="627" y="532"/>
                  </a:lnTo>
                  <a:lnTo>
                    <a:pt x="635" y="538"/>
                  </a:lnTo>
                  <a:lnTo>
                    <a:pt x="642" y="545"/>
                  </a:lnTo>
                  <a:lnTo>
                    <a:pt x="649" y="552"/>
                  </a:lnTo>
                  <a:lnTo>
                    <a:pt x="657" y="560"/>
                  </a:lnTo>
                  <a:lnTo>
                    <a:pt x="663" y="568"/>
                  </a:lnTo>
                  <a:lnTo>
                    <a:pt x="669" y="576"/>
                  </a:lnTo>
                  <a:lnTo>
                    <a:pt x="669" y="578"/>
                  </a:lnTo>
                  <a:lnTo>
                    <a:pt x="668" y="580"/>
                  </a:lnTo>
                  <a:lnTo>
                    <a:pt x="667" y="582"/>
                  </a:lnTo>
                  <a:lnTo>
                    <a:pt x="666" y="582"/>
                  </a:lnTo>
                  <a:lnTo>
                    <a:pt x="659" y="582"/>
                  </a:lnTo>
                  <a:lnTo>
                    <a:pt x="651" y="582"/>
                  </a:lnTo>
                  <a:lnTo>
                    <a:pt x="645" y="581"/>
                  </a:lnTo>
                  <a:lnTo>
                    <a:pt x="638" y="580"/>
                  </a:lnTo>
                  <a:lnTo>
                    <a:pt x="625" y="578"/>
                  </a:lnTo>
                  <a:lnTo>
                    <a:pt x="618" y="576"/>
                  </a:lnTo>
                  <a:lnTo>
                    <a:pt x="612" y="574"/>
                  </a:lnTo>
                  <a:lnTo>
                    <a:pt x="599" y="569"/>
                  </a:lnTo>
                  <a:lnTo>
                    <a:pt x="593" y="567"/>
                  </a:lnTo>
                  <a:lnTo>
                    <a:pt x="587" y="564"/>
                  </a:lnTo>
                  <a:lnTo>
                    <a:pt x="576" y="557"/>
                  </a:lnTo>
                  <a:lnTo>
                    <a:pt x="570" y="553"/>
                  </a:lnTo>
                  <a:lnTo>
                    <a:pt x="565" y="548"/>
                  </a:lnTo>
                  <a:lnTo>
                    <a:pt x="554" y="539"/>
                  </a:lnTo>
                  <a:lnTo>
                    <a:pt x="550" y="534"/>
                  </a:lnTo>
                  <a:lnTo>
                    <a:pt x="546" y="529"/>
                  </a:lnTo>
                  <a:lnTo>
                    <a:pt x="539" y="518"/>
                  </a:lnTo>
                  <a:lnTo>
                    <a:pt x="535" y="512"/>
                  </a:lnTo>
                  <a:lnTo>
                    <a:pt x="532" y="505"/>
                  </a:lnTo>
                  <a:lnTo>
                    <a:pt x="498" y="484"/>
                  </a:lnTo>
                  <a:lnTo>
                    <a:pt x="464" y="461"/>
                  </a:lnTo>
                  <a:lnTo>
                    <a:pt x="433" y="442"/>
                  </a:lnTo>
                  <a:lnTo>
                    <a:pt x="418" y="433"/>
                  </a:lnTo>
                  <a:lnTo>
                    <a:pt x="403" y="422"/>
                  </a:lnTo>
                  <a:lnTo>
                    <a:pt x="388" y="411"/>
                  </a:lnTo>
                  <a:lnTo>
                    <a:pt x="371" y="398"/>
                  </a:lnTo>
                  <a:lnTo>
                    <a:pt x="350" y="382"/>
                  </a:lnTo>
                  <a:lnTo>
                    <a:pt x="331" y="365"/>
                  </a:lnTo>
                  <a:lnTo>
                    <a:pt x="312" y="349"/>
                  </a:lnTo>
                  <a:lnTo>
                    <a:pt x="294" y="332"/>
                  </a:lnTo>
                  <a:lnTo>
                    <a:pt x="277" y="314"/>
                  </a:lnTo>
                  <a:lnTo>
                    <a:pt x="261" y="296"/>
                  </a:lnTo>
                  <a:lnTo>
                    <a:pt x="244" y="277"/>
                  </a:lnTo>
                  <a:lnTo>
                    <a:pt x="236" y="267"/>
                  </a:lnTo>
                  <a:lnTo>
                    <a:pt x="228" y="257"/>
                  </a:lnTo>
                  <a:lnTo>
                    <a:pt x="225" y="258"/>
                  </a:lnTo>
                  <a:lnTo>
                    <a:pt x="80" y="385"/>
                  </a:lnTo>
                  <a:lnTo>
                    <a:pt x="78" y="386"/>
                  </a:lnTo>
                  <a:lnTo>
                    <a:pt x="76" y="386"/>
                  </a:lnTo>
                  <a:lnTo>
                    <a:pt x="75" y="386"/>
                  </a:lnTo>
                  <a:lnTo>
                    <a:pt x="73" y="385"/>
                  </a:lnTo>
                  <a:lnTo>
                    <a:pt x="72" y="383"/>
                  </a:lnTo>
                  <a:lnTo>
                    <a:pt x="72" y="382"/>
                  </a:lnTo>
                  <a:lnTo>
                    <a:pt x="72" y="380"/>
                  </a:lnTo>
                  <a:lnTo>
                    <a:pt x="74" y="378"/>
                  </a:lnTo>
                  <a:lnTo>
                    <a:pt x="198" y="270"/>
                  </a:lnTo>
                  <a:lnTo>
                    <a:pt x="180" y="279"/>
                  </a:lnTo>
                  <a:lnTo>
                    <a:pt x="171" y="283"/>
                  </a:lnTo>
                  <a:lnTo>
                    <a:pt x="162" y="288"/>
                  </a:lnTo>
                  <a:lnTo>
                    <a:pt x="145" y="299"/>
                  </a:lnTo>
                  <a:lnTo>
                    <a:pt x="128" y="310"/>
                  </a:lnTo>
                  <a:lnTo>
                    <a:pt x="112" y="322"/>
                  </a:lnTo>
                  <a:lnTo>
                    <a:pt x="96" y="335"/>
                  </a:lnTo>
                  <a:lnTo>
                    <a:pt x="81" y="349"/>
                  </a:lnTo>
                  <a:lnTo>
                    <a:pt x="67" y="363"/>
                  </a:lnTo>
                  <a:lnTo>
                    <a:pt x="65" y="364"/>
                  </a:lnTo>
                  <a:lnTo>
                    <a:pt x="64" y="365"/>
                  </a:lnTo>
                  <a:lnTo>
                    <a:pt x="62" y="364"/>
                  </a:lnTo>
                  <a:lnTo>
                    <a:pt x="60" y="364"/>
                  </a:lnTo>
                  <a:lnTo>
                    <a:pt x="59" y="362"/>
                  </a:lnTo>
                  <a:lnTo>
                    <a:pt x="59" y="360"/>
                  </a:lnTo>
                  <a:lnTo>
                    <a:pt x="59" y="359"/>
                  </a:lnTo>
                  <a:lnTo>
                    <a:pt x="60" y="357"/>
                  </a:lnTo>
                  <a:lnTo>
                    <a:pt x="70" y="347"/>
                  </a:lnTo>
                  <a:lnTo>
                    <a:pt x="80" y="337"/>
                  </a:lnTo>
                  <a:lnTo>
                    <a:pt x="90" y="328"/>
                  </a:lnTo>
                  <a:lnTo>
                    <a:pt x="100" y="319"/>
                  </a:lnTo>
                  <a:lnTo>
                    <a:pt x="111" y="310"/>
                  </a:lnTo>
                  <a:lnTo>
                    <a:pt x="122" y="302"/>
                  </a:lnTo>
                  <a:lnTo>
                    <a:pt x="134" y="295"/>
                  </a:lnTo>
                  <a:lnTo>
                    <a:pt x="145" y="287"/>
                  </a:lnTo>
                  <a:lnTo>
                    <a:pt x="37" y="329"/>
                  </a:lnTo>
                  <a:lnTo>
                    <a:pt x="36" y="330"/>
                  </a:lnTo>
                  <a:lnTo>
                    <a:pt x="35" y="330"/>
                  </a:lnTo>
                  <a:lnTo>
                    <a:pt x="33" y="329"/>
                  </a:lnTo>
                  <a:lnTo>
                    <a:pt x="32" y="328"/>
                  </a:lnTo>
                  <a:lnTo>
                    <a:pt x="31" y="327"/>
                  </a:lnTo>
                  <a:lnTo>
                    <a:pt x="30" y="325"/>
                  </a:lnTo>
                  <a:lnTo>
                    <a:pt x="31" y="323"/>
                  </a:lnTo>
                  <a:lnTo>
                    <a:pt x="32" y="322"/>
                  </a:lnTo>
                  <a:lnTo>
                    <a:pt x="33" y="320"/>
                  </a:lnTo>
                  <a:lnTo>
                    <a:pt x="198" y="256"/>
                  </a:lnTo>
                  <a:lnTo>
                    <a:pt x="173" y="258"/>
                  </a:lnTo>
                  <a:lnTo>
                    <a:pt x="161" y="260"/>
                  </a:lnTo>
                  <a:lnTo>
                    <a:pt x="148" y="261"/>
                  </a:lnTo>
                  <a:lnTo>
                    <a:pt x="136" y="264"/>
                  </a:lnTo>
                  <a:lnTo>
                    <a:pt x="124" y="266"/>
                  </a:lnTo>
                  <a:lnTo>
                    <a:pt x="112" y="269"/>
                  </a:lnTo>
                  <a:lnTo>
                    <a:pt x="100" y="272"/>
                  </a:lnTo>
                  <a:lnTo>
                    <a:pt x="88" y="275"/>
                  </a:lnTo>
                  <a:lnTo>
                    <a:pt x="76" y="279"/>
                  </a:lnTo>
                  <a:lnTo>
                    <a:pt x="64" y="283"/>
                  </a:lnTo>
                  <a:lnTo>
                    <a:pt x="53" y="287"/>
                  </a:lnTo>
                  <a:lnTo>
                    <a:pt x="41" y="292"/>
                  </a:lnTo>
                  <a:lnTo>
                    <a:pt x="30" y="297"/>
                  </a:lnTo>
                  <a:lnTo>
                    <a:pt x="18" y="303"/>
                  </a:lnTo>
                  <a:lnTo>
                    <a:pt x="7" y="309"/>
                  </a:lnTo>
                  <a:lnTo>
                    <a:pt x="5" y="310"/>
                  </a:lnTo>
                  <a:lnTo>
                    <a:pt x="3" y="310"/>
                  </a:lnTo>
                  <a:lnTo>
                    <a:pt x="2" y="309"/>
                  </a:lnTo>
                  <a:lnTo>
                    <a:pt x="1" y="307"/>
                  </a:lnTo>
                  <a:lnTo>
                    <a:pt x="0" y="306"/>
                  </a:lnTo>
                  <a:lnTo>
                    <a:pt x="0" y="304"/>
                  </a:lnTo>
                  <a:lnTo>
                    <a:pt x="1" y="302"/>
                  </a:lnTo>
                  <a:lnTo>
                    <a:pt x="3" y="301"/>
                  </a:lnTo>
                  <a:lnTo>
                    <a:pt x="22" y="291"/>
                  </a:lnTo>
                  <a:lnTo>
                    <a:pt x="41" y="282"/>
                  </a:lnTo>
                  <a:lnTo>
                    <a:pt x="51" y="278"/>
                  </a:lnTo>
                  <a:lnTo>
                    <a:pt x="61" y="274"/>
                  </a:lnTo>
                  <a:lnTo>
                    <a:pt x="80" y="267"/>
                  </a:lnTo>
                  <a:lnTo>
                    <a:pt x="100" y="262"/>
                  </a:lnTo>
                  <a:lnTo>
                    <a:pt x="121" y="257"/>
                  </a:lnTo>
                  <a:lnTo>
                    <a:pt x="141" y="253"/>
                  </a:lnTo>
                  <a:lnTo>
                    <a:pt x="162" y="250"/>
                  </a:lnTo>
                  <a:lnTo>
                    <a:pt x="86" y="246"/>
                  </a:lnTo>
                  <a:lnTo>
                    <a:pt x="81" y="248"/>
                  </a:lnTo>
                  <a:lnTo>
                    <a:pt x="75" y="251"/>
                  </a:lnTo>
                  <a:lnTo>
                    <a:pt x="64" y="258"/>
                  </a:lnTo>
                  <a:lnTo>
                    <a:pt x="62" y="259"/>
                  </a:lnTo>
                  <a:lnTo>
                    <a:pt x="60" y="259"/>
                  </a:lnTo>
                  <a:lnTo>
                    <a:pt x="59" y="258"/>
                  </a:lnTo>
                  <a:lnTo>
                    <a:pt x="57" y="257"/>
                  </a:lnTo>
                  <a:lnTo>
                    <a:pt x="57" y="256"/>
                  </a:lnTo>
                  <a:lnTo>
                    <a:pt x="56" y="254"/>
                  </a:lnTo>
                  <a:lnTo>
                    <a:pt x="57" y="252"/>
                  </a:lnTo>
                  <a:lnTo>
                    <a:pt x="59" y="251"/>
                  </a:lnTo>
                  <a:lnTo>
                    <a:pt x="68" y="245"/>
                  </a:lnTo>
                  <a:lnTo>
                    <a:pt x="15" y="241"/>
                  </a:lnTo>
                  <a:lnTo>
                    <a:pt x="13" y="241"/>
                  </a:lnTo>
                  <a:lnTo>
                    <a:pt x="11" y="240"/>
                  </a:lnTo>
                  <a:lnTo>
                    <a:pt x="10" y="238"/>
                  </a:lnTo>
                  <a:lnTo>
                    <a:pt x="10" y="236"/>
                  </a:lnTo>
                  <a:lnTo>
                    <a:pt x="11" y="235"/>
                  </a:lnTo>
                  <a:lnTo>
                    <a:pt x="12" y="233"/>
                  </a:lnTo>
                  <a:lnTo>
                    <a:pt x="13" y="232"/>
                  </a:lnTo>
                  <a:lnTo>
                    <a:pt x="15" y="232"/>
                  </a:lnTo>
                  <a:lnTo>
                    <a:pt x="85" y="236"/>
                  </a:lnTo>
                  <a:lnTo>
                    <a:pt x="95" y="232"/>
                  </a:lnTo>
                  <a:lnTo>
                    <a:pt x="106" y="228"/>
                  </a:lnTo>
                  <a:lnTo>
                    <a:pt x="117" y="226"/>
                  </a:lnTo>
                  <a:lnTo>
                    <a:pt x="128" y="224"/>
                  </a:lnTo>
                  <a:lnTo>
                    <a:pt x="139" y="223"/>
                  </a:lnTo>
                  <a:lnTo>
                    <a:pt x="150" y="222"/>
                  </a:lnTo>
                  <a:lnTo>
                    <a:pt x="161" y="223"/>
                  </a:lnTo>
                  <a:lnTo>
                    <a:pt x="172" y="224"/>
                  </a:lnTo>
                  <a:lnTo>
                    <a:pt x="182" y="226"/>
                  </a:lnTo>
                  <a:lnTo>
                    <a:pt x="190" y="228"/>
                  </a:lnTo>
                  <a:lnTo>
                    <a:pt x="198" y="230"/>
                  </a:lnTo>
                  <a:lnTo>
                    <a:pt x="205" y="232"/>
                  </a:lnTo>
                  <a:lnTo>
                    <a:pt x="87" y="106"/>
                  </a:lnTo>
                  <a:lnTo>
                    <a:pt x="86" y="104"/>
                  </a:lnTo>
                  <a:lnTo>
                    <a:pt x="85" y="102"/>
                  </a:lnTo>
                  <a:lnTo>
                    <a:pt x="86" y="101"/>
                  </a:lnTo>
                  <a:lnTo>
                    <a:pt x="87" y="99"/>
                  </a:lnTo>
                  <a:lnTo>
                    <a:pt x="88" y="98"/>
                  </a:lnTo>
                  <a:lnTo>
                    <a:pt x="90" y="98"/>
                  </a:lnTo>
                  <a:lnTo>
                    <a:pt x="92" y="98"/>
                  </a:lnTo>
                  <a:lnTo>
                    <a:pt x="94" y="100"/>
                  </a:lnTo>
                  <a:lnTo>
                    <a:pt x="220" y="235"/>
                  </a:lnTo>
                  <a:lnTo>
                    <a:pt x="216" y="222"/>
                  </a:lnTo>
                  <a:lnTo>
                    <a:pt x="212" y="209"/>
                  </a:lnTo>
                  <a:lnTo>
                    <a:pt x="207" y="197"/>
                  </a:lnTo>
                  <a:lnTo>
                    <a:pt x="202" y="184"/>
                  </a:lnTo>
                  <a:lnTo>
                    <a:pt x="196" y="172"/>
                  </a:lnTo>
                  <a:lnTo>
                    <a:pt x="190" y="160"/>
                  </a:lnTo>
                  <a:lnTo>
                    <a:pt x="184" y="148"/>
                  </a:lnTo>
                  <a:lnTo>
                    <a:pt x="177" y="137"/>
                  </a:lnTo>
                  <a:lnTo>
                    <a:pt x="170" y="126"/>
                  </a:lnTo>
                  <a:lnTo>
                    <a:pt x="162" y="115"/>
                  </a:lnTo>
                  <a:lnTo>
                    <a:pt x="155" y="104"/>
                  </a:lnTo>
                  <a:lnTo>
                    <a:pt x="146" y="93"/>
                  </a:lnTo>
                  <a:lnTo>
                    <a:pt x="138" y="83"/>
                  </a:lnTo>
                  <a:lnTo>
                    <a:pt x="129" y="73"/>
                  </a:lnTo>
                  <a:lnTo>
                    <a:pt x="119" y="63"/>
                  </a:lnTo>
                  <a:lnTo>
                    <a:pt x="109" y="54"/>
                  </a:lnTo>
                  <a:lnTo>
                    <a:pt x="108" y="52"/>
                  </a:lnTo>
                  <a:lnTo>
                    <a:pt x="107" y="50"/>
                  </a:lnTo>
                  <a:lnTo>
                    <a:pt x="108" y="48"/>
                  </a:lnTo>
                  <a:lnTo>
                    <a:pt x="109" y="47"/>
                  </a:lnTo>
                  <a:lnTo>
                    <a:pt x="110" y="46"/>
                  </a:lnTo>
                  <a:lnTo>
                    <a:pt x="112" y="45"/>
                  </a:lnTo>
                  <a:lnTo>
                    <a:pt x="114" y="46"/>
                  </a:lnTo>
                  <a:lnTo>
                    <a:pt x="116" y="47"/>
                  </a:lnTo>
                  <a:lnTo>
                    <a:pt x="125" y="56"/>
                  </a:lnTo>
                  <a:lnTo>
                    <a:pt x="135" y="66"/>
                  </a:lnTo>
                  <a:lnTo>
                    <a:pt x="144" y="76"/>
                  </a:lnTo>
                  <a:lnTo>
                    <a:pt x="152" y="86"/>
                  </a:lnTo>
                  <a:lnTo>
                    <a:pt x="161" y="96"/>
                  </a:lnTo>
                  <a:lnTo>
                    <a:pt x="169" y="107"/>
                  </a:lnTo>
                  <a:lnTo>
                    <a:pt x="176" y="118"/>
                  </a:lnTo>
                  <a:lnTo>
                    <a:pt x="183" y="129"/>
                  </a:lnTo>
                  <a:lnTo>
                    <a:pt x="190" y="140"/>
                  </a:lnTo>
                  <a:lnTo>
                    <a:pt x="196" y="151"/>
                  </a:lnTo>
                  <a:lnTo>
                    <a:pt x="208" y="175"/>
                  </a:lnTo>
                  <a:lnTo>
                    <a:pt x="213" y="187"/>
                  </a:lnTo>
                  <a:lnTo>
                    <a:pt x="218" y="200"/>
                  </a:lnTo>
                  <a:lnTo>
                    <a:pt x="223" y="212"/>
                  </a:lnTo>
                  <a:lnTo>
                    <a:pt x="227" y="225"/>
                  </a:lnTo>
                  <a:lnTo>
                    <a:pt x="229" y="197"/>
                  </a:lnTo>
                  <a:lnTo>
                    <a:pt x="230" y="170"/>
                  </a:lnTo>
                  <a:lnTo>
                    <a:pt x="230" y="157"/>
                  </a:lnTo>
                  <a:lnTo>
                    <a:pt x="230" y="143"/>
                  </a:lnTo>
                  <a:lnTo>
                    <a:pt x="229" y="130"/>
                  </a:lnTo>
                  <a:lnTo>
                    <a:pt x="228" y="116"/>
                  </a:lnTo>
                  <a:lnTo>
                    <a:pt x="226" y="103"/>
                  </a:lnTo>
                  <a:lnTo>
                    <a:pt x="224" y="89"/>
                  </a:lnTo>
                  <a:lnTo>
                    <a:pt x="222" y="76"/>
                  </a:lnTo>
                  <a:lnTo>
                    <a:pt x="219" y="63"/>
                  </a:lnTo>
                  <a:lnTo>
                    <a:pt x="212" y="36"/>
                  </a:lnTo>
                  <a:lnTo>
                    <a:pt x="208" y="23"/>
                  </a:lnTo>
                  <a:lnTo>
                    <a:pt x="204" y="9"/>
                  </a:lnTo>
                  <a:lnTo>
                    <a:pt x="203" y="7"/>
                  </a:lnTo>
                  <a:lnTo>
                    <a:pt x="204" y="5"/>
                  </a:lnTo>
                  <a:lnTo>
                    <a:pt x="205" y="4"/>
                  </a:lnTo>
                  <a:lnTo>
                    <a:pt x="207" y="3"/>
                  </a:lnTo>
                  <a:lnTo>
                    <a:pt x="208" y="3"/>
                  </a:lnTo>
                  <a:lnTo>
                    <a:pt x="210" y="3"/>
                  </a:lnTo>
                  <a:lnTo>
                    <a:pt x="212" y="4"/>
                  </a:lnTo>
                  <a:lnTo>
                    <a:pt x="213" y="6"/>
                  </a:lnTo>
                  <a:lnTo>
                    <a:pt x="220" y="29"/>
                  </a:lnTo>
                  <a:lnTo>
                    <a:pt x="224" y="41"/>
                  </a:lnTo>
                  <a:lnTo>
                    <a:pt x="226" y="52"/>
                  </a:lnTo>
                  <a:lnTo>
                    <a:pt x="231" y="75"/>
                  </a:lnTo>
                  <a:lnTo>
                    <a:pt x="235" y="98"/>
                  </a:lnTo>
                  <a:lnTo>
                    <a:pt x="237" y="110"/>
                  </a:lnTo>
                  <a:lnTo>
                    <a:pt x="238" y="121"/>
                  </a:lnTo>
                  <a:lnTo>
                    <a:pt x="239" y="145"/>
                  </a:lnTo>
                  <a:lnTo>
                    <a:pt x="240" y="168"/>
                  </a:lnTo>
                  <a:lnTo>
                    <a:pt x="239" y="191"/>
                  </a:lnTo>
                  <a:lnTo>
                    <a:pt x="242" y="168"/>
                  </a:lnTo>
                  <a:lnTo>
                    <a:pt x="244" y="145"/>
                  </a:lnTo>
                  <a:lnTo>
                    <a:pt x="245" y="121"/>
                  </a:lnTo>
                  <a:lnTo>
                    <a:pt x="245" y="110"/>
                  </a:lnTo>
                  <a:lnTo>
                    <a:pt x="244" y="98"/>
                  </a:lnTo>
                  <a:lnTo>
                    <a:pt x="244" y="86"/>
                  </a:lnTo>
                  <a:lnTo>
                    <a:pt x="243" y="75"/>
                  </a:lnTo>
                  <a:lnTo>
                    <a:pt x="240" y="52"/>
                  </a:lnTo>
                  <a:lnTo>
                    <a:pt x="235" y="28"/>
                  </a:lnTo>
                  <a:lnTo>
                    <a:pt x="230" y="6"/>
                  </a:lnTo>
                  <a:lnTo>
                    <a:pt x="230" y="3"/>
                  </a:lnTo>
                  <a:lnTo>
                    <a:pt x="230" y="2"/>
                  </a:lnTo>
                  <a:lnTo>
                    <a:pt x="231" y="0"/>
                  </a:lnTo>
                  <a:lnTo>
                    <a:pt x="233" y="0"/>
                  </a:lnTo>
                  <a:lnTo>
                    <a:pt x="235" y="0"/>
                  </a:lnTo>
                  <a:lnTo>
                    <a:pt x="237" y="0"/>
                  </a:lnTo>
                  <a:lnTo>
                    <a:pt x="238" y="1"/>
                  </a:lnTo>
                  <a:lnTo>
                    <a:pt x="239" y="3"/>
                  </a:lnTo>
                  <a:lnTo>
                    <a:pt x="242" y="14"/>
                  </a:lnTo>
                  <a:lnTo>
                    <a:pt x="244" y="26"/>
                  </a:lnTo>
                  <a:lnTo>
                    <a:pt x="247" y="37"/>
                  </a:lnTo>
                  <a:lnTo>
                    <a:pt x="249" y="49"/>
                  </a:lnTo>
                  <a:lnTo>
                    <a:pt x="252" y="72"/>
                  </a:lnTo>
                  <a:lnTo>
                    <a:pt x="253" y="84"/>
                  </a:lnTo>
                  <a:lnTo>
                    <a:pt x="254" y="95"/>
                  </a:lnTo>
                  <a:lnTo>
                    <a:pt x="254" y="107"/>
                  </a:lnTo>
                  <a:lnTo>
                    <a:pt x="254" y="118"/>
                  </a:lnTo>
                  <a:lnTo>
                    <a:pt x="254" y="142"/>
                  </a:lnTo>
                  <a:lnTo>
                    <a:pt x="252" y="165"/>
                  </a:lnTo>
                  <a:lnTo>
                    <a:pt x="249" y="188"/>
                  </a:lnTo>
                  <a:lnTo>
                    <a:pt x="253" y="176"/>
                  </a:lnTo>
                  <a:lnTo>
                    <a:pt x="257" y="164"/>
                  </a:lnTo>
                  <a:lnTo>
                    <a:pt x="260" y="152"/>
                  </a:lnTo>
                  <a:lnTo>
                    <a:pt x="264" y="140"/>
                  </a:lnTo>
                  <a:lnTo>
                    <a:pt x="266" y="128"/>
                  </a:lnTo>
                  <a:lnTo>
                    <a:pt x="269" y="116"/>
                  </a:lnTo>
                  <a:lnTo>
                    <a:pt x="270" y="103"/>
                  </a:lnTo>
                  <a:lnTo>
                    <a:pt x="272" y="90"/>
                  </a:lnTo>
                  <a:lnTo>
                    <a:pt x="273" y="84"/>
                  </a:lnTo>
                  <a:lnTo>
                    <a:pt x="273" y="79"/>
                  </a:lnTo>
                  <a:lnTo>
                    <a:pt x="276" y="68"/>
                  </a:lnTo>
                  <a:lnTo>
                    <a:pt x="280" y="58"/>
                  </a:lnTo>
                  <a:lnTo>
                    <a:pt x="284" y="48"/>
                  </a:lnTo>
                  <a:lnTo>
                    <a:pt x="289" y="39"/>
                  </a:lnTo>
                  <a:lnTo>
                    <a:pt x="296" y="30"/>
                  </a:lnTo>
                  <a:lnTo>
                    <a:pt x="303" y="22"/>
                  </a:lnTo>
                  <a:lnTo>
                    <a:pt x="311" y="14"/>
                  </a:lnTo>
                  <a:lnTo>
                    <a:pt x="313" y="13"/>
                  </a:lnTo>
                  <a:lnTo>
                    <a:pt x="315" y="12"/>
                  </a:lnTo>
                  <a:lnTo>
                    <a:pt x="316" y="13"/>
                  </a:lnTo>
                  <a:lnTo>
                    <a:pt x="318" y="14"/>
                  </a:lnTo>
                  <a:lnTo>
                    <a:pt x="319" y="16"/>
                  </a:lnTo>
                  <a:lnTo>
                    <a:pt x="319" y="17"/>
                  </a:lnTo>
                  <a:lnTo>
                    <a:pt x="319" y="19"/>
                  </a:lnTo>
                  <a:lnTo>
                    <a:pt x="318" y="21"/>
                  </a:lnTo>
                  <a:lnTo>
                    <a:pt x="310" y="28"/>
                  </a:lnTo>
                  <a:lnTo>
                    <a:pt x="303" y="36"/>
                  </a:lnTo>
                  <a:lnTo>
                    <a:pt x="298" y="44"/>
                  </a:lnTo>
                  <a:lnTo>
                    <a:pt x="293" y="52"/>
                  </a:lnTo>
                  <a:lnTo>
                    <a:pt x="288" y="61"/>
                  </a:lnTo>
                  <a:lnTo>
                    <a:pt x="285" y="71"/>
                  </a:lnTo>
                  <a:lnTo>
                    <a:pt x="283" y="81"/>
                  </a:lnTo>
                  <a:lnTo>
                    <a:pt x="282" y="86"/>
                  </a:lnTo>
                  <a:lnTo>
                    <a:pt x="281" y="91"/>
                  </a:lnTo>
                  <a:lnTo>
                    <a:pt x="278" y="114"/>
                  </a:lnTo>
                  <a:lnTo>
                    <a:pt x="277" y="125"/>
                  </a:lnTo>
                  <a:lnTo>
                    <a:pt x="274" y="136"/>
                  </a:lnTo>
                  <a:lnTo>
                    <a:pt x="272" y="147"/>
                  </a:lnTo>
                  <a:lnTo>
                    <a:pt x="269" y="157"/>
                  </a:lnTo>
                  <a:lnTo>
                    <a:pt x="262" y="179"/>
                  </a:lnTo>
                  <a:lnTo>
                    <a:pt x="342" y="37"/>
                  </a:lnTo>
                  <a:lnTo>
                    <a:pt x="343" y="36"/>
                  </a:lnTo>
                  <a:lnTo>
                    <a:pt x="344" y="36"/>
                  </a:lnTo>
                  <a:lnTo>
                    <a:pt x="345" y="35"/>
                  </a:lnTo>
                  <a:lnTo>
                    <a:pt x="347" y="35"/>
                  </a:lnTo>
                  <a:lnTo>
                    <a:pt x="349" y="36"/>
                  </a:lnTo>
                  <a:lnTo>
                    <a:pt x="350" y="37"/>
                  </a:lnTo>
                  <a:lnTo>
                    <a:pt x="351" y="38"/>
                  </a:lnTo>
                  <a:lnTo>
                    <a:pt x="351" y="40"/>
                  </a:lnTo>
                  <a:lnTo>
                    <a:pt x="351" y="42"/>
                  </a:lnTo>
                  <a:lnTo>
                    <a:pt x="287" y="154"/>
                  </a:lnTo>
                  <a:lnTo>
                    <a:pt x="349" y="63"/>
                  </a:lnTo>
                  <a:lnTo>
                    <a:pt x="351" y="62"/>
                  </a:lnTo>
                  <a:lnTo>
                    <a:pt x="353" y="61"/>
                  </a:lnTo>
                  <a:lnTo>
                    <a:pt x="354" y="61"/>
                  </a:lnTo>
                  <a:lnTo>
                    <a:pt x="356" y="62"/>
                  </a:lnTo>
                  <a:lnTo>
                    <a:pt x="357" y="63"/>
                  </a:lnTo>
                  <a:lnTo>
                    <a:pt x="358" y="65"/>
                  </a:lnTo>
                  <a:lnTo>
                    <a:pt x="358" y="67"/>
                  </a:lnTo>
                  <a:lnTo>
                    <a:pt x="357" y="69"/>
                  </a:lnTo>
                  <a:lnTo>
                    <a:pt x="250" y="226"/>
                  </a:lnTo>
                  <a:lnTo>
                    <a:pt x="371" y="126"/>
                  </a:lnTo>
                  <a:lnTo>
                    <a:pt x="373" y="125"/>
                  </a:lnTo>
                  <a:lnTo>
                    <a:pt x="375" y="125"/>
                  </a:lnTo>
                  <a:lnTo>
                    <a:pt x="377" y="125"/>
                  </a:lnTo>
                  <a:lnTo>
                    <a:pt x="378" y="126"/>
                  </a:lnTo>
                  <a:lnTo>
                    <a:pt x="379" y="128"/>
                  </a:lnTo>
                  <a:lnTo>
                    <a:pt x="379" y="130"/>
                  </a:lnTo>
                  <a:lnTo>
                    <a:pt x="379" y="131"/>
                  </a:lnTo>
                  <a:lnTo>
                    <a:pt x="378" y="133"/>
                  </a:lnTo>
                  <a:lnTo>
                    <a:pt x="261" y="229"/>
                  </a:lnTo>
                  <a:lnTo>
                    <a:pt x="347" y="193"/>
                  </a:lnTo>
                  <a:lnTo>
                    <a:pt x="349" y="192"/>
                  </a:lnTo>
                  <a:lnTo>
                    <a:pt x="351" y="193"/>
                  </a:lnTo>
                  <a:lnTo>
                    <a:pt x="353" y="194"/>
                  </a:lnTo>
                  <a:lnTo>
                    <a:pt x="354" y="195"/>
                  </a:lnTo>
                  <a:lnTo>
                    <a:pt x="354" y="197"/>
                  </a:lnTo>
                  <a:lnTo>
                    <a:pt x="354" y="199"/>
                  </a:lnTo>
                  <a:lnTo>
                    <a:pt x="353" y="201"/>
                  </a:lnTo>
                  <a:lnTo>
                    <a:pt x="351" y="202"/>
                  </a:lnTo>
                  <a:lnTo>
                    <a:pt x="290" y="227"/>
                  </a:lnTo>
                  <a:lnTo>
                    <a:pt x="356" y="210"/>
                  </a:lnTo>
                  <a:lnTo>
                    <a:pt x="358" y="210"/>
                  </a:lnTo>
                  <a:lnTo>
                    <a:pt x="360" y="211"/>
                  </a:lnTo>
                  <a:lnTo>
                    <a:pt x="361" y="212"/>
                  </a:lnTo>
                  <a:lnTo>
                    <a:pt x="361" y="213"/>
                  </a:lnTo>
                  <a:lnTo>
                    <a:pt x="362" y="215"/>
                  </a:lnTo>
                  <a:lnTo>
                    <a:pt x="361" y="217"/>
                  </a:lnTo>
                  <a:lnTo>
                    <a:pt x="360" y="218"/>
                  </a:lnTo>
                  <a:lnTo>
                    <a:pt x="358" y="219"/>
                  </a:lnTo>
                  <a:lnTo>
                    <a:pt x="23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9" name="Freeform 1957"/>
            <p:cNvSpPr>
              <a:spLocks noEditPoints="1"/>
            </p:cNvSpPr>
            <p:nvPr userDrawn="1"/>
          </p:nvSpPr>
          <p:spPr bwMode="auto">
            <a:xfrm>
              <a:off x="10429678" y="3202657"/>
              <a:ext cx="836613" cy="1104900"/>
            </a:xfrm>
            <a:custGeom>
              <a:avLst/>
              <a:gdLst>
                <a:gd name="T0" fmla="*/ 285 w 527"/>
                <a:gd name="T1" fmla="*/ 138 h 696"/>
                <a:gd name="T2" fmla="*/ 32 w 527"/>
                <a:gd name="T3" fmla="*/ 619 h 696"/>
                <a:gd name="T4" fmla="*/ 22 w 527"/>
                <a:gd name="T5" fmla="*/ 613 h 696"/>
                <a:gd name="T6" fmla="*/ 62 w 527"/>
                <a:gd name="T7" fmla="*/ 576 h 696"/>
                <a:gd name="T8" fmla="*/ 53 w 527"/>
                <a:gd name="T9" fmla="*/ 615 h 696"/>
                <a:gd name="T10" fmla="*/ 242 w 527"/>
                <a:gd name="T11" fmla="*/ 264 h 696"/>
                <a:gd name="T12" fmla="*/ 156 w 527"/>
                <a:gd name="T13" fmla="*/ 384 h 696"/>
                <a:gd name="T14" fmla="*/ 71 w 527"/>
                <a:gd name="T15" fmla="*/ 575 h 696"/>
                <a:gd name="T16" fmla="*/ 52 w 527"/>
                <a:gd name="T17" fmla="*/ 642 h 696"/>
                <a:gd name="T18" fmla="*/ 8 w 527"/>
                <a:gd name="T19" fmla="*/ 696 h 696"/>
                <a:gd name="T20" fmla="*/ 1 w 527"/>
                <a:gd name="T21" fmla="*/ 653 h 696"/>
                <a:gd name="T22" fmla="*/ 32 w 527"/>
                <a:gd name="T23" fmla="*/ 579 h 696"/>
                <a:gd name="T24" fmla="*/ 79 w 527"/>
                <a:gd name="T25" fmla="*/ 516 h 696"/>
                <a:gd name="T26" fmla="*/ 161 w 527"/>
                <a:gd name="T27" fmla="*/ 357 h 696"/>
                <a:gd name="T28" fmla="*/ 261 w 527"/>
                <a:gd name="T29" fmla="*/ 230 h 696"/>
                <a:gd name="T30" fmla="*/ 125 w 527"/>
                <a:gd name="T31" fmla="*/ 83 h 696"/>
                <a:gd name="T32" fmla="*/ 231 w 527"/>
                <a:gd name="T33" fmla="*/ 159 h 696"/>
                <a:gd name="T34" fmla="*/ 145 w 527"/>
                <a:gd name="T35" fmla="*/ 74 h 696"/>
                <a:gd name="T36" fmla="*/ 149 w 527"/>
                <a:gd name="T37" fmla="*/ 65 h 696"/>
                <a:gd name="T38" fmla="*/ 212 w 527"/>
                <a:gd name="T39" fmla="*/ 121 h 696"/>
                <a:gd name="T40" fmla="*/ 177 w 527"/>
                <a:gd name="T41" fmla="*/ 33 h 696"/>
                <a:gd name="T42" fmla="*/ 259 w 527"/>
                <a:gd name="T43" fmla="*/ 154 h 696"/>
                <a:gd name="T44" fmla="*/ 225 w 527"/>
                <a:gd name="T45" fmla="*/ 61 h 696"/>
                <a:gd name="T46" fmla="*/ 191 w 527"/>
                <a:gd name="T47" fmla="*/ 4 h 696"/>
                <a:gd name="T48" fmla="*/ 199 w 527"/>
                <a:gd name="T49" fmla="*/ 2 h 696"/>
                <a:gd name="T50" fmla="*/ 257 w 527"/>
                <a:gd name="T51" fmla="*/ 114 h 696"/>
                <a:gd name="T52" fmla="*/ 248 w 527"/>
                <a:gd name="T53" fmla="*/ 56 h 696"/>
                <a:gd name="T54" fmla="*/ 256 w 527"/>
                <a:gd name="T55" fmla="*/ 52 h 696"/>
                <a:gd name="T56" fmla="*/ 266 w 527"/>
                <a:gd name="T57" fmla="*/ 2 h 696"/>
                <a:gd name="T58" fmla="*/ 288 w 527"/>
                <a:gd name="T59" fmla="*/ 106 h 696"/>
                <a:gd name="T60" fmla="*/ 295 w 527"/>
                <a:gd name="T61" fmla="*/ 179 h 696"/>
                <a:gd name="T62" fmla="*/ 410 w 527"/>
                <a:gd name="T63" fmla="*/ 61 h 696"/>
                <a:gd name="T64" fmla="*/ 316 w 527"/>
                <a:gd name="T65" fmla="*/ 198 h 696"/>
                <a:gd name="T66" fmla="*/ 404 w 527"/>
                <a:gd name="T67" fmla="*/ 138 h 696"/>
                <a:gd name="T68" fmla="*/ 461 w 527"/>
                <a:gd name="T69" fmla="*/ 76 h 696"/>
                <a:gd name="T70" fmla="*/ 457 w 527"/>
                <a:gd name="T71" fmla="*/ 94 h 696"/>
                <a:gd name="T72" fmla="*/ 392 w 527"/>
                <a:gd name="T73" fmla="*/ 160 h 696"/>
                <a:gd name="T74" fmla="*/ 316 w 527"/>
                <a:gd name="T75" fmla="*/ 215 h 696"/>
                <a:gd name="T76" fmla="*/ 436 w 527"/>
                <a:gd name="T77" fmla="*/ 196 h 696"/>
                <a:gd name="T78" fmla="*/ 517 w 527"/>
                <a:gd name="T79" fmla="*/ 166 h 696"/>
                <a:gd name="T80" fmla="*/ 507 w 527"/>
                <a:gd name="T81" fmla="*/ 180 h 696"/>
                <a:gd name="T82" fmla="*/ 383 w 527"/>
                <a:gd name="T83" fmla="*/ 218 h 696"/>
                <a:gd name="T84" fmla="*/ 430 w 527"/>
                <a:gd name="T85" fmla="*/ 217 h 696"/>
                <a:gd name="T86" fmla="*/ 524 w 527"/>
                <a:gd name="T87" fmla="*/ 192 h 696"/>
                <a:gd name="T88" fmla="*/ 513 w 527"/>
                <a:gd name="T89" fmla="*/ 205 h 696"/>
                <a:gd name="T90" fmla="*/ 411 w 527"/>
                <a:gd name="T91" fmla="*/ 230 h 696"/>
                <a:gd name="T92" fmla="*/ 391 w 527"/>
                <a:gd name="T93" fmla="*/ 242 h 696"/>
                <a:gd name="T94" fmla="*/ 474 w 527"/>
                <a:gd name="T95" fmla="*/ 247 h 696"/>
                <a:gd name="T96" fmla="*/ 524 w 527"/>
                <a:gd name="T97" fmla="*/ 277 h 696"/>
                <a:gd name="T98" fmla="*/ 507 w 527"/>
                <a:gd name="T99" fmla="*/ 274 h 696"/>
                <a:gd name="T100" fmla="*/ 442 w 527"/>
                <a:gd name="T101" fmla="*/ 253 h 696"/>
                <a:gd name="T102" fmla="*/ 505 w 527"/>
                <a:gd name="T103" fmla="*/ 310 h 696"/>
                <a:gd name="T104" fmla="*/ 499 w 527"/>
                <a:gd name="T105" fmla="*/ 316 h 696"/>
                <a:gd name="T106" fmla="*/ 478 w 527"/>
                <a:gd name="T107" fmla="*/ 325 h 696"/>
                <a:gd name="T108" fmla="*/ 420 w 527"/>
                <a:gd name="T109" fmla="*/ 350 h 696"/>
                <a:gd name="T110" fmla="*/ 412 w 527"/>
                <a:gd name="T111" fmla="*/ 354 h 696"/>
                <a:gd name="T112" fmla="*/ 345 w 527"/>
                <a:gd name="T113" fmla="*/ 338 h 696"/>
                <a:gd name="T114" fmla="*/ 332 w 527"/>
                <a:gd name="T115" fmla="*/ 345 h 696"/>
                <a:gd name="T116" fmla="*/ 277 w 527"/>
                <a:gd name="T117" fmla="*/ 22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7" h="696">
                  <a:moveTo>
                    <a:pt x="281" y="196"/>
                  </a:moveTo>
                  <a:lnTo>
                    <a:pt x="284" y="186"/>
                  </a:lnTo>
                  <a:lnTo>
                    <a:pt x="286" y="177"/>
                  </a:lnTo>
                  <a:lnTo>
                    <a:pt x="287" y="167"/>
                  </a:lnTo>
                  <a:lnTo>
                    <a:pt x="287" y="157"/>
                  </a:lnTo>
                  <a:lnTo>
                    <a:pt x="286" y="148"/>
                  </a:lnTo>
                  <a:lnTo>
                    <a:pt x="285" y="138"/>
                  </a:lnTo>
                  <a:lnTo>
                    <a:pt x="284" y="128"/>
                  </a:lnTo>
                  <a:lnTo>
                    <a:pt x="281" y="118"/>
                  </a:lnTo>
                  <a:lnTo>
                    <a:pt x="278" y="108"/>
                  </a:lnTo>
                  <a:lnTo>
                    <a:pt x="275" y="100"/>
                  </a:lnTo>
                  <a:lnTo>
                    <a:pt x="281" y="196"/>
                  </a:lnTo>
                  <a:close/>
                  <a:moveTo>
                    <a:pt x="9" y="672"/>
                  </a:moveTo>
                  <a:lnTo>
                    <a:pt x="32" y="619"/>
                  </a:lnTo>
                  <a:lnTo>
                    <a:pt x="54" y="570"/>
                  </a:lnTo>
                  <a:lnTo>
                    <a:pt x="48" y="575"/>
                  </a:lnTo>
                  <a:lnTo>
                    <a:pt x="42" y="581"/>
                  </a:lnTo>
                  <a:lnTo>
                    <a:pt x="37" y="588"/>
                  </a:lnTo>
                  <a:lnTo>
                    <a:pt x="31" y="596"/>
                  </a:lnTo>
                  <a:lnTo>
                    <a:pt x="26" y="604"/>
                  </a:lnTo>
                  <a:lnTo>
                    <a:pt x="22" y="613"/>
                  </a:lnTo>
                  <a:lnTo>
                    <a:pt x="18" y="622"/>
                  </a:lnTo>
                  <a:lnTo>
                    <a:pt x="15" y="632"/>
                  </a:lnTo>
                  <a:lnTo>
                    <a:pt x="12" y="642"/>
                  </a:lnTo>
                  <a:lnTo>
                    <a:pt x="11" y="652"/>
                  </a:lnTo>
                  <a:lnTo>
                    <a:pt x="9" y="662"/>
                  </a:lnTo>
                  <a:lnTo>
                    <a:pt x="9" y="672"/>
                  </a:lnTo>
                  <a:close/>
                  <a:moveTo>
                    <a:pt x="62" y="576"/>
                  </a:moveTo>
                  <a:lnTo>
                    <a:pt x="40" y="623"/>
                  </a:lnTo>
                  <a:lnTo>
                    <a:pt x="19" y="673"/>
                  </a:lnTo>
                  <a:lnTo>
                    <a:pt x="27" y="663"/>
                  </a:lnTo>
                  <a:lnTo>
                    <a:pt x="35" y="652"/>
                  </a:lnTo>
                  <a:lnTo>
                    <a:pt x="42" y="640"/>
                  </a:lnTo>
                  <a:lnTo>
                    <a:pt x="48" y="628"/>
                  </a:lnTo>
                  <a:lnTo>
                    <a:pt x="53" y="615"/>
                  </a:lnTo>
                  <a:lnTo>
                    <a:pt x="57" y="602"/>
                  </a:lnTo>
                  <a:lnTo>
                    <a:pt x="60" y="589"/>
                  </a:lnTo>
                  <a:lnTo>
                    <a:pt x="62" y="576"/>
                  </a:lnTo>
                  <a:close/>
                  <a:moveTo>
                    <a:pt x="277" y="227"/>
                  </a:moveTo>
                  <a:lnTo>
                    <a:pt x="268" y="237"/>
                  </a:lnTo>
                  <a:lnTo>
                    <a:pt x="259" y="246"/>
                  </a:lnTo>
                  <a:lnTo>
                    <a:pt x="242" y="264"/>
                  </a:lnTo>
                  <a:lnTo>
                    <a:pt x="227" y="282"/>
                  </a:lnTo>
                  <a:lnTo>
                    <a:pt x="219" y="292"/>
                  </a:lnTo>
                  <a:lnTo>
                    <a:pt x="212" y="301"/>
                  </a:lnTo>
                  <a:lnTo>
                    <a:pt x="197" y="321"/>
                  </a:lnTo>
                  <a:lnTo>
                    <a:pt x="183" y="341"/>
                  </a:lnTo>
                  <a:lnTo>
                    <a:pt x="169" y="362"/>
                  </a:lnTo>
                  <a:lnTo>
                    <a:pt x="156" y="384"/>
                  </a:lnTo>
                  <a:lnTo>
                    <a:pt x="145" y="402"/>
                  </a:lnTo>
                  <a:lnTo>
                    <a:pt x="136" y="419"/>
                  </a:lnTo>
                  <a:lnTo>
                    <a:pt x="120" y="451"/>
                  </a:lnTo>
                  <a:lnTo>
                    <a:pt x="88" y="521"/>
                  </a:lnTo>
                  <a:lnTo>
                    <a:pt x="71" y="555"/>
                  </a:lnTo>
                  <a:lnTo>
                    <a:pt x="71" y="565"/>
                  </a:lnTo>
                  <a:lnTo>
                    <a:pt x="71" y="575"/>
                  </a:lnTo>
                  <a:lnTo>
                    <a:pt x="70" y="585"/>
                  </a:lnTo>
                  <a:lnTo>
                    <a:pt x="68" y="595"/>
                  </a:lnTo>
                  <a:lnTo>
                    <a:pt x="66" y="605"/>
                  </a:lnTo>
                  <a:lnTo>
                    <a:pt x="63" y="614"/>
                  </a:lnTo>
                  <a:lnTo>
                    <a:pt x="60" y="624"/>
                  </a:lnTo>
                  <a:lnTo>
                    <a:pt x="56" y="633"/>
                  </a:lnTo>
                  <a:lnTo>
                    <a:pt x="52" y="642"/>
                  </a:lnTo>
                  <a:lnTo>
                    <a:pt x="47" y="650"/>
                  </a:lnTo>
                  <a:lnTo>
                    <a:pt x="42" y="659"/>
                  </a:lnTo>
                  <a:lnTo>
                    <a:pt x="36" y="667"/>
                  </a:lnTo>
                  <a:lnTo>
                    <a:pt x="30" y="675"/>
                  </a:lnTo>
                  <a:lnTo>
                    <a:pt x="23" y="682"/>
                  </a:lnTo>
                  <a:lnTo>
                    <a:pt x="16" y="689"/>
                  </a:lnTo>
                  <a:lnTo>
                    <a:pt x="8" y="696"/>
                  </a:lnTo>
                  <a:lnTo>
                    <a:pt x="6" y="696"/>
                  </a:lnTo>
                  <a:lnTo>
                    <a:pt x="4" y="696"/>
                  </a:lnTo>
                  <a:lnTo>
                    <a:pt x="3" y="695"/>
                  </a:lnTo>
                  <a:lnTo>
                    <a:pt x="1" y="693"/>
                  </a:lnTo>
                  <a:lnTo>
                    <a:pt x="0" y="680"/>
                  </a:lnTo>
                  <a:lnTo>
                    <a:pt x="0" y="667"/>
                  </a:lnTo>
                  <a:lnTo>
                    <a:pt x="1" y="653"/>
                  </a:lnTo>
                  <a:lnTo>
                    <a:pt x="3" y="640"/>
                  </a:lnTo>
                  <a:lnTo>
                    <a:pt x="6" y="627"/>
                  </a:lnTo>
                  <a:lnTo>
                    <a:pt x="11" y="614"/>
                  </a:lnTo>
                  <a:lnTo>
                    <a:pt x="16" y="602"/>
                  </a:lnTo>
                  <a:lnTo>
                    <a:pt x="20" y="596"/>
                  </a:lnTo>
                  <a:lnTo>
                    <a:pt x="23" y="591"/>
                  </a:lnTo>
                  <a:lnTo>
                    <a:pt x="32" y="579"/>
                  </a:lnTo>
                  <a:lnTo>
                    <a:pt x="36" y="574"/>
                  </a:lnTo>
                  <a:lnTo>
                    <a:pt x="40" y="569"/>
                  </a:lnTo>
                  <a:lnTo>
                    <a:pt x="45" y="565"/>
                  </a:lnTo>
                  <a:lnTo>
                    <a:pt x="50" y="561"/>
                  </a:lnTo>
                  <a:lnTo>
                    <a:pt x="56" y="557"/>
                  </a:lnTo>
                  <a:lnTo>
                    <a:pt x="62" y="553"/>
                  </a:lnTo>
                  <a:lnTo>
                    <a:pt x="79" y="516"/>
                  </a:lnTo>
                  <a:lnTo>
                    <a:pt x="96" y="479"/>
                  </a:lnTo>
                  <a:lnTo>
                    <a:pt x="111" y="447"/>
                  </a:lnTo>
                  <a:lnTo>
                    <a:pt x="119" y="431"/>
                  </a:lnTo>
                  <a:lnTo>
                    <a:pt x="128" y="415"/>
                  </a:lnTo>
                  <a:lnTo>
                    <a:pt x="137" y="398"/>
                  </a:lnTo>
                  <a:lnTo>
                    <a:pt x="148" y="379"/>
                  </a:lnTo>
                  <a:lnTo>
                    <a:pt x="161" y="357"/>
                  </a:lnTo>
                  <a:lnTo>
                    <a:pt x="175" y="336"/>
                  </a:lnTo>
                  <a:lnTo>
                    <a:pt x="189" y="315"/>
                  </a:lnTo>
                  <a:lnTo>
                    <a:pt x="204" y="296"/>
                  </a:lnTo>
                  <a:lnTo>
                    <a:pt x="219" y="276"/>
                  </a:lnTo>
                  <a:lnTo>
                    <a:pt x="235" y="258"/>
                  </a:lnTo>
                  <a:lnTo>
                    <a:pt x="252" y="239"/>
                  </a:lnTo>
                  <a:lnTo>
                    <a:pt x="261" y="230"/>
                  </a:lnTo>
                  <a:lnTo>
                    <a:pt x="270" y="221"/>
                  </a:lnTo>
                  <a:lnTo>
                    <a:pt x="269" y="218"/>
                  </a:lnTo>
                  <a:lnTo>
                    <a:pt x="125" y="89"/>
                  </a:lnTo>
                  <a:lnTo>
                    <a:pt x="124" y="88"/>
                  </a:lnTo>
                  <a:lnTo>
                    <a:pt x="123" y="86"/>
                  </a:lnTo>
                  <a:lnTo>
                    <a:pt x="124" y="84"/>
                  </a:lnTo>
                  <a:lnTo>
                    <a:pt x="125" y="83"/>
                  </a:lnTo>
                  <a:lnTo>
                    <a:pt x="126" y="81"/>
                  </a:lnTo>
                  <a:lnTo>
                    <a:pt x="128" y="81"/>
                  </a:lnTo>
                  <a:lnTo>
                    <a:pt x="129" y="81"/>
                  </a:lnTo>
                  <a:lnTo>
                    <a:pt x="131" y="82"/>
                  </a:lnTo>
                  <a:lnTo>
                    <a:pt x="254" y="192"/>
                  </a:lnTo>
                  <a:lnTo>
                    <a:pt x="243" y="175"/>
                  </a:lnTo>
                  <a:lnTo>
                    <a:pt x="231" y="159"/>
                  </a:lnTo>
                  <a:lnTo>
                    <a:pt x="225" y="151"/>
                  </a:lnTo>
                  <a:lnTo>
                    <a:pt x="219" y="143"/>
                  </a:lnTo>
                  <a:lnTo>
                    <a:pt x="205" y="128"/>
                  </a:lnTo>
                  <a:lnTo>
                    <a:pt x="192" y="113"/>
                  </a:lnTo>
                  <a:lnTo>
                    <a:pt x="177" y="99"/>
                  </a:lnTo>
                  <a:lnTo>
                    <a:pt x="161" y="86"/>
                  </a:lnTo>
                  <a:lnTo>
                    <a:pt x="145" y="74"/>
                  </a:lnTo>
                  <a:lnTo>
                    <a:pt x="144" y="72"/>
                  </a:lnTo>
                  <a:lnTo>
                    <a:pt x="143" y="71"/>
                  </a:lnTo>
                  <a:lnTo>
                    <a:pt x="143" y="69"/>
                  </a:lnTo>
                  <a:lnTo>
                    <a:pt x="144" y="67"/>
                  </a:lnTo>
                  <a:lnTo>
                    <a:pt x="145" y="66"/>
                  </a:lnTo>
                  <a:lnTo>
                    <a:pt x="147" y="65"/>
                  </a:lnTo>
                  <a:lnTo>
                    <a:pt x="149" y="65"/>
                  </a:lnTo>
                  <a:lnTo>
                    <a:pt x="151" y="66"/>
                  </a:lnTo>
                  <a:lnTo>
                    <a:pt x="162" y="74"/>
                  </a:lnTo>
                  <a:lnTo>
                    <a:pt x="173" y="83"/>
                  </a:lnTo>
                  <a:lnTo>
                    <a:pt x="183" y="92"/>
                  </a:lnTo>
                  <a:lnTo>
                    <a:pt x="193" y="101"/>
                  </a:lnTo>
                  <a:lnTo>
                    <a:pt x="203" y="111"/>
                  </a:lnTo>
                  <a:lnTo>
                    <a:pt x="212" y="121"/>
                  </a:lnTo>
                  <a:lnTo>
                    <a:pt x="222" y="131"/>
                  </a:lnTo>
                  <a:lnTo>
                    <a:pt x="230" y="142"/>
                  </a:lnTo>
                  <a:lnTo>
                    <a:pt x="175" y="40"/>
                  </a:lnTo>
                  <a:lnTo>
                    <a:pt x="175" y="38"/>
                  </a:lnTo>
                  <a:lnTo>
                    <a:pt x="175" y="36"/>
                  </a:lnTo>
                  <a:lnTo>
                    <a:pt x="176" y="34"/>
                  </a:lnTo>
                  <a:lnTo>
                    <a:pt x="177" y="33"/>
                  </a:lnTo>
                  <a:lnTo>
                    <a:pt x="179" y="33"/>
                  </a:lnTo>
                  <a:lnTo>
                    <a:pt x="181" y="33"/>
                  </a:lnTo>
                  <a:lnTo>
                    <a:pt x="182" y="34"/>
                  </a:lnTo>
                  <a:lnTo>
                    <a:pt x="184" y="35"/>
                  </a:lnTo>
                  <a:lnTo>
                    <a:pt x="267" y="191"/>
                  </a:lnTo>
                  <a:lnTo>
                    <a:pt x="262" y="166"/>
                  </a:lnTo>
                  <a:lnTo>
                    <a:pt x="259" y="154"/>
                  </a:lnTo>
                  <a:lnTo>
                    <a:pt x="256" y="142"/>
                  </a:lnTo>
                  <a:lnTo>
                    <a:pt x="249" y="118"/>
                  </a:lnTo>
                  <a:lnTo>
                    <a:pt x="245" y="107"/>
                  </a:lnTo>
                  <a:lnTo>
                    <a:pt x="240" y="95"/>
                  </a:lnTo>
                  <a:lnTo>
                    <a:pt x="235" y="84"/>
                  </a:lnTo>
                  <a:lnTo>
                    <a:pt x="230" y="72"/>
                  </a:lnTo>
                  <a:lnTo>
                    <a:pt x="225" y="61"/>
                  </a:lnTo>
                  <a:lnTo>
                    <a:pt x="219" y="50"/>
                  </a:lnTo>
                  <a:lnTo>
                    <a:pt x="213" y="40"/>
                  </a:lnTo>
                  <a:lnTo>
                    <a:pt x="206" y="29"/>
                  </a:lnTo>
                  <a:lnTo>
                    <a:pt x="199" y="18"/>
                  </a:lnTo>
                  <a:lnTo>
                    <a:pt x="192" y="8"/>
                  </a:lnTo>
                  <a:lnTo>
                    <a:pt x="191" y="6"/>
                  </a:lnTo>
                  <a:lnTo>
                    <a:pt x="191" y="4"/>
                  </a:lnTo>
                  <a:lnTo>
                    <a:pt x="191" y="3"/>
                  </a:lnTo>
                  <a:lnTo>
                    <a:pt x="191" y="2"/>
                  </a:lnTo>
                  <a:lnTo>
                    <a:pt x="193" y="1"/>
                  </a:lnTo>
                  <a:lnTo>
                    <a:pt x="194" y="0"/>
                  </a:lnTo>
                  <a:lnTo>
                    <a:pt x="196" y="0"/>
                  </a:lnTo>
                  <a:lnTo>
                    <a:pt x="198" y="1"/>
                  </a:lnTo>
                  <a:lnTo>
                    <a:pt x="199" y="2"/>
                  </a:lnTo>
                  <a:lnTo>
                    <a:pt x="211" y="20"/>
                  </a:lnTo>
                  <a:lnTo>
                    <a:pt x="223" y="38"/>
                  </a:lnTo>
                  <a:lnTo>
                    <a:pt x="233" y="56"/>
                  </a:lnTo>
                  <a:lnTo>
                    <a:pt x="242" y="75"/>
                  </a:lnTo>
                  <a:lnTo>
                    <a:pt x="246" y="85"/>
                  </a:lnTo>
                  <a:lnTo>
                    <a:pt x="250" y="94"/>
                  </a:lnTo>
                  <a:lnTo>
                    <a:pt x="257" y="114"/>
                  </a:lnTo>
                  <a:lnTo>
                    <a:pt x="261" y="124"/>
                  </a:lnTo>
                  <a:lnTo>
                    <a:pt x="264" y="134"/>
                  </a:lnTo>
                  <a:lnTo>
                    <a:pt x="269" y="154"/>
                  </a:lnTo>
                  <a:lnTo>
                    <a:pt x="264" y="78"/>
                  </a:lnTo>
                  <a:lnTo>
                    <a:pt x="257" y="68"/>
                  </a:lnTo>
                  <a:lnTo>
                    <a:pt x="249" y="58"/>
                  </a:lnTo>
                  <a:lnTo>
                    <a:pt x="248" y="56"/>
                  </a:lnTo>
                  <a:lnTo>
                    <a:pt x="248" y="54"/>
                  </a:lnTo>
                  <a:lnTo>
                    <a:pt x="248" y="53"/>
                  </a:lnTo>
                  <a:lnTo>
                    <a:pt x="249" y="51"/>
                  </a:lnTo>
                  <a:lnTo>
                    <a:pt x="251" y="50"/>
                  </a:lnTo>
                  <a:lnTo>
                    <a:pt x="253" y="50"/>
                  </a:lnTo>
                  <a:lnTo>
                    <a:pt x="254" y="50"/>
                  </a:lnTo>
                  <a:lnTo>
                    <a:pt x="256" y="52"/>
                  </a:lnTo>
                  <a:lnTo>
                    <a:pt x="263" y="60"/>
                  </a:lnTo>
                  <a:lnTo>
                    <a:pt x="260" y="7"/>
                  </a:lnTo>
                  <a:lnTo>
                    <a:pt x="260" y="5"/>
                  </a:lnTo>
                  <a:lnTo>
                    <a:pt x="261" y="3"/>
                  </a:lnTo>
                  <a:lnTo>
                    <a:pt x="262" y="2"/>
                  </a:lnTo>
                  <a:lnTo>
                    <a:pt x="264" y="2"/>
                  </a:lnTo>
                  <a:lnTo>
                    <a:pt x="266" y="2"/>
                  </a:lnTo>
                  <a:lnTo>
                    <a:pt x="268" y="3"/>
                  </a:lnTo>
                  <a:lnTo>
                    <a:pt x="269" y="4"/>
                  </a:lnTo>
                  <a:lnTo>
                    <a:pt x="269" y="6"/>
                  </a:lnTo>
                  <a:lnTo>
                    <a:pt x="274" y="76"/>
                  </a:lnTo>
                  <a:lnTo>
                    <a:pt x="279" y="86"/>
                  </a:lnTo>
                  <a:lnTo>
                    <a:pt x="284" y="96"/>
                  </a:lnTo>
                  <a:lnTo>
                    <a:pt x="288" y="106"/>
                  </a:lnTo>
                  <a:lnTo>
                    <a:pt x="291" y="117"/>
                  </a:lnTo>
                  <a:lnTo>
                    <a:pt x="293" y="128"/>
                  </a:lnTo>
                  <a:lnTo>
                    <a:pt x="295" y="139"/>
                  </a:lnTo>
                  <a:lnTo>
                    <a:pt x="296" y="150"/>
                  </a:lnTo>
                  <a:lnTo>
                    <a:pt x="296" y="161"/>
                  </a:lnTo>
                  <a:lnTo>
                    <a:pt x="296" y="171"/>
                  </a:lnTo>
                  <a:lnTo>
                    <a:pt x="295" y="179"/>
                  </a:lnTo>
                  <a:lnTo>
                    <a:pt x="294" y="187"/>
                  </a:lnTo>
                  <a:lnTo>
                    <a:pt x="292" y="195"/>
                  </a:lnTo>
                  <a:lnTo>
                    <a:pt x="403" y="62"/>
                  </a:lnTo>
                  <a:lnTo>
                    <a:pt x="405" y="61"/>
                  </a:lnTo>
                  <a:lnTo>
                    <a:pt x="406" y="60"/>
                  </a:lnTo>
                  <a:lnTo>
                    <a:pt x="408" y="61"/>
                  </a:lnTo>
                  <a:lnTo>
                    <a:pt x="410" y="61"/>
                  </a:lnTo>
                  <a:lnTo>
                    <a:pt x="411" y="63"/>
                  </a:lnTo>
                  <a:lnTo>
                    <a:pt x="411" y="64"/>
                  </a:lnTo>
                  <a:lnTo>
                    <a:pt x="411" y="66"/>
                  </a:lnTo>
                  <a:lnTo>
                    <a:pt x="410" y="68"/>
                  </a:lnTo>
                  <a:lnTo>
                    <a:pt x="291" y="210"/>
                  </a:lnTo>
                  <a:lnTo>
                    <a:pt x="304" y="204"/>
                  </a:lnTo>
                  <a:lnTo>
                    <a:pt x="316" y="198"/>
                  </a:lnTo>
                  <a:lnTo>
                    <a:pt x="339" y="185"/>
                  </a:lnTo>
                  <a:lnTo>
                    <a:pt x="351" y="178"/>
                  </a:lnTo>
                  <a:lnTo>
                    <a:pt x="362" y="171"/>
                  </a:lnTo>
                  <a:lnTo>
                    <a:pt x="373" y="163"/>
                  </a:lnTo>
                  <a:lnTo>
                    <a:pt x="383" y="155"/>
                  </a:lnTo>
                  <a:lnTo>
                    <a:pt x="394" y="147"/>
                  </a:lnTo>
                  <a:lnTo>
                    <a:pt x="404" y="138"/>
                  </a:lnTo>
                  <a:lnTo>
                    <a:pt x="423" y="120"/>
                  </a:lnTo>
                  <a:lnTo>
                    <a:pt x="432" y="110"/>
                  </a:lnTo>
                  <a:lnTo>
                    <a:pt x="441" y="99"/>
                  </a:lnTo>
                  <a:lnTo>
                    <a:pt x="449" y="89"/>
                  </a:lnTo>
                  <a:lnTo>
                    <a:pt x="458" y="78"/>
                  </a:lnTo>
                  <a:lnTo>
                    <a:pt x="459" y="76"/>
                  </a:lnTo>
                  <a:lnTo>
                    <a:pt x="461" y="76"/>
                  </a:lnTo>
                  <a:lnTo>
                    <a:pt x="463" y="76"/>
                  </a:lnTo>
                  <a:lnTo>
                    <a:pt x="464" y="77"/>
                  </a:lnTo>
                  <a:lnTo>
                    <a:pt x="466" y="78"/>
                  </a:lnTo>
                  <a:lnTo>
                    <a:pt x="466" y="80"/>
                  </a:lnTo>
                  <a:lnTo>
                    <a:pt x="466" y="81"/>
                  </a:lnTo>
                  <a:lnTo>
                    <a:pt x="465" y="83"/>
                  </a:lnTo>
                  <a:lnTo>
                    <a:pt x="457" y="94"/>
                  </a:lnTo>
                  <a:lnTo>
                    <a:pt x="449" y="105"/>
                  </a:lnTo>
                  <a:lnTo>
                    <a:pt x="440" y="115"/>
                  </a:lnTo>
                  <a:lnTo>
                    <a:pt x="431" y="125"/>
                  </a:lnTo>
                  <a:lnTo>
                    <a:pt x="422" y="134"/>
                  </a:lnTo>
                  <a:lnTo>
                    <a:pt x="412" y="143"/>
                  </a:lnTo>
                  <a:lnTo>
                    <a:pt x="402" y="152"/>
                  </a:lnTo>
                  <a:lnTo>
                    <a:pt x="392" y="160"/>
                  </a:lnTo>
                  <a:lnTo>
                    <a:pt x="382" y="168"/>
                  </a:lnTo>
                  <a:lnTo>
                    <a:pt x="371" y="176"/>
                  </a:lnTo>
                  <a:lnTo>
                    <a:pt x="349" y="191"/>
                  </a:lnTo>
                  <a:lnTo>
                    <a:pt x="326" y="204"/>
                  </a:lnTo>
                  <a:lnTo>
                    <a:pt x="314" y="210"/>
                  </a:lnTo>
                  <a:lnTo>
                    <a:pt x="302" y="216"/>
                  </a:lnTo>
                  <a:lnTo>
                    <a:pt x="316" y="215"/>
                  </a:lnTo>
                  <a:lnTo>
                    <a:pt x="330" y="215"/>
                  </a:lnTo>
                  <a:lnTo>
                    <a:pt x="343" y="213"/>
                  </a:lnTo>
                  <a:lnTo>
                    <a:pt x="357" y="212"/>
                  </a:lnTo>
                  <a:lnTo>
                    <a:pt x="370" y="210"/>
                  </a:lnTo>
                  <a:lnTo>
                    <a:pt x="384" y="208"/>
                  </a:lnTo>
                  <a:lnTo>
                    <a:pt x="410" y="203"/>
                  </a:lnTo>
                  <a:lnTo>
                    <a:pt x="436" y="196"/>
                  </a:lnTo>
                  <a:lnTo>
                    <a:pt x="462" y="188"/>
                  </a:lnTo>
                  <a:lnTo>
                    <a:pt x="475" y="183"/>
                  </a:lnTo>
                  <a:lnTo>
                    <a:pt x="488" y="178"/>
                  </a:lnTo>
                  <a:lnTo>
                    <a:pt x="500" y="172"/>
                  </a:lnTo>
                  <a:lnTo>
                    <a:pt x="513" y="166"/>
                  </a:lnTo>
                  <a:lnTo>
                    <a:pt x="515" y="166"/>
                  </a:lnTo>
                  <a:lnTo>
                    <a:pt x="517" y="166"/>
                  </a:lnTo>
                  <a:lnTo>
                    <a:pt x="519" y="167"/>
                  </a:lnTo>
                  <a:lnTo>
                    <a:pt x="520" y="168"/>
                  </a:lnTo>
                  <a:lnTo>
                    <a:pt x="520" y="170"/>
                  </a:lnTo>
                  <a:lnTo>
                    <a:pt x="520" y="172"/>
                  </a:lnTo>
                  <a:lnTo>
                    <a:pt x="519" y="173"/>
                  </a:lnTo>
                  <a:lnTo>
                    <a:pt x="517" y="175"/>
                  </a:lnTo>
                  <a:lnTo>
                    <a:pt x="507" y="180"/>
                  </a:lnTo>
                  <a:lnTo>
                    <a:pt x="496" y="185"/>
                  </a:lnTo>
                  <a:lnTo>
                    <a:pt x="473" y="194"/>
                  </a:lnTo>
                  <a:lnTo>
                    <a:pt x="451" y="202"/>
                  </a:lnTo>
                  <a:lnTo>
                    <a:pt x="440" y="205"/>
                  </a:lnTo>
                  <a:lnTo>
                    <a:pt x="429" y="208"/>
                  </a:lnTo>
                  <a:lnTo>
                    <a:pt x="406" y="214"/>
                  </a:lnTo>
                  <a:lnTo>
                    <a:pt x="383" y="218"/>
                  </a:lnTo>
                  <a:lnTo>
                    <a:pt x="360" y="221"/>
                  </a:lnTo>
                  <a:lnTo>
                    <a:pt x="337" y="224"/>
                  </a:lnTo>
                  <a:lnTo>
                    <a:pt x="360" y="224"/>
                  </a:lnTo>
                  <a:lnTo>
                    <a:pt x="372" y="223"/>
                  </a:lnTo>
                  <a:lnTo>
                    <a:pt x="384" y="223"/>
                  </a:lnTo>
                  <a:lnTo>
                    <a:pt x="407" y="221"/>
                  </a:lnTo>
                  <a:lnTo>
                    <a:pt x="430" y="217"/>
                  </a:lnTo>
                  <a:lnTo>
                    <a:pt x="453" y="213"/>
                  </a:lnTo>
                  <a:lnTo>
                    <a:pt x="476" y="207"/>
                  </a:lnTo>
                  <a:lnTo>
                    <a:pt x="498" y="200"/>
                  </a:lnTo>
                  <a:lnTo>
                    <a:pt x="509" y="196"/>
                  </a:lnTo>
                  <a:lnTo>
                    <a:pt x="520" y="192"/>
                  </a:lnTo>
                  <a:lnTo>
                    <a:pt x="522" y="191"/>
                  </a:lnTo>
                  <a:lnTo>
                    <a:pt x="524" y="192"/>
                  </a:lnTo>
                  <a:lnTo>
                    <a:pt x="525" y="193"/>
                  </a:lnTo>
                  <a:lnTo>
                    <a:pt x="526" y="194"/>
                  </a:lnTo>
                  <a:lnTo>
                    <a:pt x="527" y="196"/>
                  </a:lnTo>
                  <a:lnTo>
                    <a:pt x="526" y="198"/>
                  </a:lnTo>
                  <a:lnTo>
                    <a:pt x="525" y="199"/>
                  </a:lnTo>
                  <a:lnTo>
                    <a:pt x="524" y="200"/>
                  </a:lnTo>
                  <a:lnTo>
                    <a:pt x="513" y="205"/>
                  </a:lnTo>
                  <a:lnTo>
                    <a:pt x="502" y="209"/>
                  </a:lnTo>
                  <a:lnTo>
                    <a:pt x="491" y="212"/>
                  </a:lnTo>
                  <a:lnTo>
                    <a:pt x="479" y="216"/>
                  </a:lnTo>
                  <a:lnTo>
                    <a:pt x="468" y="219"/>
                  </a:lnTo>
                  <a:lnTo>
                    <a:pt x="457" y="222"/>
                  </a:lnTo>
                  <a:lnTo>
                    <a:pt x="434" y="226"/>
                  </a:lnTo>
                  <a:lnTo>
                    <a:pt x="411" y="230"/>
                  </a:lnTo>
                  <a:lnTo>
                    <a:pt x="388" y="232"/>
                  </a:lnTo>
                  <a:lnTo>
                    <a:pt x="376" y="233"/>
                  </a:lnTo>
                  <a:lnTo>
                    <a:pt x="365" y="233"/>
                  </a:lnTo>
                  <a:lnTo>
                    <a:pt x="341" y="233"/>
                  </a:lnTo>
                  <a:lnTo>
                    <a:pt x="366" y="238"/>
                  </a:lnTo>
                  <a:lnTo>
                    <a:pt x="378" y="240"/>
                  </a:lnTo>
                  <a:lnTo>
                    <a:pt x="391" y="242"/>
                  </a:lnTo>
                  <a:lnTo>
                    <a:pt x="403" y="243"/>
                  </a:lnTo>
                  <a:lnTo>
                    <a:pt x="416" y="244"/>
                  </a:lnTo>
                  <a:lnTo>
                    <a:pt x="428" y="244"/>
                  </a:lnTo>
                  <a:lnTo>
                    <a:pt x="441" y="244"/>
                  </a:lnTo>
                  <a:lnTo>
                    <a:pt x="453" y="244"/>
                  </a:lnTo>
                  <a:lnTo>
                    <a:pt x="464" y="245"/>
                  </a:lnTo>
                  <a:lnTo>
                    <a:pt x="474" y="247"/>
                  </a:lnTo>
                  <a:lnTo>
                    <a:pt x="484" y="251"/>
                  </a:lnTo>
                  <a:lnTo>
                    <a:pt x="494" y="255"/>
                  </a:lnTo>
                  <a:lnTo>
                    <a:pt x="504" y="260"/>
                  </a:lnTo>
                  <a:lnTo>
                    <a:pt x="513" y="266"/>
                  </a:lnTo>
                  <a:lnTo>
                    <a:pt x="522" y="273"/>
                  </a:lnTo>
                  <a:lnTo>
                    <a:pt x="523" y="275"/>
                  </a:lnTo>
                  <a:lnTo>
                    <a:pt x="524" y="277"/>
                  </a:lnTo>
                  <a:lnTo>
                    <a:pt x="523" y="279"/>
                  </a:lnTo>
                  <a:lnTo>
                    <a:pt x="522" y="280"/>
                  </a:lnTo>
                  <a:lnTo>
                    <a:pt x="521" y="281"/>
                  </a:lnTo>
                  <a:lnTo>
                    <a:pt x="519" y="282"/>
                  </a:lnTo>
                  <a:lnTo>
                    <a:pt x="518" y="282"/>
                  </a:lnTo>
                  <a:lnTo>
                    <a:pt x="516" y="281"/>
                  </a:lnTo>
                  <a:lnTo>
                    <a:pt x="507" y="274"/>
                  </a:lnTo>
                  <a:lnTo>
                    <a:pt x="499" y="269"/>
                  </a:lnTo>
                  <a:lnTo>
                    <a:pt x="490" y="264"/>
                  </a:lnTo>
                  <a:lnTo>
                    <a:pt x="481" y="260"/>
                  </a:lnTo>
                  <a:lnTo>
                    <a:pt x="472" y="257"/>
                  </a:lnTo>
                  <a:lnTo>
                    <a:pt x="462" y="255"/>
                  </a:lnTo>
                  <a:lnTo>
                    <a:pt x="452" y="253"/>
                  </a:lnTo>
                  <a:lnTo>
                    <a:pt x="442" y="253"/>
                  </a:lnTo>
                  <a:lnTo>
                    <a:pt x="419" y="253"/>
                  </a:lnTo>
                  <a:lnTo>
                    <a:pt x="396" y="252"/>
                  </a:lnTo>
                  <a:lnTo>
                    <a:pt x="374" y="249"/>
                  </a:lnTo>
                  <a:lnTo>
                    <a:pt x="352" y="245"/>
                  </a:lnTo>
                  <a:lnTo>
                    <a:pt x="502" y="307"/>
                  </a:lnTo>
                  <a:lnTo>
                    <a:pt x="504" y="309"/>
                  </a:lnTo>
                  <a:lnTo>
                    <a:pt x="505" y="310"/>
                  </a:lnTo>
                  <a:lnTo>
                    <a:pt x="505" y="312"/>
                  </a:lnTo>
                  <a:lnTo>
                    <a:pt x="505" y="314"/>
                  </a:lnTo>
                  <a:lnTo>
                    <a:pt x="504" y="315"/>
                  </a:lnTo>
                  <a:lnTo>
                    <a:pt x="502" y="316"/>
                  </a:lnTo>
                  <a:lnTo>
                    <a:pt x="501" y="317"/>
                  </a:lnTo>
                  <a:lnTo>
                    <a:pt x="500" y="316"/>
                  </a:lnTo>
                  <a:lnTo>
                    <a:pt x="499" y="316"/>
                  </a:lnTo>
                  <a:lnTo>
                    <a:pt x="380" y="267"/>
                  </a:lnTo>
                  <a:lnTo>
                    <a:pt x="477" y="317"/>
                  </a:lnTo>
                  <a:lnTo>
                    <a:pt x="479" y="319"/>
                  </a:lnTo>
                  <a:lnTo>
                    <a:pt x="480" y="320"/>
                  </a:lnTo>
                  <a:lnTo>
                    <a:pt x="480" y="322"/>
                  </a:lnTo>
                  <a:lnTo>
                    <a:pt x="479" y="324"/>
                  </a:lnTo>
                  <a:lnTo>
                    <a:pt x="478" y="325"/>
                  </a:lnTo>
                  <a:lnTo>
                    <a:pt x="477" y="326"/>
                  </a:lnTo>
                  <a:lnTo>
                    <a:pt x="475" y="326"/>
                  </a:lnTo>
                  <a:lnTo>
                    <a:pt x="473" y="326"/>
                  </a:lnTo>
                  <a:lnTo>
                    <a:pt x="304" y="238"/>
                  </a:lnTo>
                  <a:lnTo>
                    <a:pt x="418" y="347"/>
                  </a:lnTo>
                  <a:lnTo>
                    <a:pt x="419" y="349"/>
                  </a:lnTo>
                  <a:lnTo>
                    <a:pt x="420" y="350"/>
                  </a:lnTo>
                  <a:lnTo>
                    <a:pt x="419" y="352"/>
                  </a:lnTo>
                  <a:lnTo>
                    <a:pt x="418" y="354"/>
                  </a:lnTo>
                  <a:lnTo>
                    <a:pt x="417" y="355"/>
                  </a:lnTo>
                  <a:lnTo>
                    <a:pt x="415" y="355"/>
                  </a:lnTo>
                  <a:lnTo>
                    <a:pt x="413" y="355"/>
                  </a:lnTo>
                  <a:lnTo>
                    <a:pt x="412" y="355"/>
                  </a:lnTo>
                  <a:lnTo>
                    <a:pt x="412" y="354"/>
                  </a:lnTo>
                  <a:lnTo>
                    <a:pt x="302" y="249"/>
                  </a:lnTo>
                  <a:lnTo>
                    <a:pt x="348" y="331"/>
                  </a:lnTo>
                  <a:lnTo>
                    <a:pt x="349" y="333"/>
                  </a:lnTo>
                  <a:lnTo>
                    <a:pt x="349" y="335"/>
                  </a:lnTo>
                  <a:lnTo>
                    <a:pt x="348" y="337"/>
                  </a:lnTo>
                  <a:lnTo>
                    <a:pt x="347" y="338"/>
                  </a:lnTo>
                  <a:lnTo>
                    <a:pt x="345" y="338"/>
                  </a:lnTo>
                  <a:lnTo>
                    <a:pt x="343" y="338"/>
                  </a:lnTo>
                  <a:lnTo>
                    <a:pt x="342" y="337"/>
                  </a:lnTo>
                  <a:lnTo>
                    <a:pt x="340" y="336"/>
                  </a:lnTo>
                  <a:lnTo>
                    <a:pt x="307" y="278"/>
                  </a:lnTo>
                  <a:lnTo>
                    <a:pt x="333" y="342"/>
                  </a:lnTo>
                  <a:lnTo>
                    <a:pt x="333" y="344"/>
                  </a:lnTo>
                  <a:lnTo>
                    <a:pt x="332" y="345"/>
                  </a:lnTo>
                  <a:lnTo>
                    <a:pt x="331" y="347"/>
                  </a:lnTo>
                  <a:lnTo>
                    <a:pt x="330" y="348"/>
                  </a:lnTo>
                  <a:lnTo>
                    <a:pt x="328" y="348"/>
                  </a:lnTo>
                  <a:lnTo>
                    <a:pt x="326" y="348"/>
                  </a:lnTo>
                  <a:lnTo>
                    <a:pt x="325" y="347"/>
                  </a:lnTo>
                  <a:lnTo>
                    <a:pt x="324" y="345"/>
                  </a:lnTo>
                  <a:lnTo>
                    <a:pt x="277"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0" name="Freeform 1958"/>
            <p:cNvSpPr>
              <a:spLocks/>
            </p:cNvSpPr>
            <p:nvPr userDrawn="1"/>
          </p:nvSpPr>
          <p:spPr bwMode="auto">
            <a:xfrm>
              <a:off x="1065835" y="1882775"/>
              <a:ext cx="2381250" cy="3765550"/>
            </a:xfrm>
            <a:custGeom>
              <a:avLst/>
              <a:gdLst>
                <a:gd name="T0" fmla="*/ 460 w 1500"/>
                <a:gd name="T1" fmla="*/ 1507 h 2372"/>
                <a:gd name="T2" fmla="*/ 542 w 1500"/>
                <a:gd name="T3" fmla="*/ 1919 h 2372"/>
                <a:gd name="T4" fmla="*/ 668 w 1500"/>
                <a:gd name="T5" fmla="*/ 2372 h 2372"/>
                <a:gd name="T6" fmla="*/ 518 w 1500"/>
                <a:gd name="T7" fmla="*/ 1889 h 2372"/>
                <a:gd name="T8" fmla="*/ 444 w 1500"/>
                <a:gd name="T9" fmla="*/ 1510 h 2372"/>
                <a:gd name="T10" fmla="*/ 385 w 1500"/>
                <a:gd name="T11" fmla="*/ 1153 h 2372"/>
                <a:gd name="T12" fmla="*/ 186 w 1500"/>
                <a:gd name="T13" fmla="*/ 1111 h 2372"/>
                <a:gd name="T14" fmla="*/ 72 w 1500"/>
                <a:gd name="T15" fmla="*/ 1082 h 2372"/>
                <a:gd name="T16" fmla="*/ 262 w 1500"/>
                <a:gd name="T17" fmla="*/ 1056 h 2372"/>
                <a:gd name="T18" fmla="*/ 37 w 1500"/>
                <a:gd name="T19" fmla="*/ 916 h 2372"/>
                <a:gd name="T20" fmla="*/ 333 w 1500"/>
                <a:gd name="T21" fmla="*/ 1080 h 2372"/>
                <a:gd name="T22" fmla="*/ 332 w 1500"/>
                <a:gd name="T23" fmla="*/ 1001 h 2372"/>
                <a:gd name="T24" fmla="*/ 222 w 1500"/>
                <a:gd name="T25" fmla="*/ 883 h 2372"/>
                <a:gd name="T26" fmla="*/ 63 w 1500"/>
                <a:gd name="T27" fmla="*/ 779 h 2372"/>
                <a:gd name="T28" fmla="*/ 98 w 1500"/>
                <a:gd name="T29" fmla="*/ 779 h 2372"/>
                <a:gd name="T30" fmla="*/ 280 w 1500"/>
                <a:gd name="T31" fmla="*/ 917 h 2372"/>
                <a:gd name="T32" fmla="*/ 387 w 1500"/>
                <a:gd name="T33" fmla="*/ 1059 h 2372"/>
                <a:gd name="T34" fmla="*/ 276 w 1500"/>
                <a:gd name="T35" fmla="*/ 150 h 2372"/>
                <a:gd name="T36" fmla="*/ 439 w 1500"/>
                <a:gd name="T37" fmla="*/ 1081 h 2372"/>
                <a:gd name="T38" fmla="*/ 524 w 1500"/>
                <a:gd name="T39" fmla="*/ 734 h 2372"/>
                <a:gd name="T40" fmla="*/ 551 w 1500"/>
                <a:gd name="T41" fmla="*/ 405 h 2372"/>
                <a:gd name="T42" fmla="*/ 535 w 1500"/>
                <a:gd name="T43" fmla="*/ 157 h 2372"/>
                <a:gd name="T44" fmla="*/ 512 w 1500"/>
                <a:gd name="T45" fmla="*/ 0 h 2372"/>
                <a:gd name="T46" fmla="*/ 542 w 1500"/>
                <a:gd name="T47" fmla="*/ 99 h 2372"/>
                <a:gd name="T48" fmla="*/ 567 w 1500"/>
                <a:gd name="T49" fmla="*/ 405 h 2372"/>
                <a:gd name="T50" fmla="*/ 540 w 1500"/>
                <a:gd name="T51" fmla="*/ 736 h 2372"/>
                <a:gd name="T52" fmla="*/ 448 w 1500"/>
                <a:gd name="T53" fmla="*/ 1104 h 2372"/>
                <a:gd name="T54" fmla="*/ 688 w 1500"/>
                <a:gd name="T55" fmla="*/ 800 h 2372"/>
                <a:gd name="T56" fmla="*/ 865 w 1500"/>
                <a:gd name="T57" fmla="*/ 506 h 2372"/>
                <a:gd name="T58" fmla="*/ 969 w 1500"/>
                <a:gd name="T59" fmla="*/ 260 h 2372"/>
                <a:gd name="T60" fmla="*/ 1023 w 1500"/>
                <a:gd name="T61" fmla="*/ 99 h 2372"/>
                <a:gd name="T62" fmla="*/ 1012 w 1500"/>
                <a:gd name="T63" fmla="*/ 176 h 2372"/>
                <a:gd name="T64" fmla="*/ 920 w 1500"/>
                <a:gd name="T65" fmla="*/ 429 h 2372"/>
                <a:gd name="T66" fmla="*/ 774 w 1500"/>
                <a:gd name="T67" fmla="*/ 700 h 2372"/>
                <a:gd name="T68" fmla="*/ 533 w 1500"/>
                <a:gd name="T69" fmla="*/ 1031 h 2372"/>
                <a:gd name="T70" fmla="*/ 623 w 1500"/>
                <a:gd name="T71" fmla="*/ 967 h 2372"/>
                <a:gd name="T72" fmla="*/ 853 w 1500"/>
                <a:gd name="T73" fmla="*/ 694 h 2372"/>
                <a:gd name="T74" fmla="*/ 1044 w 1500"/>
                <a:gd name="T75" fmla="*/ 378 h 2372"/>
                <a:gd name="T76" fmla="*/ 1135 w 1500"/>
                <a:gd name="T77" fmla="*/ 160 h 2372"/>
                <a:gd name="T78" fmla="*/ 1147 w 1500"/>
                <a:gd name="T79" fmla="*/ 169 h 2372"/>
                <a:gd name="T80" fmla="*/ 989 w 1500"/>
                <a:gd name="T81" fmla="*/ 512 h 2372"/>
                <a:gd name="T82" fmla="*/ 747 w 1500"/>
                <a:gd name="T83" fmla="*/ 851 h 2372"/>
                <a:gd name="T84" fmla="*/ 635 w 1500"/>
                <a:gd name="T85" fmla="*/ 1001 h 2372"/>
                <a:gd name="T86" fmla="*/ 946 w 1500"/>
                <a:gd name="T87" fmla="*/ 756 h 2372"/>
                <a:gd name="T88" fmla="*/ 1109 w 1500"/>
                <a:gd name="T89" fmla="*/ 580 h 2372"/>
                <a:gd name="T90" fmla="*/ 1260 w 1500"/>
                <a:gd name="T91" fmla="*/ 483 h 2372"/>
                <a:gd name="T92" fmla="*/ 1390 w 1500"/>
                <a:gd name="T93" fmla="*/ 445 h 2372"/>
                <a:gd name="T94" fmla="*/ 1432 w 1500"/>
                <a:gd name="T95" fmla="*/ 452 h 2372"/>
                <a:gd name="T96" fmla="*/ 1280 w 1500"/>
                <a:gd name="T97" fmla="*/ 492 h 2372"/>
                <a:gd name="T98" fmla="*/ 1126 w 1500"/>
                <a:gd name="T99" fmla="*/ 585 h 2372"/>
                <a:gd name="T100" fmla="*/ 987 w 1500"/>
                <a:gd name="T101" fmla="*/ 738 h 2372"/>
                <a:gd name="T102" fmla="*/ 731 w 1500"/>
                <a:gd name="T103" fmla="*/ 953 h 2372"/>
                <a:gd name="T104" fmla="*/ 1497 w 1500"/>
                <a:gd name="T105" fmla="*/ 623 h 2372"/>
                <a:gd name="T106" fmla="*/ 1019 w 1500"/>
                <a:gd name="T107" fmla="*/ 905 h 2372"/>
                <a:gd name="T108" fmla="*/ 1452 w 1500"/>
                <a:gd name="T109" fmla="*/ 758 h 2372"/>
                <a:gd name="T110" fmla="*/ 1357 w 1500"/>
                <a:gd name="T111" fmla="*/ 1064 h 2372"/>
                <a:gd name="T112" fmla="*/ 1058 w 1500"/>
                <a:gd name="T113" fmla="*/ 1265 h 2372"/>
                <a:gd name="T114" fmla="*/ 1059 w 1500"/>
                <a:gd name="T115" fmla="*/ 1281 h 2372"/>
                <a:gd name="T116" fmla="*/ 1045 w 1500"/>
                <a:gd name="T117" fmla="*/ 1370 h 2372"/>
                <a:gd name="T118" fmla="*/ 431 w 1500"/>
                <a:gd name="T119" fmla="*/ 1156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0" h="2372">
                  <a:moveTo>
                    <a:pt x="429" y="1155"/>
                  </a:moveTo>
                  <a:lnTo>
                    <a:pt x="431" y="1210"/>
                  </a:lnTo>
                  <a:lnTo>
                    <a:pt x="434" y="1261"/>
                  </a:lnTo>
                  <a:lnTo>
                    <a:pt x="437" y="1310"/>
                  </a:lnTo>
                  <a:lnTo>
                    <a:pt x="442" y="1357"/>
                  </a:lnTo>
                  <a:lnTo>
                    <a:pt x="447" y="1405"/>
                  </a:lnTo>
                  <a:lnTo>
                    <a:pt x="450" y="1429"/>
                  </a:lnTo>
                  <a:lnTo>
                    <a:pt x="453" y="1454"/>
                  </a:lnTo>
                  <a:lnTo>
                    <a:pt x="460" y="1507"/>
                  </a:lnTo>
                  <a:lnTo>
                    <a:pt x="469" y="1564"/>
                  </a:lnTo>
                  <a:lnTo>
                    <a:pt x="475" y="1605"/>
                  </a:lnTo>
                  <a:lnTo>
                    <a:pt x="482" y="1645"/>
                  </a:lnTo>
                  <a:lnTo>
                    <a:pt x="495" y="1719"/>
                  </a:lnTo>
                  <a:lnTo>
                    <a:pt x="502" y="1754"/>
                  </a:lnTo>
                  <a:lnTo>
                    <a:pt x="510" y="1787"/>
                  </a:lnTo>
                  <a:lnTo>
                    <a:pt x="525" y="1853"/>
                  </a:lnTo>
                  <a:lnTo>
                    <a:pt x="533" y="1886"/>
                  </a:lnTo>
                  <a:lnTo>
                    <a:pt x="542" y="1919"/>
                  </a:lnTo>
                  <a:lnTo>
                    <a:pt x="551" y="1952"/>
                  </a:lnTo>
                  <a:lnTo>
                    <a:pt x="560" y="1986"/>
                  </a:lnTo>
                  <a:lnTo>
                    <a:pt x="581" y="2058"/>
                  </a:lnTo>
                  <a:lnTo>
                    <a:pt x="605" y="2136"/>
                  </a:lnTo>
                  <a:lnTo>
                    <a:pt x="625" y="2200"/>
                  </a:lnTo>
                  <a:lnTo>
                    <a:pt x="645" y="2261"/>
                  </a:lnTo>
                  <a:lnTo>
                    <a:pt x="665" y="2318"/>
                  </a:lnTo>
                  <a:lnTo>
                    <a:pt x="685" y="2372"/>
                  </a:lnTo>
                  <a:lnTo>
                    <a:pt x="668" y="2372"/>
                  </a:lnTo>
                  <a:lnTo>
                    <a:pt x="649" y="2319"/>
                  </a:lnTo>
                  <a:lnTo>
                    <a:pt x="629" y="2263"/>
                  </a:lnTo>
                  <a:lnTo>
                    <a:pt x="609" y="2204"/>
                  </a:lnTo>
                  <a:lnTo>
                    <a:pt x="600" y="2172"/>
                  </a:lnTo>
                  <a:lnTo>
                    <a:pt x="590" y="2140"/>
                  </a:lnTo>
                  <a:lnTo>
                    <a:pt x="566" y="2062"/>
                  </a:lnTo>
                  <a:lnTo>
                    <a:pt x="545" y="1990"/>
                  </a:lnTo>
                  <a:lnTo>
                    <a:pt x="526" y="1922"/>
                  </a:lnTo>
                  <a:lnTo>
                    <a:pt x="518" y="1889"/>
                  </a:lnTo>
                  <a:lnTo>
                    <a:pt x="509" y="1857"/>
                  </a:lnTo>
                  <a:lnTo>
                    <a:pt x="494" y="1791"/>
                  </a:lnTo>
                  <a:lnTo>
                    <a:pt x="487" y="1757"/>
                  </a:lnTo>
                  <a:lnTo>
                    <a:pt x="480" y="1722"/>
                  </a:lnTo>
                  <a:lnTo>
                    <a:pt x="473" y="1686"/>
                  </a:lnTo>
                  <a:lnTo>
                    <a:pt x="466" y="1647"/>
                  </a:lnTo>
                  <a:lnTo>
                    <a:pt x="459" y="1608"/>
                  </a:lnTo>
                  <a:lnTo>
                    <a:pt x="453" y="1567"/>
                  </a:lnTo>
                  <a:lnTo>
                    <a:pt x="444" y="1510"/>
                  </a:lnTo>
                  <a:lnTo>
                    <a:pt x="437" y="1457"/>
                  </a:lnTo>
                  <a:lnTo>
                    <a:pt x="431" y="1408"/>
                  </a:lnTo>
                  <a:lnTo>
                    <a:pt x="426" y="1361"/>
                  </a:lnTo>
                  <a:lnTo>
                    <a:pt x="422" y="1313"/>
                  </a:lnTo>
                  <a:lnTo>
                    <a:pt x="418" y="1265"/>
                  </a:lnTo>
                  <a:lnTo>
                    <a:pt x="415" y="1214"/>
                  </a:lnTo>
                  <a:lnTo>
                    <a:pt x="413" y="1160"/>
                  </a:lnTo>
                  <a:lnTo>
                    <a:pt x="410" y="1160"/>
                  </a:lnTo>
                  <a:lnTo>
                    <a:pt x="385" y="1153"/>
                  </a:lnTo>
                  <a:lnTo>
                    <a:pt x="0" y="1195"/>
                  </a:lnTo>
                  <a:lnTo>
                    <a:pt x="0" y="1178"/>
                  </a:lnTo>
                  <a:lnTo>
                    <a:pt x="340" y="1142"/>
                  </a:lnTo>
                  <a:lnTo>
                    <a:pt x="320" y="1137"/>
                  </a:lnTo>
                  <a:lnTo>
                    <a:pt x="300" y="1133"/>
                  </a:lnTo>
                  <a:lnTo>
                    <a:pt x="280" y="1128"/>
                  </a:lnTo>
                  <a:lnTo>
                    <a:pt x="261" y="1125"/>
                  </a:lnTo>
                  <a:lnTo>
                    <a:pt x="224" y="1118"/>
                  </a:lnTo>
                  <a:lnTo>
                    <a:pt x="186" y="1111"/>
                  </a:lnTo>
                  <a:lnTo>
                    <a:pt x="167" y="1109"/>
                  </a:lnTo>
                  <a:lnTo>
                    <a:pt x="148" y="1106"/>
                  </a:lnTo>
                  <a:lnTo>
                    <a:pt x="108" y="1102"/>
                  </a:lnTo>
                  <a:lnTo>
                    <a:pt x="65" y="1097"/>
                  </a:lnTo>
                  <a:lnTo>
                    <a:pt x="19" y="1094"/>
                  </a:lnTo>
                  <a:lnTo>
                    <a:pt x="0" y="1092"/>
                  </a:lnTo>
                  <a:lnTo>
                    <a:pt x="0" y="1076"/>
                  </a:lnTo>
                  <a:lnTo>
                    <a:pt x="21" y="1078"/>
                  </a:lnTo>
                  <a:lnTo>
                    <a:pt x="72" y="1082"/>
                  </a:lnTo>
                  <a:lnTo>
                    <a:pt x="120" y="1087"/>
                  </a:lnTo>
                  <a:lnTo>
                    <a:pt x="164" y="1092"/>
                  </a:lnTo>
                  <a:lnTo>
                    <a:pt x="207" y="1098"/>
                  </a:lnTo>
                  <a:lnTo>
                    <a:pt x="0" y="1048"/>
                  </a:lnTo>
                  <a:lnTo>
                    <a:pt x="0" y="1032"/>
                  </a:lnTo>
                  <a:lnTo>
                    <a:pt x="364" y="1120"/>
                  </a:lnTo>
                  <a:lnTo>
                    <a:pt x="338" y="1103"/>
                  </a:lnTo>
                  <a:lnTo>
                    <a:pt x="312" y="1086"/>
                  </a:lnTo>
                  <a:lnTo>
                    <a:pt x="262" y="1056"/>
                  </a:lnTo>
                  <a:lnTo>
                    <a:pt x="237" y="1041"/>
                  </a:lnTo>
                  <a:lnTo>
                    <a:pt x="210" y="1026"/>
                  </a:lnTo>
                  <a:lnTo>
                    <a:pt x="182" y="1010"/>
                  </a:lnTo>
                  <a:lnTo>
                    <a:pt x="151" y="993"/>
                  </a:lnTo>
                  <a:lnTo>
                    <a:pt x="71" y="951"/>
                  </a:lnTo>
                  <a:lnTo>
                    <a:pt x="35" y="933"/>
                  </a:lnTo>
                  <a:lnTo>
                    <a:pt x="0" y="916"/>
                  </a:lnTo>
                  <a:lnTo>
                    <a:pt x="0" y="899"/>
                  </a:lnTo>
                  <a:lnTo>
                    <a:pt x="37" y="916"/>
                  </a:lnTo>
                  <a:lnTo>
                    <a:pt x="75" y="935"/>
                  </a:lnTo>
                  <a:lnTo>
                    <a:pt x="115" y="956"/>
                  </a:lnTo>
                  <a:lnTo>
                    <a:pt x="158" y="979"/>
                  </a:lnTo>
                  <a:lnTo>
                    <a:pt x="208" y="1006"/>
                  </a:lnTo>
                  <a:lnTo>
                    <a:pt x="230" y="1018"/>
                  </a:lnTo>
                  <a:lnTo>
                    <a:pt x="251" y="1030"/>
                  </a:lnTo>
                  <a:lnTo>
                    <a:pt x="272" y="1043"/>
                  </a:lnTo>
                  <a:lnTo>
                    <a:pt x="292" y="1055"/>
                  </a:lnTo>
                  <a:lnTo>
                    <a:pt x="333" y="1080"/>
                  </a:lnTo>
                  <a:lnTo>
                    <a:pt x="0" y="817"/>
                  </a:lnTo>
                  <a:lnTo>
                    <a:pt x="0" y="797"/>
                  </a:lnTo>
                  <a:lnTo>
                    <a:pt x="393" y="1108"/>
                  </a:lnTo>
                  <a:lnTo>
                    <a:pt x="379" y="1078"/>
                  </a:lnTo>
                  <a:lnTo>
                    <a:pt x="371" y="1064"/>
                  </a:lnTo>
                  <a:lnTo>
                    <a:pt x="364" y="1051"/>
                  </a:lnTo>
                  <a:lnTo>
                    <a:pt x="348" y="1025"/>
                  </a:lnTo>
                  <a:lnTo>
                    <a:pt x="340" y="1013"/>
                  </a:lnTo>
                  <a:lnTo>
                    <a:pt x="332" y="1001"/>
                  </a:lnTo>
                  <a:lnTo>
                    <a:pt x="323" y="989"/>
                  </a:lnTo>
                  <a:lnTo>
                    <a:pt x="313" y="977"/>
                  </a:lnTo>
                  <a:lnTo>
                    <a:pt x="303" y="965"/>
                  </a:lnTo>
                  <a:lnTo>
                    <a:pt x="293" y="953"/>
                  </a:lnTo>
                  <a:lnTo>
                    <a:pt x="282" y="941"/>
                  </a:lnTo>
                  <a:lnTo>
                    <a:pt x="270" y="929"/>
                  </a:lnTo>
                  <a:lnTo>
                    <a:pt x="258" y="917"/>
                  </a:lnTo>
                  <a:lnTo>
                    <a:pt x="245" y="904"/>
                  </a:lnTo>
                  <a:lnTo>
                    <a:pt x="222" y="883"/>
                  </a:lnTo>
                  <a:lnTo>
                    <a:pt x="201" y="865"/>
                  </a:lnTo>
                  <a:lnTo>
                    <a:pt x="180" y="848"/>
                  </a:lnTo>
                  <a:lnTo>
                    <a:pt x="170" y="841"/>
                  </a:lnTo>
                  <a:lnTo>
                    <a:pt x="160" y="834"/>
                  </a:lnTo>
                  <a:lnTo>
                    <a:pt x="149" y="826"/>
                  </a:lnTo>
                  <a:lnTo>
                    <a:pt x="138" y="820"/>
                  </a:lnTo>
                  <a:lnTo>
                    <a:pt x="115" y="806"/>
                  </a:lnTo>
                  <a:lnTo>
                    <a:pt x="91" y="793"/>
                  </a:lnTo>
                  <a:lnTo>
                    <a:pt x="63" y="779"/>
                  </a:lnTo>
                  <a:lnTo>
                    <a:pt x="31" y="763"/>
                  </a:lnTo>
                  <a:lnTo>
                    <a:pt x="15" y="756"/>
                  </a:lnTo>
                  <a:lnTo>
                    <a:pt x="0" y="750"/>
                  </a:lnTo>
                  <a:lnTo>
                    <a:pt x="0" y="732"/>
                  </a:lnTo>
                  <a:lnTo>
                    <a:pt x="17" y="739"/>
                  </a:lnTo>
                  <a:lnTo>
                    <a:pt x="34" y="747"/>
                  </a:lnTo>
                  <a:lnTo>
                    <a:pt x="52" y="755"/>
                  </a:lnTo>
                  <a:lnTo>
                    <a:pt x="70" y="764"/>
                  </a:lnTo>
                  <a:lnTo>
                    <a:pt x="98" y="779"/>
                  </a:lnTo>
                  <a:lnTo>
                    <a:pt x="123" y="792"/>
                  </a:lnTo>
                  <a:lnTo>
                    <a:pt x="147" y="806"/>
                  </a:lnTo>
                  <a:lnTo>
                    <a:pt x="169" y="820"/>
                  </a:lnTo>
                  <a:lnTo>
                    <a:pt x="190" y="836"/>
                  </a:lnTo>
                  <a:lnTo>
                    <a:pt x="211" y="852"/>
                  </a:lnTo>
                  <a:lnTo>
                    <a:pt x="233" y="871"/>
                  </a:lnTo>
                  <a:lnTo>
                    <a:pt x="256" y="893"/>
                  </a:lnTo>
                  <a:lnTo>
                    <a:pt x="268" y="905"/>
                  </a:lnTo>
                  <a:lnTo>
                    <a:pt x="280" y="917"/>
                  </a:lnTo>
                  <a:lnTo>
                    <a:pt x="303" y="940"/>
                  </a:lnTo>
                  <a:lnTo>
                    <a:pt x="313" y="952"/>
                  </a:lnTo>
                  <a:lnTo>
                    <a:pt x="323" y="963"/>
                  </a:lnTo>
                  <a:lnTo>
                    <a:pt x="341" y="986"/>
                  </a:lnTo>
                  <a:lnTo>
                    <a:pt x="349" y="998"/>
                  </a:lnTo>
                  <a:lnTo>
                    <a:pt x="357" y="1009"/>
                  </a:lnTo>
                  <a:lnTo>
                    <a:pt x="373" y="1034"/>
                  </a:lnTo>
                  <a:lnTo>
                    <a:pt x="380" y="1046"/>
                  </a:lnTo>
                  <a:lnTo>
                    <a:pt x="387" y="1059"/>
                  </a:lnTo>
                  <a:lnTo>
                    <a:pt x="401" y="1087"/>
                  </a:lnTo>
                  <a:lnTo>
                    <a:pt x="335" y="623"/>
                  </a:lnTo>
                  <a:lnTo>
                    <a:pt x="269" y="159"/>
                  </a:lnTo>
                  <a:lnTo>
                    <a:pt x="269" y="157"/>
                  </a:lnTo>
                  <a:lnTo>
                    <a:pt x="270" y="156"/>
                  </a:lnTo>
                  <a:lnTo>
                    <a:pt x="270" y="154"/>
                  </a:lnTo>
                  <a:lnTo>
                    <a:pt x="271" y="153"/>
                  </a:lnTo>
                  <a:lnTo>
                    <a:pt x="273" y="151"/>
                  </a:lnTo>
                  <a:lnTo>
                    <a:pt x="276" y="150"/>
                  </a:lnTo>
                  <a:lnTo>
                    <a:pt x="279" y="150"/>
                  </a:lnTo>
                  <a:lnTo>
                    <a:pt x="282" y="151"/>
                  </a:lnTo>
                  <a:lnTo>
                    <a:pt x="284" y="154"/>
                  </a:lnTo>
                  <a:lnTo>
                    <a:pt x="285" y="157"/>
                  </a:lnTo>
                  <a:lnTo>
                    <a:pt x="353" y="637"/>
                  </a:lnTo>
                  <a:lnTo>
                    <a:pt x="421" y="1117"/>
                  </a:lnTo>
                  <a:lnTo>
                    <a:pt x="424" y="1117"/>
                  </a:lnTo>
                  <a:lnTo>
                    <a:pt x="425" y="1119"/>
                  </a:lnTo>
                  <a:lnTo>
                    <a:pt x="439" y="1081"/>
                  </a:lnTo>
                  <a:lnTo>
                    <a:pt x="450" y="1045"/>
                  </a:lnTo>
                  <a:lnTo>
                    <a:pt x="461" y="1011"/>
                  </a:lnTo>
                  <a:lnTo>
                    <a:pt x="471" y="977"/>
                  </a:lnTo>
                  <a:lnTo>
                    <a:pt x="480" y="943"/>
                  </a:lnTo>
                  <a:lnTo>
                    <a:pt x="488" y="908"/>
                  </a:lnTo>
                  <a:lnTo>
                    <a:pt x="497" y="870"/>
                  </a:lnTo>
                  <a:lnTo>
                    <a:pt x="506" y="828"/>
                  </a:lnTo>
                  <a:lnTo>
                    <a:pt x="516" y="779"/>
                  </a:lnTo>
                  <a:lnTo>
                    <a:pt x="524" y="734"/>
                  </a:lnTo>
                  <a:lnTo>
                    <a:pt x="531" y="691"/>
                  </a:lnTo>
                  <a:lnTo>
                    <a:pt x="537" y="650"/>
                  </a:lnTo>
                  <a:lnTo>
                    <a:pt x="542" y="608"/>
                  </a:lnTo>
                  <a:lnTo>
                    <a:pt x="544" y="587"/>
                  </a:lnTo>
                  <a:lnTo>
                    <a:pt x="546" y="565"/>
                  </a:lnTo>
                  <a:lnTo>
                    <a:pt x="548" y="519"/>
                  </a:lnTo>
                  <a:lnTo>
                    <a:pt x="550" y="469"/>
                  </a:lnTo>
                  <a:lnTo>
                    <a:pt x="551" y="436"/>
                  </a:lnTo>
                  <a:lnTo>
                    <a:pt x="551" y="405"/>
                  </a:lnTo>
                  <a:lnTo>
                    <a:pt x="551" y="375"/>
                  </a:lnTo>
                  <a:lnTo>
                    <a:pt x="551" y="346"/>
                  </a:lnTo>
                  <a:lnTo>
                    <a:pt x="550" y="318"/>
                  </a:lnTo>
                  <a:lnTo>
                    <a:pt x="549" y="291"/>
                  </a:lnTo>
                  <a:lnTo>
                    <a:pt x="547" y="264"/>
                  </a:lnTo>
                  <a:lnTo>
                    <a:pt x="545" y="237"/>
                  </a:lnTo>
                  <a:lnTo>
                    <a:pt x="542" y="211"/>
                  </a:lnTo>
                  <a:lnTo>
                    <a:pt x="539" y="184"/>
                  </a:lnTo>
                  <a:lnTo>
                    <a:pt x="535" y="157"/>
                  </a:lnTo>
                  <a:lnTo>
                    <a:pt x="531" y="130"/>
                  </a:lnTo>
                  <a:lnTo>
                    <a:pt x="526" y="102"/>
                  </a:lnTo>
                  <a:lnTo>
                    <a:pt x="521" y="72"/>
                  </a:lnTo>
                  <a:lnTo>
                    <a:pt x="508" y="10"/>
                  </a:lnTo>
                  <a:lnTo>
                    <a:pt x="507" y="6"/>
                  </a:lnTo>
                  <a:lnTo>
                    <a:pt x="509" y="3"/>
                  </a:lnTo>
                  <a:lnTo>
                    <a:pt x="510" y="2"/>
                  </a:lnTo>
                  <a:lnTo>
                    <a:pt x="511" y="1"/>
                  </a:lnTo>
                  <a:lnTo>
                    <a:pt x="512" y="0"/>
                  </a:lnTo>
                  <a:lnTo>
                    <a:pt x="514" y="0"/>
                  </a:lnTo>
                  <a:lnTo>
                    <a:pt x="517" y="0"/>
                  </a:lnTo>
                  <a:lnTo>
                    <a:pt x="519" y="1"/>
                  </a:lnTo>
                  <a:lnTo>
                    <a:pt x="522" y="3"/>
                  </a:lnTo>
                  <a:lnTo>
                    <a:pt x="523" y="4"/>
                  </a:lnTo>
                  <a:lnTo>
                    <a:pt x="523" y="6"/>
                  </a:lnTo>
                  <a:lnTo>
                    <a:pt x="530" y="39"/>
                  </a:lnTo>
                  <a:lnTo>
                    <a:pt x="536" y="69"/>
                  </a:lnTo>
                  <a:lnTo>
                    <a:pt x="542" y="99"/>
                  </a:lnTo>
                  <a:lnTo>
                    <a:pt x="547" y="128"/>
                  </a:lnTo>
                  <a:lnTo>
                    <a:pt x="555" y="182"/>
                  </a:lnTo>
                  <a:lnTo>
                    <a:pt x="561" y="236"/>
                  </a:lnTo>
                  <a:lnTo>
                    <a:pt x="563" y="262"/>
                  </a:lnTo>
                  <a:lnTo>
                    <a:pt x="565" y="290"/>
                  </a:lnTo>
                  <a:lnTo>
                    <a:pt x="566" y="318"/>
                  </a:lnTo>
                  <a:lnTo>
                    <a:pt x="567" y="346"/>
                  </a:lnTo>
                  <a:lnTo>
                    <a:pt x="567" y="375"/>
                  </a:lnTo>
                  <a:lnTo>
                    <a:pt x="567" y="405"/>
                  </a:lnTo>
                  <a:lnTo>
                    <a:pt x="567" y="436"/>
                  </a:lnTo>
                  <a:lnTo>
                    <a:pt x="566" y="469"/>
                  </a:lnTo>
                  <a:lnTo>
                    <a:pt x="564" y="520"/>
                  </a:lnTo>
                  <a:lnTo>
                    <a:pt x="562" y="566"/>
                  </a:lnTo>
                  <a:lnTo>
                    <a:pt x="560" y="588"/>
                  </a:lnTo>
                  <a:lnTo>
                    <a:pt x="558" y="610"/>
                  </a:lnTo>
                  <a:lnTo>
                    <a:pt x="553" y="652"/>
                  </a:lnTo>
                  <a:lnTo>
                    <a:pt x="547" y="693"/>
                  </a:lnTo>
                  <a:lnTo>
                    <a:pt x="540" y="736"/>
                  </a:lnTo>
                  <a:lnTo>
                    <a:pt x="531" y="782"/>
                  </a:lnTo>
                  <a:lnTo>
                    <a:pt x="521" y="832"/>
                  </a:lnTo>
                  <a:lnTo>
                    <a:pt x="505" y="907"/>
                  </a:lnTo>
                  <a:lnTo>
                    <a:pt x="497" y="941"/>
                  </a:lnTo>
                  <a:lnTo>
                    <a:pt x="488" y="973"/>
                  </a:lnTo>
                  <a:lnTo>
                    <a:pt x="480" y="1005"/>
                  </a:lnTo>
                  <a:lnTo>
                    <a:pt x="470" y="1037"/>
                  </a:lnTo>
                  <a:lnTo>
                    <a:pt x="459" y="1069"/>
                  </a:lnTo>
                  <a:lnTo>
                    <a:pt x="448" y="1104"/>
                  </a:lnTo>
                  <a:lnTo>
                    <a:pt x="473" y="1076"/>
                  </a:lnTo>
                  <a:lnTo>
                    <a:pt x="496" y="1050"/>
                  </a:lnTo>
                  <a:lnTo>
                    <a:pt x="518" y="1024"/>
                  </a:lnTo>
                  <a:lnTo>
                    <a:pt x="539" y="998"/>
                  </a:lnTo>
                  <a:lnTo>
                    <a:pt x="561" y="971"/>
                  </a:lnTo>
                  <a:lnTo>
                    <a:pt x="583" y="943"/>
                  </a:lnTo>
                  <a:lnTo>
                    <a:pt x="630" y="880"/>
                  </a:lnTo>
                  <a:lnTo>
                    <a:pt x="660" y="838"/>
                  </a:lnTo>
                  <a:lnTo>
                    <a:pt x="688" y="800"/>
                  </a:lnTo>
                  <a:lnTo>
                    <a:pt x="714" y="763"/>
                  </a:lnTo>
                  <a:lnTo>
                    <a:pt x="738" y="728"/>
                  </a:lnTo>
                  <a:lnTo>
                    <a:pt x="761" y="691"/>
                  </a:lnTo>
                  <a:lnTo>
                    <a:pt x="772" y="673"/>
                  </a:lnTo>
                  <a:lnTo>
                    <a:pt x="784" y="653"/>
                  </a:lnTo>
                  <a:lnTo>
                    <a:pt x="808" y="612"/>
                  </a:lnTo>
                  <a:lnTo>
                    <a:pt x="833" y="567"/>
                  </a:lnTo>
                  <a:lnTo>
                    <a:pt x="850" y="536"/>
                  </a:lnTo>
                  <a:lnTo>
                    <a:pt x="865" y="506"/>
                  </a:lnTo>
                  <a:lnTo>
                    <a:pt x="879" y="477"/>
                  </a:lnTo>
                  <a:lnTo>
                    <a:pt x="893" y="449"/>
                  </a:lnTo>
                  <a:lnTo>
                    <a:pt x="906" y="422"/>
                  </a:lnTo>
                  <a:lnTo>
                    <a:pt x="917" y="395"/>
                  </a:lnTo>
                  <a:lnTo>
                    <a:pt x="929" y="369"/>
                  </a:lnTo>
                  <a:lnTo>
                    <a:pt x="939" y="343"/>
                  </a:lnTo>
                  <a:lnTo>
                    <a:pt x="950" y="316"/>
                  </a:lnTo>
                  <a:lnTo>
                    <a:pt x="960" y="289"/>
                  </a:lnTo>
                  <a:lnTo>
                    <a:pt x="969" y="260"/>
                  </a:lnTo>
                  <a:lnTo>
                    <a:pt x="979" y="232"/>
                  </a:lnTo>
                  <a:lnTo>
                    <a:pt x="988" y="202"/>
                  </a:lnTo>
                  <a:lnTo>
                    <a:pt x="997" y="172"/>
                  </a:lnTo>
                  <a:lnTo>
                    <a:pt x="1006" y="139"/>
                  </a:lnTo>
                  <a:lnTo>
                    <a:pt x="1016" y="105"/>
                  </a:lnTo>
                  <a:lnTo>
                    <a:pt x="1016" y="103"/>
                  </a:lnTo>
                  <a:lnTo>
                    <a:pt x="1017" y="102"/>
                  </a:lnTo>
                  <a:lnTo>
                    <a:pt x="1020" y="100"/>
                  </a:lnTo>
                  <a:lnTo>
                    <a:pt x="1023" y="99"/>
                  </a:lnTo>
                  <a:lnTo>
                    <a:pt x="1026" y="100"/>
                  </a:lnTo>
                  <a:lnTo>
                    <a:pt x="1028" y="101"/>
                  </a:lnTo>
                  <a:lnTo>
                    <a:pt x="1030" y="103"/>
                  </a:lnTo>
                  <a:lnTo>
                    <a:pt x="1031" y="104"/>
                  </a:lnTo>
                  <a:lnTo>
                    <a:pt x="1031" y="106"/>
                  </a:lnTo>
                  <a:lnTo>
                    <a:pt x="1032" y="108"/>
                  </a:lnTo>
                  <a:lnTo>
                    <a:pt x="1031" y="109"/>
                  </a:lnTo>
                  <a:lnTo>
                    <a:pt x="1022" y="144"/>
                  </a:lnTo>
                  <a:lnTo>
                    <a:pt x="1012" y="176"/>
                  </a:lnTo>
                  <a:lnTo>
                    <a:pt x="1003" y="207"/>
                  </a:lnTo>
                  <a:lnTo>
                    <a:pt x="994" y="237"/>
                  </a:lnTo>
                  <a:lnTo>
                    <a:pt x="984" y="266"/>
                  </a:lnTo>
                  <a:lnTo>
                    <a:pt x="975" y="294"/>
                  </a:lnTo>
                  <a:lnTo>
                    <a:pt x="965" y="322"/>
                  </a:lnTo>
                  <a:lnTo>
                    <a:pt x="954" y="348"/>
                  </a:lnTo>
                  <a:lnTo>
                    <a:pt x="944" y="375"/>
                  </a:lnTo>
                  <a:lnTo>
                    <a:pt x="932" y="402"/>
                  </a:lnTo>
                  <a:lnTo>
                    <a:pt x="920" y="429"/>
                  </a:lnTo>
                  <a:lnTo>
                    <a:pt x="907" y="456"/>
                  </a:lnTo>
                  <a:lnTo>
                    <a:pt x="894" y="484"/>
                  </a:lnTo>
                  <a:lnTo>
                    <a:pt x="879" y="513"/>
                  </a:lnTo>
                  <a:lnTo>
                    <a:pt x="847" y="574"/>
                  </a:lnTo>
                  <a:lnTo>
                    <a:pt x="835" y="598"/>
                  </a:lnTo>
                  <a:lnTo>
                    <a:pt x="822" y="620"/>
                  </a:lnTo>
                  <a:lnTo>
                    <a:pt x="810" y="641"/>
                  </a:lnTo>
                  <a:lnTo>
                    <a:pt x="799" y="662"/>
                  </a:lnTo>
                  <a:lnTo>
                    <a:pt x="774" y="700"/>
                  </a:lnTo>
                  <a:lnTo>
                    <a:pt x="751" y="736"/>
                  </a:lnTo>
                  <a:lnTo>
                    <a:pt x="727" y="772"/>
                  </a:lnTo>
                  <a:lnTo>
                    <a:pt x="701" y="809"/>
                  </a:lnTo>
                  <a:lnTo>
                    <a:pt x="674" y="847"/>
                  </a:lnTo>
                  <a:lnTo>
                    <a:pt x="643" y="889"/>
                  </a:lnTo>
                  <a:lnTo>
                    <a:pt x="596" y="951"/>
                  </a:lnTo>
                  <a:lnTo>
                    <a:pt x="575" y="979"/>
                  </a:lnTo>
                  <a:lnTo>
                    <a:pt x="554" y="1005"/>
                  </a:lnTo>
                  <a:lnTo>
                    <a:pt x="533" y="1031"/>
                  </a:lnTo>
                  <a:lnTo>
                    <a:pt x="512" y="1056"/>
                  </a:lnTo>
                  <a:lnTo>
                    <a:pt x="489" y="1082"/>
                  </a:lnTo>
                  <a:lnTo>
                    <a:pt x="465" y="1109"/>
                  </a:lnTo>
                  <a:lnTo>
                    <a:pt x="472" y="1106"/>
                  </a:lnTo>
                  <a:lnTo>
                    <a:pt x="514" y="1070"/>
                  </a:lnTo>
                  <a:lnTo>
                    <a:pt x="552" y="1035"/>
                  </a:lnTo>
                  <a:lnTo>
                    <a:pt x="588" y="1001"/>
                  </a:lnTo>
                  <a:lnTo>
                    <a:pt x="606" y="984"/>
                  </a:lnTo>
                  <a:lnTo>
                    <a:pt x="623" y="967"/>
                  </a:lnTo>
                  <a:lnTo>
                    <a:pt x="640" y="949"/>
                  </a:lnTo>
                  <a:lnTo>
                    <a:pt x="657" y="931"/>
                  </a:lnTo>
                  <a:lnTo>
                    <a:pt x="691" y="893"/>
                  </a:lnTo>
                  <a:lnTo>
                    <a:pt x="727" y="851"/>
                  </a:lnTo>
                  <a:lnTo>
                    <a:pt x="765" y="805"/>
                  </a:lnTo>
                  <a:lnTo>
                    <a:pt x="798" y="766"/>
                  </a:lnTo>
                  <a:lnTo>
                    <a:pt x="827" y="729"/>
                  </a:lnTo>
                  <a:lnTo>
                    <a:pt x="840" y="712"/>
                  </a:lnTo>
                  <a:lnTo>
                    <a:pt x="853" y="694"/>
                  </a:lnTo>
                  <a:lnTo>
                    <a:pt x="878" y="660"/>
                  </a:lnTo>
                  <a:lnTo>
                    <a:pt x="890" y="643"/>
                  </a:lnTo>
                  <a:lnTo>
                    <a:pt x="902" y="625"/>
                  </a:lnTo>
                  <a:lnTo>
                    <a:pt x="926" y="588"/>
                  </a:lnTo>
                  <a:lnTo>
                    <a:pt x="950" y="548"/>
                  </a:lnTo>
                  <a:lnTo>
                    <a:pt x="976" y="504"/>
                  </a:lnTo>
                  <a:lnTo>
                    <a:pt x="1001" y="459"/>
                  </a:lnTo>
                  <a:lnTo>
                    <a:pt x="1023" y="418"/>
                  </a:lnTo>
                  <a:lnTo>
                    <a:pt x="1044" y="378"/>
                  </a:lnTo>
                  <a:lnTo>
                    <a:pt x="1062" y="339"/>
                  </a:lnTo>
                  <a:lnTo>
                    <a:pt x="1071" y="320"/>
                  </a:lnTo>
                  <a:lnTo>
                    <a:pt x="1080" y="300"/>
                  </a:lnTo>
                  <a:lnTo>
                    <a:pt x="1088" y="280"/>
                  </a:lnTo>
                  <a:lnTo>
                    <a:pt x="1096" y="258"/>
                  </a:lnTo>
                  <a:lnTo>
                    <a:pt x="1113" y="214"/>
                  </a:lnTo>
                  <a:lnTo>
                    <a:pt x="1131" y="165"/>
                  </a:lnTo>
                  <a:lnTo>
                    <a:pt x="1133" y="162"/>
                  </a:lnTo>
                  <a:lnTo>
                    <a:pt x="1135" y="160"/>
                  </a:lnTo>
                  <a:lnTo>
                    <a:pt x="1137" y="160"/>
                  </a:lnTo>
                  <a:lnTo>
                    <a:pt x="1138" y="160"/>
                  </a:lnTo>
                  <a:lnTo>
                    <a:pt x="1141" y="160"/>
                  </a:lnTo>
                  <a:lnTo>
                    <a:pt x="1143" y="161"/>
                  </a:lnTo>
                  <a:lnTo>
                    <a:pt x="1144" y="162"/>
                  </a:lnTo>
                  <a:lnTo>
                    <a:pt x="1146" y="164"/>
                  </a:lnTo>
                  <a:lnTo>
                    <a:pt x="1146" y="165"/>
                  </a:lnTo>
                  <a:lnTo>
                    <a:pt x="1147" y="167"/>
                  </a:lnTo>
                  <a:lnTo>
                    <a:pt x="1147" y="169"/>
                  </a:lnTo>
                  <a:lnTo>
                    <a:pt x="1146" y="170"/>
                  </a:lnTo>
                  <a:lnTo>
                    <a:pt x="1128" y="219"/>
                  </a:lnTo>
                  <a:lnTo>
                    <a:pt x="1111" y="264"/>
                  </a:lnTo>
                  <a:lnTo>
                    <a:pt x="1094" y="306"/>
                  </a:lnTo>
                  <a:lnTo>
                    <a:pt x="1077" y="346"/>
                  </a:lnTo>
                  <a:lnTo>
                    <a:pt x="1058" y="385"/>
                  </a:lnTo>
                  <a:lnTo>
                    <a:pt x="1038" y="425"/>
                  </a:lnTo>
                  <a:lnTo>
                    <a:pt x="1015" y="467"/>
                  </a:lnTo>
                  <a:lnTo>
                    <a:pt x="989" y="512"/>
                  </a:lnTo>
                  <a:lnTo>
                    <a:pt x="964" y="557"/>
                  </a:lnTo>
                  <a:lnTo>
                    <a:pt x="939" y="597"/>
                  </a:lnTo>
                  <a:lnTo>
                    <a:pt x="915" y="634"/>
                  </a:lnTo>
                  <a:lnTo>
                    <a:pt x="891" y="669"/>
                  </a:lnTo>
                  <a:lnTo>
                    <a:pt x="866" y="704"/>
                  </a:lnTo>
                  <a:lnTo>
                    <a:pt x="840" y="739"/>
                  </a:lnTo>
                  <a:lnTo>
                    <a:pt x="810" y="776"/>
                  </a:lnTo>
                  <a:lnTo>
                    <a:pt x="777" y="816"/>
                  </a:lnTo>
                  <a:lnTo>
                    <a:pt x="747" y="851"/>
                  </a:lnTo>
                  <a:lnTo>
                    <a:pt x="719" y="885"/>
                  </a:lnTo>
                  <a:lnTo>
                    <a:pt x="692" y="916"/>
                  </a:lnTo>
                  <a:lnTo>
                    <a:pt x="666" y="945"/>
                  </a:lnTo>
                  <a:lnTo>
                    <a:pt x="639" y="973"/>
                  </a:lnTo>
                  <a:lnTo>
                    <a:pt x="613" y="1000"/>
                  </a:lnTo>
                  <a:lnTo>
                    <a:pt x="585" y="1026"/>
                  </a:lnTo>
                  <a:lnTo>
                    <a:pt x="557" y="1053"/>
                  </a:lnTo>
                  <a:lnTo>
                    <a:pt x="610" y="1018"/>
                  </a:lnTo>
                  <a:lnTo>
                    <a:pt x="635" y="1001"/>
                  </a:lnTo>
                  <a:lnTo>
                    <a:pt x="659" y="985"/>
                  </a:lnTo>
                  <a:lnTo>
                    <a:pt x="682" y="968"/>
                  </a:lnTo>
                  <a:lnTo>
                    <a:pt x="706" y="951"/>
                  </a:lnTo>
                  <a:lnTo>
                    <a:pt x="751" y="917"/>
                  </a:lnTo>
                  <a:lnTo>
                    <a:pt x="774" y="900"/>
                  </a:lnTo>
                  <a:lnTo>
                    <a:pt x="798" y="881"/>
                  </a:lnTo>
                  <a:lnTo>
                    <a:pt x="845" y="843"/>
                  </a:lnTo>
                  <a:lnTo>
                    <a:pt x="894" y="802"/>
                  </a:lnTo>
                  <a:lnTo>
                    <a:pt x="946" y="756"/>
                  </a:lnTo>
                  <a:lnTo>
                    <a:pt x="962" y="741"/>
                  </a:lnTo>
                  <a:lnTo>
                    <a:pt x="977" y="726"/>
                  </a:lnTo>
                  <a:lnTo>
                    <a:pt x="992" y="710"/>
                  </a:lnTo>
                  <a:lnTo>
                    <a:pt x="1006" y="695"/>
                  </a:lnTo>
                  <a:lnTo>
                    <a:pt x="1059" y="632"/>
                  </a:lnTo>
                  <a:lnTo>
                    <a:pt x="1073" y="617"/>
                  </a:lnTo>
                  <a:lnTo>
                    <a:pt x="1087" y="602"/>
                  </a:lnTo>
                  <a:lnTo>
                    <a:pt x="1101" y="587"/>
                  </a:lnTo>
                  <a:lnTo>
                    <a:pt x="1109" y="580"/>
                  </a:lnTo>
                  <a:lnTo>
                    <a:pt x="1116" y="572"/>
                  </a:lnTo>
                  <a:lnTo>
                    <a:pt x="1132" y="559"/>
                  </a:lnTo>
                  <a:lnTo>
                    <a:pt x="1150" y="545"/>
                  </a:lnTo>
                  <a:lnTo>
                    <a:pt x="1168" y="533"/>
                  </a:lnTo>
                  <a:lnTo>
                    <a:pt x="1187" y="521"/>
                  </a:lnTo>
                  <a:lnTo>
                    <a:pt x="1218" y="504"/>
                  </a:lnTo>
                  <a:lnTo>
                    <a:pt x="1232" y="497"/>
                  </a:lnTo>
                  <a:lnTo>
                    <a:pt x="1246" y="490"/>
                  </a:lnTo>
                  <a:lnTo>
                    <a:pt x="1260" y="483"/>
                  </a:lnTo>
                  <a:lnTo>
                    <a:pt x="1274" y="478"/>
                  </a:lnTo>
                  <a:lnTo>
                    <a:pt x="1281" y="475"/>
                  </a:lnTo>
                  <a:lnTo>
                    <a:pt x="1288" y="472"/>
                  </a:lnTo>
                  <a:lnTo>
                    <a:pt x="1301" y="467"/>
                  </a:lnTo>
                  <a:lnTo>
                    <a:pt x="1315" y="463"/>
                  </a:lnTo>
                  <a:lnTo>
                    <a:pt x="1329" y="459"/>
                  </a:lnTo>
                  <a:lnTo>
                    <a:pt x="1344" y="455"/>
                  </a:lnTo>
                  <a:lnTo>
                    <a:pt x="1358" y="451"/>
                  </a:lnTo>
                  <a:lnTo>
                    <a:pt x="1390" y="445"/>
                  </a:lnTo>
                  <a:lnTo>
                    <a:pt x="1424" y="440"/>
                  </a:lnTo>
                  <a:lnTo>
                    <a:pt x="1426" y="440"/>
                  </a:lnTo>
                  <a:lnTo>
                    <a:pt x="1428" y="440"/>
                  </a:lnTo>
                  <a:lnTo>
                    <a:pt x="1429" y="441"/>
                  </a:lnTo>
                  <a:lnTo>
                    <a:pt x="1430" y="441"/>
                  </a:lnTo>
                  <a:lnTo>
                    <a:pt x="1432" y="444"/>
                  </a:lnTo>
                  <a:lnTo>
                    <a:pt x="1433" y="447"/>
                  </a:lnTo>
                  <a:lnTo>
                    <a:pt x="1433" y="450"/>
                  </a:lnTo>
                  <a:lnTo>
                    <a:pt x="1432" y="452"/>
                  </a:lnTo>
                  <a:lnTo>
                    <a:pt x="1430" y="454"/>
                  </a:lnTo>
                  <a:lnTo>
                    <a:pt x="1426" y="456"/>
                  </a:lnTo>
                  <a:lnTo>
                    <a:pt x="1393" y="461"/>
                  </a:lnTo>
                  <a:lnTo>
                    <a:pt x="1362" y="467"/>
                  </a:lnTo>
                  <a:lnTo>
                    <a:pt x="1334" y="474"/>
                  </a:lnTo>
                  <a:lnTo>
                    <a:pt x="1320" y="478"/>
                  </a:lnTo>
                  <a:lnTo>
                    <a:pt x="1306" y="483"/>
                  </a:lnTo>
                  <a:lnTo>
                    <a:pt x="1293" y="487"/>
                  </a:lnTo>
                  <a:lnTo>
                    <a:pt x="1280" y="492"/>
                  </a:lnTo>
                  <a:lnTo>
                    <a:pt x="1267" y="498"/>
                  </a:lnTo>
                  <a:lnTo>
                    <a:pt x="1253" y="504"/>
                  </a:lnTo>
                  <a:lnTo>
                    <a:pt x="1225" y="518"/>
                  </a:lnTo>
                  <a:lnTo>
                    <a:pt x="1195" y="535"/>
                  </a:lnTo>
                  <a:lnTo>
                    <a:pt x="1176" y="546"/>
                  </a:lnTo>
                  <a:lnTo>
                    <a:pt x="1158" y="559"/>
                  </a:lnTo>
                  <a:lnTo>
                    <a:pt x="1142" y="572"/>
                  </a:lnTo>
                  <a:lnTo>
                    <a:pt x="1134" y="579"/>
                  </a:lnTo>
                  <a:lnTo>
                    <a:pt x="1126" y="585"/>
                  </a:lnTo>
                  <a:lnTo>
                    <a:pt x="1111" y="600"/>
                  </a:lnTo>
                  <a:lnTo>
                    <a:pt x="1104" y="607"/>
                  </a:lnTo>
                  <a:lnTo>
                    <a:pt x="1097" y="614"/>
                  </a:lnTo>
                  <a:lnTo>
                    <a:pt x="1083" y="629"/>
                  </a:lnTo>
                  <a:lnTo>
                    <a:pt x="1069" y="645"/>
                  </a:lnTo>
                  <a:lnTo>
                    <a:pt x="1043" y="676"/>
                  </a:lnTo>
                  <a:lnTo>
                    <a:pt x="1016" y="707"/>
                  </a:lnTo>
                  <a:lnTo>
                    <a:pt x="1002" y="723"/>
                  </a:lnTo>
                  <a:lnTo>
                    <a:pt x="987" y="738"/>
                  </a:lnTo>
                  <a:lnTo>
                    <a:pt x="972" y="753"/>
                  </a:lnTo>
                  <a:lnTo>
                    <a:pt x="957" y="768"/>
                  </a:lnTo>
                  <a:lnTo>
                    <a:pt x="907" y="811"/>
                  </a:lnTo>
                  <a:lnTo>
                    <a:pt x="884" y="831"/>
                  </a:lnTo>
                  <a:lnTo>
                    <a:pt x="861" y="850"/>
                  </a:lnTo>
                  <a:lnTo>
                    <a:pt x="839" y="869"/>
                  </a:lnTo>
                  <a:lnTo>
                    <a:pt x="817" y="886"/>
                  </a:lnTo>
                  <a:lnTo>
                    <a:pt x="773" y="920"/>
                  </a:lnTo>
                  <a:lnTo>
                    <a:pt x="731" y="953"/>
                  </a:lnTo>
                  <a:lnTo>
                    <a:pt x="687" y="984"/>
                  </a:lnTo>
                  <a:lnTo>
                    <a:pt x="643" y="1015"/>
                  </a:lnTo>
                  <a:lnTo>
                    <a:pt x="619" y="1031"/>
                  </a:lnTo>
                  <a:lnTo>
                    <a:pt x="595" y="1047"/>
                  </a:lnTo>
                  <a:lnTo>
                    <a:pt x="1042" y="834"/>
                  </a:lnTo>
                  <a:lnTo>
                    <a:pt x="1488" y="622"/>
                  </a:lnTo>
                  <a:lnTo>
                    <a:pt x="1492" y="621"/>
                  </a:lnTo>
                  <a:lnTo>
                    <a:pt x="1495" y="622"/>
                  </a:lnTo>
                  <a:lnTo>
                    <a:pt x="1497" y="623"/>
                  </a:lnTo>
                  <a:lnTo>
                    <a:pt x="1499" y="626"/>
                  </a:lnTo>
                  <a:lnTo>
                    <a:pt x="1500" y="629"/>
                  </a:lnTo>
                  <a:lnTo>
                    <a:pt x="1499" y="632"/>
                  </a:lnTo>
                  <a:lnTo>
                    <a:pt x="1499" y="633"/>
                  </a:lnTo>
                  <a:lnTo>
                    <a:pt x="1498" y="634"/>
                  </a:lnTo>
                  <a:lnTo>
                    <a:pt x="1495" y="636"/>
                  </a:lnTo>
                  <a:lnTo>
                    <a:pt x="1045" y="850"/>
                  </a:lnTo>
                  <a:lnTo>
                    <a:pt x="595" y="1065"/>
                  </a:lnTo>
                  <a:lnTo>
                    <a:pt x="1019" y="905"/>
                  </a:lnTo>
                  <a:lnTo>
                    <a:pt x="1442" y="746"/>
                  </a:lnTo>
                  <a:lnTo>
                    <a:pt x="1444" y="746"/>
                  </a:lnTo>
                  <a:lnTo>
                    <a:pt x="1445" y="746"/>
                  </a:lnTo>
                  <a:lnTo>
                    <a:pt x="1448" y="747"/>
                  </a:lnTo>
                  <a:lnTo>
                    <a:pt x="1451" y="749"/>
                  </a:lnTo>
                  <a:lnTo>
                    <a:pt x="1452" y="751"/>
                  </a:lnTo>
                  <a:lnTo>
                    <a:pt x="1453" y="754"/>
                  </a:lnTo>
                  <a:lnTo>
                    <a:pt x="1452" y="757"/>
                  </a:lnTo>
                  <a:lnTo>
                    <a:pt x="1452" y="758"/>
                  </a:lnTo>
                  <a:lnTo>
                    <a:pt x="1451" y="760"/>
                  </a:lnTo>
                  <a:lnTo>
                    <a:pt x="1448" y="761"/>
                  </a:lnTo>
                  <a:lnTo>
                    <a:pt x="959" y="945"/>
                  </a:lnTo>
                  <a:lnTo>
                    <a:pt x="469" y="1129"/>
                  </a:lnTo>
                  <a:lnTo>
                    <a:pt x="910" y="1095"/>
                  </a:lnTo>
                  <a:lnTo>
                    <a:pt x="1351" y="1062"/>
                  </a:lnTo>
                  <a:lnTo>
                    <a:pt x="1352" y="1062"/>
                  </a:lnTo>
                  <a:lnTo>
                    <a:pt x="1354" y="1062"/>
                  </a:lnTo>
                  <a:lnTo>
                    <a:pt x="1357" y="1064"/>
                  </a:lnTo>
                  <a:lnTo>
                    <a:pt x="1358" y="1066"/>
                  </a:lnTo>
                  <a:lnTo>
                    <a:pt x="1359" y="1069"/>
                  </a:lnTo>
                  <a:lnTo>
                    <a:pt x="1359" y="1072"/>
                  </a:lnTo>
                  <a:lnTo>
                    <a:pt x="1358" y="1075"/>
                  </a:lnTo>
                  <a:lnTo>
                    <a:pt x="1355" y="1077"/>
                  </a:lnTo>
                  <a:lnTo>
                    <a:pt x="1352" y="1078"/>
                  </a:lnTo>
                  <a:lnTo>
                    <a:pt x="927" y="1111"/>
                  </a:lnTo>
                  <a:lnTo>
                    <a:pt x="502" y="1144"/>
                  </a:lnTo>
                  <a:lnTo>
                    <a:pt x="1058" y="1265"/>
                  </a:lnTo>
                  <a:lnTo>
                    <a:pt x="1060" y="1266"/>
                  </a:lnTo>
                  <a:lnTo>
                    <a:pt x="1062" y="1266"/>
                  </a:lnTo>
                  <a:lnTo>
                    <a:pt x="1064" y="1269"/>
                  </a:lnTo>
                  <a:lnTo>
                    <a:pt x="1065" y="1272"/>
                  </a:lnTo>
                  <a:lnTo>
                    <a:pt x="1065" y="1273"/>
                  </a:lnTo>
                  <a:lnTo>
                    <a:pt x="1064" y="1275"/>
                  </a:lnTo>
                  <a:lnTo>
                    <a:pt x="1063" y="1277"/>
                  </a:lnTo>
                  <a:lnTo>
                    <a:pt x="1061" y="1279"/>
                  </a:lnTo>
                  <a:lnTo>
                    <a:pt x="1059" y="1281"/>
                  </a:lnTo>
                  <a:lnTo>
                    <a:pt x="1055" y="1281"/>
                  </a:lnTo>
                  <a:lnTo>
                    <a:pt x="519" y="1164"/>
                  </a:lnTo>
                  <a:lnTo>
                    <a:pt x="1042" y="1357"/>
                  </a:lnTo>
                  <a:lnTo>
                    <a:pt x="1045" y="1359"/>
                  </a:lnTo>
                  <a:lnTo>
                    <a:pt x="1047" y="1361"/>
                  </a:lnTo>
                  <a:lnTo>
                    <a:pt x="1047" y="1364"/>
                  </a:lnTo>
                  <a:lnTo>
                    <a:pt x="1047" y="1367"/>
                  </a:lnTo>
                  <a:lnTo>
                    <a:pt x="1046" y="1369"/>
                  </a:lnTo>
                  <a:lnTo>
                    <a:pt x="1045" y="1370"/>
                  </a:lnTo>
                  <a:lnTo>
                    <a:pt x="1043" y="1372"/>
                  </a:lnTo>
                  <a:lnTo>
                    <a:pt x="1040" y="1373"/>
                  </a:lnTo>
                  <a:lnTo>
                    <a:pt x="1038" y="1372"/>
                  </a:lnTo>
                  <a:lnTo>
                    <a:pt x="1036" y="1372"/>
                  </a:lnTo>
                  <a:lnTo>
                    <a:pt x="441" y="1152"/>
                  </a:lnTo>
                  <a:lnTo>
                    <a:pt x="439" y="1154"/>
                  </a:lnTo>
                  <a:lnTo>
                    <a:pt x="436" y="1156"/>
                  </a:lnTo>
                  <a:lnTo>
                    <a:pt x="433" y="1156"/>
                  </a:lnTo>
                  <a:lnTo>
                    <a:pt x="431" y="1156"/>
                  </a:lnTo>
                  <a:lnTo>
                    <a:pt x="429" y="1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Title 1"/>
          <p:cNvSpPr>
            <a:spLocks noGrp="1"/>
          </p:cNvSpPr>
          <p:nvPr>
            <p:ph type="ctrTitle"/>
          </p:nvPr>
        </p:nvSpPr>
        <p:spPr>
          <a:xfrm>
            <a:off x="623887" y="1916832"/>
            <a:ext cx="10944226" cy="1512168"/>
          </a:xfrm>
        </p:spPr>
        <p:txBody>
          <a:bodyPr anchor="b"/>
          <a:lstStyle>
            <a:lvl1pPr algn="ctr">
              <a:defRPr sz="4000" b="1" spc="-100" baseline="0">
                <a:solidFill>
                  <a:schemeClr val="bg1"/>
                </a:solidFill>
              </a:defRPr>
            </a:lvl1pPr>
          </a:lstStyle>
          <a:p>
            <a:r>
              <a:rPr lang="en-US"/>
              <a:t>Click to edit Master title style</a:t>
            </a:r>
            <a:endParaRPr lang="fi-FI" dirty="0"/>
          </a:p>
        </p:txBody>
      </p:sp>
      <p:sp>
        <p:nvSpPr>
          <p:cNvPr id="3" name="Subtitle 2"/>
          <p:cNvSpPr>
            <a:spLocks noGrp="1"/>
          </p:cNvSpPr>
          <p:nvPr>
            <p:ph type="subTitle" idx="1"/>
          </p:nvPr>
        </p:nvSpPr>
        <p:spPr>
          <a:xfrm>
            <a:off x="623887" y="3645024"/>
            <a:ext cx="10944225" cy="1584201"/>
          </a:xfrm>
        </p:spPr>
        <p:txBody>
          <a:bodyPr/>
          <a:lstStyle>
            <a:lvl1pPr marL="0" indent="0" algn="ctr">
              <a:buNone/>
              <a:defRPr sz="14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
        <p:nvSpPr>
          <p:cNvPr id="4" name="Date Placeholder 3"/>
          <p:cNvSpPr>
            <a:spLocks noGrp="1"/>
          </p:cNvSpPr>
          <p:nvPr>
            <p:ph type="dt" sz="half" idx="10"/>
          </p:nvPr>
        </p:nvSpPr>
        <p:spPr/>
        <p:txBody>
          <a:bodyPr/>
          <a:lstStyle>
            <a:lvl1pPr>
              <a:defRPr>
                <a:noFill/>
              </a:defRPr>
            </a:lvl1pPr>
          </a:lstStyle>
          <a:p>
            <a:fld id="{774B35C4-B680-4808-851E-96192B9B6A16}" type="datetime4">
              <a:rPr lang="en-GB" smtClean="0"/>
              <a:t>16 February 2023</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CONFIDENTIAL</a:t>
            </a:r>
          </a:p>
        </p:txBody>
      </p:sp>
      <p:sp>
        <p:nvSpPr>
          <p:cNvPr id="6" name="Slide Number Placeholder 5"/>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1" name="Text Placeholder 11"/>
          <p:cNvSpPr>
            <a:spLocks noGrp="1"/>
          </p:cNvSpPr>
          <p:nvPr>
            <p:ph type="body" sz="quarter" idx="14" hasCustomPrompt="1"/>
          </p:nvPr>
        </p:nvSpPr>
        <p:spPr>
          <a:xfrm>
            <a:off x="623889" y="5445224"/>
            <a:ext cx="10944224" cy="432048"/>
          </a:xfrm>
        </p:spPr>
        <p:txBody>
          <a:bodyPr anchor="t" anchorCtr="0"/>
          <a:lstStyle>
            <a:lvl1pPr marL="0" indent="0" algn="ctr">
              <a:lnSpc>
                <a:spcPct val="100000"/>
              </a:lnSpc>
              <a:spcBef>
                <a:spcPts val="200"/>
              </a:spcBef>
              <a:buFontTx/>
              <a:buNone/>
              <a:defRPr sz="1200" b="0" cap="none" baseline="0">
                <a:solidFill>
                  <a:schemeClr val="bg1"/>
                </a:solidFill>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Date Place or other additional info</a:t>
            </a:r>
          </a:p>
        </p:txBody>
      </p:sp>
      <p:pic>
        <p:nvPicPr>
          <p:cNvPr id="21" name="Graphic 20">
            <a:extLst>
              <a:ext uri="{FF2B5EF4-FFF2-40B4-BE49-F238E27FC236}">
                <a16:creationId xmlns:a16="http://schemas.microsoft.com/office/drawing/2014/main" id="{3A1E76B7-E4E4-4ACF-86D8-BB80AF111A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634852"/>
            <a:ext cx="2301994" cy="920798"/>
          </a:xfrm>
          <a:prstGeom prst="rect">
            <a:avLst/>
          </a:prstGeom>
        </p:spPr>
      </p:pic>
    </p:spTree>
    <p:extLst>
      <p:ext uri="{BB962C8B-B14F-4D97-AF65-F5344CB8AC3E}">
        <p14:creationId xmlns:p14="http://schemas.microsoft.com/office/powerpoint/2010/main" val="254145587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Date Placeholder 2"/>
          <p:cNvSpPr>
            <a:spLocks noGrp="1"/>
          </p:cNvSpPr>
          <p:nvPr>
            <p:ph type="dt" sz="half" idx="10"/>
          </p:nvPr>
        </p:nvSpPr>
        <p:spPr/>
        <p:txBody>
          <a:bodyPr/>
          <a:lstStyle/>
          <a:p>
            <a:fld id="{CCF9DF28-212F-439A-9D5A-B125DB8F4714}" type="datetime4">
              <a:rPr lang="en-GB" smtClean="0"/>
              <a:t>16 February 2023</a:t>
            </a:fld>
            <a:endParaRPr lang="fi-FI"/>
          </a:p>
        </p:txBody>
      </p:sp>
      <p:sp>
        <p:nvSpPr>
          <p:cNvPr id="4" name="Footer Placeholder 3"/>
          <p:cNvSpPr>
            <a:spLocks noGrp="1"/>
          </p:cNvSpPr>
          <p:nvPr>
            <p:ph type="ftr" sz="quarter" idx="11"/>
          </p:nvPr>
        </p:nvSpPr>
        <p:spPr/>
        <p:txBody>
          <a:bodyPr/>
          <a:lstStyle/>
          <a:p>
            <a:r>
              <a:rPr lang="fi-FI"/>
              <a:t>CONFIDENTIAL</a:t>
            </a:r>
          </a:p>
        </p:txBody>
      </p:sp>
      <p:sp>
        <p:nvSpPr>
          <p:cNvPr id="5" name="Slide Number Placeholder 4"/>
          <p:cNvSpPr>
            <a:spLocks noGrp="1"/>
          </p:cNvSpPr>
          <p:nvPr>
            <p:ph type="sldNum" sz="quarter" idx="12"/>
          </p:nvPr>
        </p:nvSpPr>
        <p:spPr/>
        <p:txBody>
          <a:bodyPr/>
          <a:lstStyle/>
          <a:p>
            <a:fld id="{C681002B-9E36-49F2-803E-4F1D6FC85B63}" type="slidenum">
              <a:rPr lang="fi-FI" smtClean="0"/>
              <a:t>‹#›</a:t>
            </a:fld>
            <a:endParaRPr lang="fi-FI"/>
          </a:p>
        </p:txBody>
      </p:sp>
      <p:sp>
        <p:nvSpPr>
          <p:cNvPr id="8"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114261988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5BD285D-5111-41EE-A822-2B4C2291ACA2}" type="datetime4">
              <a:rPr lang="en-GB" smtClean="0"/>
              <a:t>16 February 2023</a:t>
            </a:fld>
            <a:endParaRPr lang="fi-FI"/>
          </a:p>
        </p:txBody>
      </p:sp>
      <p:sp>
        <p:nvSpPr>
          <p:cNvPr id="3" name="Footer Placeholder 2"/>
          <p:cNvSpPr>
            <a:spLocks noGrp="1"/>
          </p:cNvSpPr>
          <p:nvPr>
            <p:ph type="ftr" sz="quarter" idx="11"/>
          </p:nvPr>
        </p:nvSpPr>
        <p:spPr/>
        <p:txBody>
          <a:bodyPr/>
          <a:lstStyle/>
          <a:p>
            <a:r>
              <a:rPr lang="fi-FI"/>
              <a:t>CONFIDENTIAL</a:t>
            </a:r>
          </a:p>
        </p:txBody>
      </p:sp>
      <p:sp>
        <p:nvSpPr>
          <p:cNvPr id="4" name="Slide Number Placeholder 3"/>
          <p:cNvSpPr>
            <a:spLocks noGrp="1"/>
          </p:cNvSpPr>
          <p:nvPr>
            <p:ph type="sldNum" sz="quarter" idx="12"/>
          </p:nvPr>
        </p:nvSpPr>
        <p:spPr/>
        <p:txBody>
          <a:bodyPr/>
          <a:lstStyle/>
          <a:p>
            <a:fld id="{C681002B-9E36-49F2-803E-4F1D6FC85B63}" type="slidenum">
              <a:rPr lang="fi-FI" smtClean="0"/>
              <a:t>‹#›</a:t>
            </a:fld>
            <a:endParaRPr lang="fi-FI"/>
          </a:p>
        </p:txBody>
      </p:sp>
    </p:spTree>
    <p:extLst>
      <p:ext uri="{BB962C8B-B14F-4D97-AF65-F5344CB8AC3E}">
        <p14:creationId xmlns:p14="http://schemas.microsoft.com/office/powerpoint/2010/main" val="100360251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logan Sky">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F988E5CF-F969-42E2-AF1A-08F7E70AD1D5}"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6" name="Freeform 6"/>
          <p:cNvSpPr>
            <a:spLocks noChangeAspect="1" noEditPoints="1"/>
          </p:cNvSpPr>
          <p:nvPr userDrawn="1"/>
        </p:nvSpPr>
        <p:spPr bwMode="auto">
          <a:xfrm>
            <a:off x="1910586" y="2565024"/>
            <a:ext cx="8370828" cy="1080000"/>
          </a:xfrm>
          <a:custGeom>
            <a:avLst/>
            <a:gdLst>
              <a:gd name="T0" fmla="*/ 4256 w 5100"/>
              <a:gd name="T1" fmla="*/ 656 h 658"/>
              <a:gd name="T2" fmla="*/ 113 w 5100"/>
              <a:gd name="T3" fmla="*/ 0 h 658"/>
              <a:gd name="T4" fmla="*/ 208 w 5100"/>
              <a:gd name="T5" fmla="*/ 188 h 658"/>
              <a:gd name="T6" fmla="*/ 13 w 5100"/>
              <a:gd name="T7" fmla="*/ 178 h 658"/>
              <a:gd name="T8" fmla="*/ 71 w 5100"/>
              <a:gd name="T9" fmla="*/ 28 h 658"/>
              <a:gd name="T10" fmla="*/ 102 w 5100"/>
              <a:gd name="T11" fmla="*/ 222 h 658"/>
              <a:gd name="T12" fmla="*/ 305 w 5100"/>
              <a:gd name="T13" fmla="*/ 191 h 658"/>
              <a:gd name="T14" fmla="*/ 433 w 5100"/>
              <a:gd name="T15" fmla="*/ 171 h 658"/>
              <a:gd name="T16" fmla="*/ 335 w 5100"/>
              <a:gd name="T17" fmla="*/ 236 h 658"/>
              <a:gd name="T18" fmla="*/ 637 w 5100"/>
              <a:gd name="T19" fmla="*/ 11 h 658"/>
              <a:gd name="T20" fmla="*/ 676 w 5100"/>
              <a:gd name="T21" fmla="*/ 236 h 658"/>
              <a:gd name="T22" fmla="*/ 631 w 5100"/>
              <a:gd name="T23" fmla="*/ 114 h 658"/>
              <a:gd name="T24" fmla="*/ 894 w 5100"/>
              <a:gd name="T25" fmla="*/ 5 h 658"/>
              <a:gd name="T26" fmla="*/ 919 w 5100"/>
              <a:gd name="T27" fmla="*/ 19 h 658"/>
              <a:gd name="T28" fmla="*/ 871 w 5100"/>
              <a:gd name="T29" fmla="*/ 203 h 658"/>
              <a:gd name="T30" fmla="*/ 967 w 5100"/>
              <a:gd name="T31" fmla="*/ 234 h 658"/>
              <a:gd name="T32" fmla="*/ 1049 w 5100"/>
              <a:gd name="T33" fmla="*/ 236 h 658"/>
              <a:gd name="T34" fmla="*/ 1516 w 5100"/>
              <a:gd name="T35" fmla="*/ 236 h 658"/>
              <a:gd name="T36" fmla="*/ 1975 w 5100"/>
              <a:gd name="T37" fmla="*/ 218 h 658"/>
              <a:gd name="T38" fmla="*/ 2038 w 5100"/>
              <a:gd name="T39" fmla="*/ 138 h 658"/>
              <a:gd name="T40" fmla="*/ 1953 w 5100"/>
              <a:gd name="T41" fmla="*/ 13 h 658"/>
              <a:gd name="T42" fmla="*/ 2010 w 5100"/>
              <a:gd name="T43" fmla="*/ 19 h 658"/>
              <a:gd name="T44" fmla="*/ 2029 w 5100"/>
              <a:gd name="T45" fmla="*/ 112 h 658"/>
              <a:gd name="T46" fmla="*/ 2014 w 5100"/>
              <a:gd name="T47" fmla="*/ 240 h 658"/>
              <a:gd name="T48" fmla="*/ 2530 w 5100"/>
              <a:gd name="T49" fmla="*/ 179 h 658"/>
              <a:gd name="T50" fmla="*/ 3088 w 5100"/>
              <a:gd name="T51" fmla="*/ 22 h 658"/>
              <a:gd name="T52" fmla="*/ 3596 w 5100"/>
              <a:gd name="T53" fmla="*/ 108 h 658"/>
              <a:gd name="T54" fmla="*/ 4158 w 5100"/>
              <a:gd name="T55" fmla="*/ 208 h 658"/>
              <a:gd name="T56" fmla="*/ 4396 w 5100"/>
              <a:gd name="T57" fmla="*/ 3 h 658"/>
              <a:gd name="T58" fmla="*/ 4453 w 5100"/>
              <a:gd name="T59" fmla="*/ 206 h 658"/>
              <a:gd name="T60" fmla="*/ 4264 w 5100"/>
              <a:gd name="T61" fmla="*/ 156 h 658"/>
              <a:gd name="T62" fmla="*/ 4318 w 5100"/>
              <a:gd name="T63" fmla="*/ 35 h 658"/>
              <a:gd name="T64" fmla="*/ 4382 w 5100"/>
              <a:gd name="T65" fmla="*/ 222 h 658"/>
              <a:gd name="T66" fmla="*/ 4656 w 5100"/>
              <a:gd name="T67" fmla="*/ 11 h 658"/>
              <a:gd name="T68" fmla="*/ 4695 w 5100"/>
              <a:gd name="T69" fmla="*/ 236 h 658"/>
              <a:gd name="T70" fmla="*/ 4650 w 5100"/>
              <a:gd name="T71" fmla="*/ 114 h 658"/>
              <a:gd name="T72" fmla="*/ 5037 w 5100"/>
              <a:gd name="T73" fmla="*/ 16 h 658"/>
              <a:gd name="T74" fmla="*/ 5061 w 5100"/>
              <a:gd name="T75" fmla="*/ 210 h 658"/>
              <a:gd name="T76" fmla="*/ 5005 w 5100"/>
              <a:gd name="T77" fmla="*/ 24 h 658"/>
              <a:gd name="T78" fmla="*/ 838 w 5100"/>
              <a:gd name="T79" fmla="*/ 489 h 658"/>
              <a:gd name="T80" fmla="*/ 1010 w 5100"/>
              <a:gd name="T81" fmla="*/ 463 h 658"/>
              <a:gd name="T82" fmla="*/ 852 w 5100"/>
              <a:gd name="T83" fmla="*/ 527 h 658"/>
              <a:gd name="T84" fmla="*/ 1010 w 5100"/>
              <a:gd name="T85" fmla="*/ 614 h 658"/>
              <a:gd name="T86" fmla="*/ 864 w 5100"/>
              <a:gd name="T87" fmla="*/ 625 h 658"/>
              <a:gd name="T88" fmla="*/ 1259 w 5100"/>
              <a:gd name="T89" fmla="*/ 636 h 658"/>
              <a:gd name="T90" fmla="*/ 1836 w 5100"/>
              <a:gd name="T91" fmla="*/ 654 h 658"/>
              <a:gd name="T92" fmla="*/ 2244 w 5100"/>
              <a:gd name="T93" fmla="*/ 436 h 658"/>
              <a:gd name="T94" fmla="*/ 2249 w 5100"/>
              <a:gd name="T95" fmla="*/ 490 h 658"/>
              <a:gd name="T96" fmla="*/ 2235 w 5100"/>
              <a:gd name="T97" fmla="*/ 526 h 658"/>
              <a:gd name="T98" fmla="*/ 2644 w 5100"/>
              <a:gd name="T99" fmla="*/ 422 h 658"/>
              <a:gd name="T100" fmla="*/ 3078 w 5100"/>
              <a:gd name="T101" fmla="*/ 504 h 658"/>
              <a:gd name="T102" fmla="*/ 3061 w 5100"/>
              <a:gd name="T103" fmla="*/ 538 h 658"/>
              <a:gd name="T104" fmla="*/ 3023 w 5100"/>
              <a:gd name="T105" fmla="*/ 619 h 658"/>
              <a:gd name="T106" fmla="*/ 3324 w 5100"/>
              <a:gd name="T107" fmla="*/ 637 h 658"/>
              <a:gd name="T108" fmla="*/ 3255 w 5100"/>
              <a:gd name="T109" fmla="*/ 529 h 658"/>
              <a:gd name="T110" fmla="*/ 3299 w 5100"/>
              <a:gd name="T111" fmla="*/ 418 h 658"/>
              <a:gd name="T112" fmla="*/ 3259 w 5100"/>
              <a:gd name="T113" fmla="*/ 448 h 658"/>
              <a:gd name="T114" fmla="*/ 3370 w 5100"/>
              <a:gd name="T115" fmla="*/ 555 h 658"/>
              <a:gd name="T116" fmla="*/ 3231 w 5100"/>
              <a:gd name="T117" fmla="*/ 636 h 658"/>
              <a:gd name="T118" fmla="*/ 3658 w 5100"/>
              <a:gd name="T119" fmla="*/ 654 h 658"/>
              <a:gd name="T120" fmla="*/ 4173 w 5100"/>
              <a:gd name="T121" fmla="*/ 436 h 658"/>
              <a:gd name="T122" fmla="*/ 4177 w 5100"/>
              <a:gd name="T123" fmla="*/ 490 h 658"/>
              <a:gd name="T124" fmla="*/ 4163 w 5100"/>
              <a:gd name="T125" fmla="*/ 526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0" h="658">
                <a:moveTo>
                  <a:pt x="4245" y="642"/>
                </a:moveTo>
                <a:lnTo>
                  <a:pt x="4245" y="639"/>
                </a:lnTo>
                <a:lnTo>
                  <a:pt x="4246" y="636"/>
                </a:lnTo>
                <a:lnTo>
                  <a:pt x="4248" y="634"/>
                </a:lnTo>
                <a:lnTo>
                  <a:pt x="4251" y="631"/>
                </a:lnTo>
                <a:lnTo>
                  <a:pt x="4253" y="629"/>
                </a:lnTo>
                <a:lnTo>
                  <a:pt x="4256" y="628"/>
                </a:lnTo>
                <a:lnTo>
                  <a:pt x="4258" y="627"/>
                </a:lnTo>
                <a:lnTo>
                  <a:pt x="4261" y="627"/>
                </a:lnTo>
                <a:lnTo>
                  <a:pt x="4265" y="627"/>
                </a:lnTo>
                <a:lnTo>
                  <a:pt x="4267" y="628"/>
                </a:lnTo>
                <a:lnTo>
                  <a:pt x="4270" y="629"/>
                </a:lnTo>
                <a:lnTo>
                  <a:pt x="4272" y="631"/>
                </a:lnTo>
                <a:lnTo>
                  <a:pt x="4274" y="634"/>
                </a:lnTo>
                <a:lnTo>
                  <a:pt x="4276" y="636"/>
                </a:lnTo>
                <a:lnTo>
                  <a:pt x="4276" y="639"/>
                </a:lnTo>
                <a:lnTo>
                  <a:pt x="4277" y="642"/>
                </a:lnTo>
                <a:lnTo>
                  <a:pt x="4276" y="645"/>
                </a:lnTo>
                <a:lnTo>
                  <a:pt x="4276" y="648"/>
                </a:lnTo>
                <a:lnTo>
                  <a:pt x="4274" y="650"/>
                </a:lnTo>
                <a:lnTo>
                  <a:pt x="4272" y="653"/>
                </a:lnTo>
                <a:lnTo>
                  <a:pt x="4270" y="654"/>
                </a:lnTo>
                <a:lnTo>
                  <a:pt x="4267" y="656"/>
                </a:lnTo>
                <a:lnTo>
                  <a:pt x="4265" y="657"/>
                </a:lnTo>
                <a:lnTo>
                  <a:pt x="4261" y="657"/>
                </a:lnTo>
                <a:lnTo>
                  <a:pt x="4258" y="657"/>
                </a:lnTo>
                <a:lnTo>
                  <a:pt x="4256" y="656"/>
                </a:lnTo>
                <a:lnTo>
                  <a:pt x="4253" y="654"/>
                </a:lnTo>
                <a:lnTo>
                  <a:pt x="4251" y="653"/>
                </a:lnTo>
                <a:lnTo>
                  <a:pt x="4248" y="650"/>
                </a:lnTo>
                <a:lnTo>
                  <a:pt x="4246" y="648"/>
                </a:lnTo>
                <a:lnTo>
                  <a:pt x="4245" y="645"/>
                </a:lnTo>
                <a:lnTo>
                  <a:pt x="4245" y="642"/>
                </a:lnTo>
                <a:close/>
                <a:moveTo>
                  <a:pt x="0" y="120"/>
                </a:moveTo>
                <a:lnTo>
                  <a:pt x="1" y="108"/>
                </a:lnTo>
                <a:lnTo>
                  <a:pt x="1" y="102"/>
                </a:lnTo>
                <a:lnTo>
                  <a:pt x="2" y="96"/>
                </a:lnTo>
                <a:lnTo>
                  <a:pt x="5" y="84"/>
                </a:lnTo>
                <a:lnTo>
                  <a:pt x="8" y="73"/>
                </a:lnTo>
                <a:lnTo>
                  <a:pt x="13" y="62"/>
                </a:lnTo>
                <a:lnTo>
                  <a:pt x="15" y="57"/>
                </a:lnTo>
                <a:lnTo>
                  <a:pt x="18" y="52"/>
                </a:lnTo>
                <a:lnTo>
                  <a:pt x="24" y="43"/>
                </a:lnTo>
                <a:lnTo>
                  <a:pt x="31" y="35"/>
                </a:lnTo>
                <a:lnTo>
                  <a:pt x="39" y="27"/>
                </a:lnTo>
                <a:lnTo>
                  <a:pt x="43" y="24"/>
                </a:lnTo>
                <a:lnTo>
                  <a:pt x="47" y="20"/>
                </a:lnTo>
                <a:lnTo>
                  <a:pt x="56" y="14"/>
                </a:lnTo>
                <a:lnTo>
                  <a:pt x="66" y="9"/>
                </a:lnTo>
                <a:lnTo>
                  <a:pt x="77" y="6"/>
                </a:lnTo>
                <a:lnTo>
                  <a:pt x="88" y="3"/>
                </a:lnTo>
                <a:lnTo>
                  <a:pt x="100" y="1"/>
                </a:lnTo>
                <a:lnTo>
                  <a:pt x="106" y="0"/>
                </a:lnTo>
                <a:lnTo>
                  <a:pt x="113" y="0"/>
                </a:lnTo>
                <a:lnTo>
                  <a:pt x="125" y="1"/>
                </a:lnTo>
                <a:lnTo>
                  <a:pt x="137" y="3"/>
                </a:lnTo>
                <a:lnTo>
                  <a:pt x="148" y="6"/>
                </a:lnTo>
                <a:lnTo>
                  <a:pt x="159" y="9"/>
                </a:lnTo>
                <a:lnTo>
                  <a:pt x="169" y="14"/>
                </a:lnTo>
                <a:lnTo>
                  <a:pt x="174" y="17"/>
                </a:lnTo>
                <a:lnTo>
                  <a:pt x="178" y="20"/>
                </a:lnTo>
                <a:lnTo>
                  <a:pt x="182" y="24"/>
                </a:lnTo>
                <a:lnTo>
                  <a:pt x="187" y="27"/>
                </a:lnTo>
                <a:lnTo>
                  <a:pt x="194" y="35"/>
                </a:lnTo>
                <a:lnTo>
                  <a:pt x="201" y="43"/>
                </a:lnTo>
                <a:lnTo>
                  <a:pt x="208" y="52"/>
                </a:lnTo>
                <a:lnTo>
                  <a:pt x="210" y="57"/>
                </a:lnTo>
                <a:lnTo>
                  <a:pt x="213" y="62"/>
                </a:lnTo>
                <a:lnTo>
                  <a:pt x="217" y="73"/>
                </a:lnTo>
                <a:lnTo>
                  <a:pt x="221" y="84"/>
                </a:lnTo>
                <a:lnTo>
                  <a:pt x="223" y="96"/>
                </a:lnTo>
                <a:lnTo>
                  <a:pt x="225" y="108"/>
                </a:lnTo>
                <a:lnTo>
                  <a:pt x="225" y="120"/>
                </a:lnTo>
                <a:lnTo>
                  <a:pt x="225" y="133"/>
                </a:lnTo>
                <a:lnTo>
                  <a:pt x="224" y="139"/>
                </a:lnTo>
                <a:lnTo>
                  <a:pt x="223" y="145"/>
                </a:lnTo>
                <a:lnTo>
                  <a:pt x="221" y="156"/>
                </a:lnTo>
                <a:lnTo>
                  <a:pt x="217" y="168"/>
                </a:lnTo>
                <a:lnTo>
                  <a:pt x="213" y="178"/>
                </a:lnTo>
                <a:lnTo>
                  <a:pt x="210" y="183"/>
                </a:lnTo>
                <a:lnTo>
                  <a:pt x="208" y="188"/>
                </a:lnTo>
                <a:lnTo>
                  <a:pt x="201" y="197"/>
                </a:lnTo>
                <a:lnTo>
                  <a:pt x="194" y="206"/>
                </a:lnTo>
                <a:lnTo>
                  <a:pt x="187" y="213"/>
                </a:lnTo>
                <a:lnTo>
                  <a:pt x="182" y="217"/>
                </a:lnTo>
                <a:lnTo>
                  <a:pt x="178" y="220"/>
                </a:lnTo>
                <a:lnTo>
                  <a:pt x="169" y="226"/>
                </a:lnTo>
                <a:lnTo>
                  <a:pt x="159" y="231"/>
                </a:lnTo>
                <a:lnTo>
                  <a:pt x="148" y="235"/>
                </a:lnTo>
                <a:lnTo>
                  <a:pt x="137" y="238"/>
                </a:lnTo>
                <a:lnTo>
                  <a:pt x="125" y="239"/>
                </a:lnTo>
                <a:lnTo>
                  <a:pt x="119" y="240"/>
                </a:lnTo>
                <a:lnTo>
                  <a:pt x="113" y="240"/>
                </a:lnTo>
                <a:lnTo>
                  <a:pt x="100" y="239"/>
                </a:lnTo>
                <a:lnTo>
                  <a:pt x="88" y="238"/>
                </a:lnTo>
                <a:lnTo>
                  <a:pt x="83" y="236"/>
                </a:lnTo>
                <a:lnTo>
                  <a:pt x="77" y="235"/>
                </a:lnTo>
                <a:lnTo>
                  <a:pt x="66" y="231"/>
                </a:lnTo>
                <a:lnTo>
                  <a:pt x="56" y="226"/>
                </a:lnTo>
                <a:lnTo>
                  <a:pt x="52" y="223"/>
                </a:lnTo>
                <a:lnTo>
                  <a:pt x="47" y="220"/>
                </a:lnTo>
                <a:lnTo>
                  <a:pt x="43" y="217"/>
                </a:lnTo>
                <a:lnTo>
                  <a:pt x="39" y="213"/>
                </a:lnTo>
                <a:lnTo>
                  <a:pt x="31" y="206"/>
                </a:lnTo>
                <a:lnTo>
                  <a:pt x="24" y="197"/>
                </a:lnTo>
                <a:lnTo>
                  <a:pt x="18" y="188"/>
                </a:lnTo>
                <a:lnTo>
                  <a:pt x="15" y="183"/>
                </a:lnTo>
                <a:lnTo>
                  <a:pt x="13" y="178"/>
                </a:lnTo>
                <a:lnTo>
                  <a:pt x="8" y="168"/>
                </a:lnTo>
                <a:lnTo>
                  <a:pt x="5" y="156"/>
                </a:lnTo>
                <a:lnTo>
                  <a:pt x="2" y="145"/>
                </a:lnTo>
                <a:lnTo>
                  <a:pt x="1" y="133"/>
                </a:lnTo>
                <a:lnTo>
                  <a:pt x="0" y="120"/>
                </a:lnTo>
                <a:close/>
                <a:moveTo>
                  <a:pt x="204" y="120"/>
                </a:moveTo>
                <a:lnTo>
                  <a:pt x="204" y="109"/>
                </a:lnTo>
                <a:lnTo>
                  <a:pt x="203" y="99"/>
                </a:lnTo>
                <a:lnTo>
                  <a:pt x="201" y="89"/>
                </a:lnTo>
                <a:lnTo>
                  <a:pt x="198" y="79"/>
                </a:lnTo>
                <a:lnTo>
                  <a:pt x="194" y="71"/>
                </a:lnTo>
                <a:lnTo>
                  <a:pt x="190" y="62"/>
                </a:lnTo>
                <a:lnTo>
                  <a:pt x="185" y="54"/>
                </a:lnTo>
                <a:lnTo>
                  <a:pt x="179" y="47"/>
                </a:lnTo>
                <a:lnTo>
                  <a:pt x="173" y="41"/>
                </a:lnTo>
                <a:lnTo>
                  <a:pt x="166" y="35"/>
                </a:lnTo>
                <a:lnTo>
                  <a:pt x="159" y="30"/>
                </a:lnTo>
                <a:lnTo>
                  <a:pt x="151" y="26"/>
                </a:lnTo>
                <a:lnTo>
                  <a:pt x="142" y="23"/>
                </a:lnTo>
                <a:lnTo>
                  <a:pt x="133" y="20"/>
                </a:lnTo>
                <a:lnTo>
                  <a:pt x="123" y="19"/>
                </a:lnTo>
                <a:lnTo>
                  <a:pt x="113" y="18"/>
                </a:lnTo>
                <a:lnTo>
                  <a:pt x="102" y="19"/>
                </a:lnTo>
                <a:lnTo>
                  <a:pt x="93" y="20"/>
                </a:lnTo>
                <a:lnTo>
                  <a:pt x="83" y="23"/>
                </a:lnTo>
                <a:lnTo>
                  <a:pt x="75" y="26"/>
                </a:lnTo>
                <a:lnTo>
                  <a:pt x="71" y="28"/>
                </a:lnTo>
                <a:lnTo>
                  <a:pt x="67" y="30"/>
                </a:lnTo>
                <a:lnTo>
                  <a:pt x="59" y="35"/>
                </a:lnTo>
                <a:lnTo>
                  <a:pt x="52" y="41"/>
                </a:lnTo>
                <a:lnTo>
                  <a:pt x="46" y="47"/>
                </a:lnTo>
                <a:lnTo>
                  <a:pt x="40" y="54"/>
                </a:lnTo>
                <a:lnTo>
                  <a:pt x="35" y="62"/>
                </a:lnTo>
                <a:lnTo>
                  <a:pt x="31" y="71"/>
                </a:lnTo>
                <a:lnTo>
                  <a:pt x="27" y="79"/>
                </a:lnTo>
                <a:lnTo>
                  <a:pt x="25" y="89"/>
                </a:lnTo>
                <a:lnTo>
                  <a:pt x="23" y="99"/>
                </a:lnTo>
                <a:lnTo>
                  <a:pt x="21" y="109"/>
                </a:lnTo>
                <a:lnTo>
                  <a:pt x="21" y="120"/>
                </a:lnTo>
                <a:lnTo>
                  <a:pt x="21" y="131"/>
                </a:lnTo>
                <a:lnTo>
                  <a:pt x="23" y="141"/>
                </a:lnTo>
                <a:lnTo>
                  <a:pt x="25" y="151"/>
                </a:lnTo>
                <a:lnTo>
                  <a:pt x="27" y="161"/>
                </a:lnTo>
                <a:lnTo>
                  <a:pt x="31" y="170"/>
                </a:lnTo>
                <a:lnTo>
                  <a:pt x="35" y="178"/>
                </a:lnTo>
                <a:lnTo>
                  <a:pt x="40" y="186"/>
                </a:lnTo>
                <a:lnTo>
                  <a:pt x="46" y="193"/>
                </a:lnTo>
                <a:lnTo>
                  <a:pt x="52" y="199"/>
                </a:lnTo>
                <a:lnTo>
                  <a:pt x="59" y="205"/>
                </a:lnTo>
                <a:lnTo>
                  <a:pt x="67" y="210"/>
                </a:lnTo>
                <a:lnTo>
                  <a:pt x="75" y="214"/>
                </a:lnTo>
                <a:lnTo>
                  <a:pt x="83" y="218"/>
                </a:lnTo>
                <a:lnTo>
                  <a:pt x="93" y="220"/>
                </a:lnTo>
                <a:lnTo>
                  <a:pt x="102" y="222"/>
                </a:lnTo>
                <a:lnTo>
                  <a:pt x="113" y="222"/>
                </a:lnTo>
                <a:lnTo>
                  <a:pt x="123" y="222"/>
                </a:lnTo>
                <a:lnTo>
                  <a:pt x="133" y="220"/>
                </a:lnTo>
                <a:lnTo>
                  <a:pt x="142" y="218"/>
                </a:lnTo>
                <a:lnTo>
                  <a:pt x="151" y="214"/>
                </a:lnTo>
                <a:lnTo>
                  <a:pt x="159" y="210"/>
                </a:lnTo>
                <a:lnTo>
                  <a:pt x="166" y="205"/>
                </a:lnTo>
                <a:lnTo>
                  <a:pt x="173" y="199"/>
                </a:lnTo>
                <a:lnTo>
                  <a:pt x="179" y="193"/>
                </a:lnTo>
                <a:lnTo>
                  <a:pt x="185" y="186"/>
                </a:lnTo>
                <a:lnTo>
                  <a:pt x="190" y="178"/>
                </a:lnTo>
                <a:lnTo>
                  <a:pt x="194" y="170"/>
                </a:lnTo>
                <a:lnTo>
                  <a:pt x="198" y="161"/>
                </a:lnTo>
                <a:lnTo>
                  <a:pt x="201" y="151"/>
                </a:lnTo>
                <a:lnTo>
                  <a:pt x="203" y="141"/>
                </a:lnTo>
                <a:lnTo>
                  <a:pt x="204" y="131"/>
                </a:lnTo>
                <a:lnTo>
                  <a:pt x="204" y="120"/>
                </a:lnTo>
                <a:close/>
                <a:moveTo>
                  <a:pt x="275" y="147"/>
                </a:moveTo>
                <a:lnTo>
                  <a:pt x="275" y="4"/>
                </a:lnTo>
                <a:lnTo>
                  <a:pt x="295" y="4"/>
                </a:lnTo>
                <a:lnTo>
                  <a:pt x="295" y="147"/>
                </a:lnTo>
                <a:lnTo>
                  <a:pt x="295" y="155"/>
                </a:lnTo>
                <a:lnTo>
                  <a:pt x="296" y="163"/>
                </a:lnTo>
                <a:lnTo>
                  <a:pt x="297" y="171"/>
                </a:lnTo>
                <a:lnTo>
                  <a:pt x="299" y="178"/>
                </a:lnTo>
                <a:lnTo>
                  <a:pt x="302" y="185"/>
                </a:lnTo>
                <a:lnTo>
                  <a:pt x="305" y="191"/>
                </a:lnTo>
                <a:lnTo>
                  <a:pt x="309" y="197"/>
                </a:lnTo>
                <a:lnTo>
                  <a:pt x="313" y="202"/>
                </a:lnTo>
                <a:lnTo>
                  <a:pt x="315" y="204"/>
                </a:lnTo>
                <a:lnTo>
                  <a:pt x="318" y="206"/>
                </a:lnTo>
                <a:lnTo>
                  <a:pt x="323" y="211"/>
                </a:lnTo>
                <a:lnTo>
                  <a:pt x="329" y="214"/>
                </a:lnTo>
                <a:lnTo>
                  <a:pt x="335" y="217"/>
                </a:lnTo>
                <a:lnTo>
                  <a:pt x="342" y="219"/>
                </a:lnTo>
                <a:lnTo>
                  <a:pt x="345" y="220"/>
                </a:lnTo>
                <a:lnTo>
                  <a:pt x="349" y="221"/>
                </a:lnTo>
                <a:lnTo>
                  <a:pt x="357" y="222"/>
                </a:lnTo>
                <a:lnTo>
                  <a:pt x="365" y="222"/>
                </a:lnTo>
                <a:lnTo>
                  <a:pt x="373" y="222"/>
                </a:lnTo>
                <a:lnTo>
                  <a:pt x="381" y="221"/>
                </a:lnTo>
                <a:lnTo>
                  <a:pt x="388" y="219"/>
                </a:lnTo>
                <a:lnTo>
                  <a:pt x="395" y="217"/>
                </a:lnTo>
                <a:lnTo>
                  <a:pt x="401" y="214"/>
                </a:lnTo>
                <a:lnTo>
                  <a:pt x="407" y="211"/>
                </a:lnTo>
                <a:lnTo>
                  <a:pt x="412" y="206"/>
                </a:lnTo>
                <a:lnTo>
                  <a:pt x="417" y="202"/>
                </a:lnTo>
                <a:lnTo>
                  <a:pt x="419" y="199"/>
                </a:lnTo>
                <a:lnTo>
                  <a:pt x="421" y="197"/>
                </a:lnTo>
                <a:lnTo>
                  <a:pt x="425" y="191"/>
                </a:lnTo>
                <a:lnTo>
                  <a:pt x="427" y="188"/>
                </a:lnTo>
                <a:lnTo>
                  <a:pt x="428" y="185"/>
                </a:lnTo>
                <a:lnTo>
                  <a:pt x="431" y="178"/>
                </a:lnTo>
                <a:lnTo>
                  <a:pt x="433" y="171"/>
                </a:lnTo>
                <a:lnTo>
                  <a:pt x="434" y="163"/>
                </a:lnTo>
                <a:lnTo>
                  <a:pt x="435" y="159"/>
                </a:lnTo>
                <a:lnTo>
                  <a:pt x="435" y="155"/>
                </a:lnTo>
                <a:lnTo>
                  <a:pt x="435" y="147"/>
                </a:lnTo>
                <a:lnTo>
                  <a:pt x="435" y="4"/>
                </a:lnTo>
                <a:lnTo>
                  <a:pt x="455" y="4"/>
                </a:lnTo>
                <a:lnTo>
                  <a:pt x="455" y="147"/>
                </a:lnTo>
                <a:lnTo>
                  <a:pt x="455" y="157"/>
                </a:lnTo>
                <a:lnTo>
                  <a:pt x="454" y="167"/>
                </a:lnTo>
                <a:lnTo>
                  <a:pt x="452" y="177"/>
                </a:lnTo>
                <a:lnTo>
                  <a:pt x="450" y="186"/>
                </a:lnTo>
                <a:lnTo>
                  <a:pt x="446" y="194"/>
                </a:lnTo>
                <a:lnTo>
                  <a:pt x="443" y="202"/>
                </a:lnTo>
                <a:lnTo>
                  <a:pt x="438" y="209"/>
                </a:lnTo>
                <a:lnTo>
                  <a:pt x="433" y="215"/>
                </a:lnTo>
                <a:lnTo>
                  <a:pt x="427" y="221"/>
                </a:lnTo>
                <a:lnTo>
                  <a:pt x="423" y="223"/>
                </a:lnTo>
                <a:lnTo>
                  <a:pt x="420" y="226"/>
                </a:lnTo>
                <a:lnTo>
                  <a:pt x="412" y="230"/>
                </a:lnTo>
                <a:lnTo>
                  <a:pt x="404" y="234"/>
                </a:lnTo>
                <a:lnTo>
                  <a:pt x="396" y="236"/>
                </a:lnTo>
                <a:lnTo>
                  <a:pt x="386" y="238"/>
                </a:lnTo>
                <a:lnTo>
                  <a:pt x="376" y="240"/>
                </a:lnTo>
                <a:lnTo>
                  <a:pt x="365" y="240"/>
                </a:lnTo>
                <a:lnTo>
                  <a:pt x="354" y="240"/>
                </a:lnTo>
                <a:lnTo>
                  <a:pt x="344" y="238"/>
                </a:lnTo>
                <a:lnTo>
                  <a:pt x="335" y="236"/>
                </a:lnTo>
                <a:lnTo>
                  <a:pt x="326" y="234"/>
                </a:lnTo>
                <a:lnTo>
                  <a:pt x="318" y="230"/>
                </a:lnTo>
                <a:lnTo>
                  <a:pt x="310" y="226"/>
                </a:lnTo>
                <a:lnTo>
                  <a:pt x="304" y="221"/>
                </a:lnTo>
                <a:lnTo>
                  <a:pt x="301" y="218"/>
                </a:lnTo>
                <a:lnTo>
                  <a:pt x="298" y="215"/>
                </a:lnTo>
                <a:lnTo>
                  <a:pt x="295" y="212"/>
                </a:lnTo>
                <a:lnTo>
                  <a:pt x="292" y="208"/>
                </a:lnTo>
                <a:lnTo>
                  <a:pt x="288" y="201"/>
                </a:lnTo>
                <a:lnTo>
                  <a:pt x="284" y="194"/>
                </a:lnTo>
                <a:lnTo>
                  <a:pt x="280" y="186"/>
                </a:lnTo>
                <a:lnTo>
                  <a:pt x="278" y="177"/>
                </a:lnTo>
                <a:lnTo>
                  <a:pt x="276" y="167"/>
                </a:lnTo>
                <a:lnTo>
                  <a:pt x="275" y="157"/>
                </a:lnTo>
                <a:lnTo>
                  <a:pt x="275" y="147"/>
                </a:lnTo>
                <a:close/>
                <a:moveTo>
                  <a:pt x="652" y="236"/>
                </a:moveTo>
                <a:lnTo>
                  <a:pt x="587" y="140"/>
                </a:lnTo>
                <a:lnTo>
                  <a:pt x="536" y="140"/>
                </a:lnTo>
                <a:lnTo>
                  <a:pt x="536" y="236"/>
                </a:lnTo>
                <a:lnTo>
                  <a:pt x="516" y="236"/>
                </a:lnTo>
                <a:lnTo>
                  <a:pt x="516" y="4"/>
                </a:lnTo>
                <a:lnTo>
                  <a:pt x="603" y="4"/>
                </a:lnTo>
                <a:lnTo>
                  <a:pt x="610" y="4"/>
                </a:lnTo>
                <a:lnTo>
                  <a:pt x="617" y="5"/>
                </a:lnTo>
                <a:lnTo>
                  <a:pt x="624" y="7"/>
                </a:lnTo>
                <a:lnTo>
                  <a:pt x="631" y="9"/>
                </a:lnTo>
                <a:lnTo>
                  <a:pt x="637" y="11"/>
                </a:lnTo>
                <a:lnTo>
                  <a:pt x="643" y="14"/>
                </a:lnTo>
                <a:lnTo>
                  <a:pt x="648" y="18"/>
                </a:lnTo>
                <a:lnTo>
                  <a:pt x="653" y="22"/>
                </a:lnTo>
                <a:lnTo>
                  <a:pt x="658" y="27"/>
                </a:lnTo>
                <a:lnTo>
                  <a:pt x="662" y="32"/>
                </a:lnTo>
                <a:lnTo>
                  <a:pt x="665" y="37"/>
                </a:lnTo>
                <a:lnTo>
                  <a:pt x="668" y="43"/>
                </a:lnTo>
                <a:lnTo>
                  <a:pt x="670" y="50"/>
                </a:lnTo>
                <a:lnTo>
                  <a:pt x="672" y="57"/>
                </a:lnTo>
                <a:lnTo>
                  <a:pt x="673" y="64"/>
                </a:lnTo>
                <a:lnTo>
                  <a:pt x="673" y="72"/>
                </a:lnTo>
                <a:lnTo>
                  <a:pt x="673" y="80"/>
                </a:lnTo>
                <a:lnTo>
                  <a:pt x="672" y="87"/>
                </a:lnTo>
                <a:lnTo>
                  <a:pt x="670" y="94"/>
                </a:lnTo>
                <a:lnTo>
                  <a:pt x="668" y="100"/>
                </a:lnTo>
                <a:lnTo>
                  <a:pt x="665" y="106"/>
                </a:lnTo>
                <a:lnTo>
                  <a:pt x="662" y="111"/>
                </a:lnTo>
                <a:lnTo>
                  <a:pt x="658" y="116"/>
                </a:lnTo>
                <a:lnTo>
                  <a:pt x="654" y="120"/>
                </a:lnTo>
                <a:lnTo>
                  <a:pt x="650" y="124"/>
                </a:lnTo>
                <a:lnTo>
                  <a:pt x="645" y="128"/>
                </a:lnTo>
                <a:lnTo>
                  <a:pt x="639" y="131"/>
                </a:lnTo>
                <a:lnTo>
                  <a:pt x="634" y="133"/>
                </a:lnTo>
                <a:lnTo>
                  <a:pt x="628" y="136"/>
                </a:lnTo>
                <a:lnTo>
                  <a:pt x="622" y="137"/>
                </a:lnTo>
                <a:lnTo>
                  <a:pt x="609" y="139"/>
                </a:lnTo>
                <a:lnTo>
                  <a:pt x="676" y="236"/>
                </a:lnTo>
                <a:lnTo>
                  <a:pt x="652" y="236"/>
                </a:lnTo>
                <a:close/>
                <a:moveTo>
                  <a:pt x="652" y="72"/>
                </a:moveTo>
                <a:lnTo>
                  <a:pt x="652" y="67"/>
                </a:lnTo>
                <a:lnTo>
                  <a:pt x="652" y="61"/>
                </a:lnTo>
                <a:lnTo>
                  <a:pt x="650" y="56"/>
                </a:lnTo>
                <a:lnTo>
                  <a:pt x="649" y="52"/>
                </a:lnTo>
                <a:lnTo>
                  <a:pt x="647" y="47"/>
                </a:lnTo>
                <a:lnTo>
                  <a:pt x="644" y="43"/>
                </a:lnTo>
                <a:lnTo>
                  <a:pt x="642" y="40"/>
                </a:lnTo>
                <a:lnTo>
                  <a:pt x="638" y="36"/>
                </a:lnTo>
                <a:lnTo>
                  <a:pt x="635" y="33"/>
                </a:lnTo>
                <a:lnTo>
                  <a:pt x="631" y="30"/>
                </a:lnTo>
                <a:lnTo>
                  <a:pt x="627" y="28"/>
                </a:lnTo>
                <a:lnTo>
                  <a:pt x="622" y="26"/>
                </a:lnTo>
                <a:lnTo>
                  <a:pt x="617" y="24"/>
                </a:lnTo>
                <a:lnTo>
                  <a:pt x="612" y="23"/>
                </a:lnTo>
                <a:lnTo>
                  <a:pt x="607" y="22"/>
                </a:lnTo>
                <a:lnTo>
                  <a:pt x="601" y="22"/>
                </a:lnTo>
                <a:lnTo>
                  <a:pt x="536" y="22"/>
                </a:lnTo>
                <a:lnTo>
                  <a:pt x="536" y="122"/>
                </a:lnTo>
                <a:lnTo>
                  <a:pt x="601" y="122"/>
                </a:lnTo>
                <a:lnTo>
                  <a:pt x="607" y="122"/>
                </a:lnTo>
                <a:lnTo>
                  <a:pt x="612" y="121"/>
                </a:lnTo>
                <a:lnTo>
                  <a:pt x="617" y="120"/>
                </a:lnTo>
                <a:lnTo>
                  <a:pt x="622" y="118"/>
                </a:lnTo>
                <a:lnTo>
                  <a:pt x="627" y="116"/>
                </a:lnTo>
                <a:lnTo>
                  <a:pt x="631" y="114"/>
                </a:lnTo>
                <a:lnTo>
                  <a:pt x="635" y="111"/>
                </a:lnTo>
                <a:lnTo>
                  <a:pt x="638" y="108"/>
                </a:lnTo>
                <a:lnTo>
                  <a:pt x="642" y="104"/>
                </a:lnTo>
                <a:lnTo>
                  <a:pt x="644" y="101"/>
                </a:lnTo>
                <a:lnTo>
                  <a:pt x="647" y="96"/>
                </a:lnTo>
                <a:lnTo>
                  <a:pt x="649" y="92"/>
                </a:lnTo>
                <a:lnTo>
                  <a:pt x="650" y="90"/>
                </a:lnTo>
                <a:lnTo>
                  <a:pt x="650" y="87"/>
                </a:lnTo>
                <a:lnTo>
                  <a:pt x="652" y="82"/>
                </a:lnTo>
                <a:lnTo>
                  <a:pt x="652" y="77"/>
                </a:lnTo>
                <a:lnTo>
                  <a:pt x="652" y="72"/>
                </a:lnTo>
                <a:close/>
                <a:moveTo>
                  <a:pt x="811" y="120"/>
                </a:moveTo>
                <a:lnTo>
                  <a:pt x="811" y="107"/>
                </a:lnTo>
                <a:lnTo>
                  <a:pt x="813" y="95"/>
                </a:lnTo>
                <a:lnTo>
                  <a:pt x="816" y="83"/>
                </a:lnTo>
                <a:lnTo>
                  <a:pt x="820" y="71"/>
                </a:lnTo>
                <a:lnTo>
                  <a:pt x="822" y="66"/>
                </a:lnTo>
                <a:lnTo>
                  <a:pt x="825" y="61"/>
                </a:lnTo>
                <a:lnTo>
                  <a:pt x="830" y="51"/>
                </a:lnTo>
                <a:lnTo>
                  <a:pt x="834" y="46"/>
                </a:lnTo>
                <a:lnTo>
                  <a:pt x="837" y="42"/>
                </a:lnTo>
                <a:lnTo>
                  <a:pt x="845" y="34"/>
                </a:lnTo>
                <a:lnTo>
                  <a:pt x="854" y="26"/>
                </a:lnTo>
                <a:lnTo>
                  <a:pt x="863" y="19"/>
                </a:lnTo>
                <a:lnTo>
                  <a:pt x="873" y="14"/>
                </a:lnTo>
                <a:lnTo>
                  <a:pt x="883" y="9"/>
                </a:lnTo>
                <a:lnTo>
                  <a:pt x="894" y="5"/>
                </a:lnTo>
                <a:lnTo>
                  <a:pt x="905" y="3"/>
                </a:lnTo>
                <a:lnTo>
                  <a:pt x="917" y="1"/>
                </a:lnTo>
                <a:lnTo>
                  <a:pt x="929" y="0"/>
                </a:lnTo>
                <a:lnTo>
                  <a:pt x="942" y="1"/>
                </a:lnTo>
                <a:lnTo>
                  <a:pt x="949" y="2"/>
                </a:lnTo>
                <a:lnTo>
                  <a:pt x="955" y="3"/>
                </a:lnTo>
                <a:lnTo>
                  <a:pt x="967" y="7"/>
                </a:lnTo>
                <a:lnTo>
                  <a:pt x="978" y="12"/>
                </a:lnTo>
                <a:lnTo>
                  <a:pt x="983" y="14"/>
                </a:lnTo>
                <a:lnTo>
                  <a:pt x="988" y="17"/>
                </a:lnTo>
                <a:lnTo>
                  <a:pt x="997" y="24"/>
                </a:lnTo>
                <a:lnTo>
                  <a:pt x="1006" y="32"/>
                </a:lnTo>
                <a:lnTo>
                  <a:pt x="1013" y="41"/>
                </a:lnTo>
                <a:lnTo>
                  <a:pt x="997" y="52"/>
                </a:lnTo>
                <a:lnTo>
                  <a:pt x="994" y="48"/>
                </a:lnTo>
                <a:lnTo>
                  <a:pt x="991" y="45"/>
                </a:lnTo>
                <a:lnTo>
                  <a:pt x="984" y="38"/>
                </a:lnTo>
                <a:lnTo>
                  <a:pt x="976" y="33"/>
                </a:lnTo>
                <a:lnTo>
                  <a:pt x="968" y="28"/>
                </a:lnTo>
                <a:lnTo>
                  <a:pt x="959" y="24"/>
                </a:lnTo>
                <a:lnTo>
                  <a:pt x="954" y="22"/>
                </a:lnTo>
                <a:lnTo>
                  <a:pt x="949" y="21"/>
                </a:lnTo>
                <a:lnTo>
                  <a:pt x="944" y="20"/>
                </a:lnTo>
                <a:lnTo>
                  <a:pt x="939" y="19"/>
                </a:lnTo>
                <a:lnTo>
                  <a:pt x="934" y="19"/>
                </a:lnTo>
                <a:lnTo>
                  <a:pt x="929" y="18"/>
                </a:lnTo>
                <a:lnTo>
                  <a:pt x="919" y="19"/>
                </a:lnTo>
                <a:lnTo>
                  <a:pt x="909" y="20"/>
                </a:lnTo>
                <a:lnTo>
                  <a:pt x="905" y="21"/>
                </a:lnTo>
                <a:lnTo>
                  <a:pt x="900" y="23"/>
                </a:lnTo>
                <a:lnTo>
                  <a:pt x="891" y="26"/>
                </a:lnTo>
                <a:lnTo>
                  <a:pt x="883" y="30"/>
                </a:lnTo>
                <a:lnTo>
                  <a:pt x="875" y="35"/>
                </a:lnTo>
                <a:lnTo>
                  <a:pt x="867" y="40"/>
                </a:lnTo>
                <a:lnTo>
                  <a:pt x="864" y="43"/>
                </a:lnTo>
                <a:lnTo>
                  <a:pt x="860" y="47"/>
                </a:lnTo>
                <a:lnTo>
                  <a:pt x="854" y="54"/>
                </a:lnTo>
                <a:lnTo>
                  <a:pt x="848" y="61"/>
                </a:lnTo>
                <a:lnTo>
                  <a:pt x="843" y="70"/>
                </a:lnTo>
                <a:lnTo>
                  <a:pt x="839" y="79"/>
                </a:lnTo>
                <a:lnTo>
                  <a:pt x="836" y="88"/>
                </a:lnTo>
                <a:lnTo>
                  <a:pt x="833" y="98"/>
                </a:lnTo>
                <a:lnTo>
                  <a:pt x="832" y="109"/>
                </a:lnTo>
                <a:lnTo>
                  <a:pt x="831" y="120"/>
                </a:lnTo>
                <a:lnTo>
                  <a:pt x="832" y="131"/>
                </a:lnTo>
                <a:lnTo>
                  <a:pt x="833" y="142"/>
                </a:lnTo>
                <a:lnTo>
                  <a:pt x="836" y="152"/>
                </a:lnTo>
                <a:lnTo>
                  <a:pt x="839" y="161"/>
                </a:lnTo>
                <a:lnTo>
                  <a:pt x="843" y="170"/>
                </a:lnTo>
                <a:lnTo>
                  <a:pt x="848" y="179"/>
                </a:lnTo>
                <a:lnTo>
                  <a:pt x="854" y="186"/>
                </a:lnTo>
                <a:lnTo>
                  <a:pt x="860" y="194"/>
                </a:lnTo>
                <a:lnTo>
                  <a:pt x="867" y="200"/>
                </a:lnTo>
                <a:lnTo>
                  <a:pt x="871" y="203"/>
                </a:lnTo>
                <a:lnTo>
                  <a:pt x="875" y="206"/>
                </a:lnTo>
                <a:lnTo>
                  <a:pt x="883" y="210"/>
                </a:lnTo>
                <a:lnTo>
                  <a:pt x="891" y="214"/>
                </a:lnTo>
                <a:lnTo>
                  <a:pt x="900" y="218"/>
                </a:lnTo>
                <a:lnTo>
                  <a:pt x="909" y="220"/>
                </a:lnTo>
                <a:lnTo>
                  <a:pt x="919" y="222"/>
                </a:lnTo>
                <a:lnTo>
                  <a:pt x="929" y="222"/>
                </a:lnTo>
                <a:lnTo>
                  <a:pt x="939" y="221"/>
                </a:lnTo>
                <a:lnTo>
                  <a:pt x="949" y="220"/>
                </a:lnTo>
                <a:lnTo>
                  <a:pt x="954" y="218"/>
                </a:lnTo>
                <a:lnTo>
                  <a:pt x="959" y="217"/>
                </a:lnTo>
                <a:lnTo>
                  <a:pt x="968" y="213"/>
                </a:lnTo>
                <a:lnTo>
                  <a:pt x="972" y="210"/>
                </a:lnTo>
                <a:lnTo>
                  <a:pt x="976" y="208"/>
                </a:lnTo>
                <a:lnTo>
                  <a:pt x="984" y="202"/>
                </a:lnTo>
                <a:lnTo>
                  <a:pt x="991" y="196"/>
                </a:lnTo>
                <a:lnTo>
                  <a:pt x="994" y="192"/>
                </a:lnTo>
                <a:lnTo>
                  <a:pt x="997" y="188"/>
                </a:lnTo>
                <a:lnTo>
                  <a:pt x="1014" y="199"/>
                </a:lnTo>
                <a:lnTo>
                  <a:pt x="1010" y="203"/>
                </a:lnTo>
                <a:lnTo>
                  <a:pt x="1006" y="208"/>
                </a:lnTo>
                <a:lnTo>
                  <a:pt x="997" y="216"/>
                </a:lnTo>
                <a:lnTo>
                  <a:pt x="992" y="220"/>
                </a:lnTo>
                <a:lnTo>
                  <a:pt x="988" y="223"/>
                </a:lnTo>
                <a:lnTo>
                  <a:pt x="977" y="229"/>
                </a:lnTo>
                <a:lnTo>
                  <a:pt x="972" y="231"/>
                </a:lnTo>
                <a:lnTo>
                  <a:pt x="967" y="234"/>
                </a:lnTo>
                <a:lnTo>
                  <a:pt x="961" y="236"/>
                </a:lnTo>
                <a:lnTo>
                  <a:pt x="955" y="237"/>
                </a:lnTo>
                <a:lnTo>
                  <a:pt x="949" y="238"/>
                </a:lnTo>
                <a:lnTo>
                  <a:pt x="942" y="239"/>
                </a:lnTo>
                <a:lnTo>
                  <a:pt x="929" y="240"/>
                </a:lnTo>
                <a:lnTo>
                  <a:pt x="917" y="240"/>
                </a:lnTo>
                <a:lnTo>
                  <a:pt x="911" y="239"/>
                </a:lnTo>
                <a:lnTo>
                  <a:pt x="905" y="238"/>
                </a:lnTo>
                <a:lnTo>
                  <a:pt x="894" y="235"/>
                </a:lnTo>
                <a:lnTo>
                  <a:pt x="888" y="233"/>
                </a:lnTo>
                <a:lnTo>
                  <a:pt x="883" y="231"/>
                </a:lnTo>
                <a:lnTo>
                  <a:pt x="873" y="227"/>
                </a:lnTo>
                <a:lnTo>
                  <a:pt x="863" y="221"/>
                </a:lnTo>
                <a:lnTo>
                  <a:pt x="854" y="214"/>
                </a:lnTo>
                <a:lnTo>
                  <a:pt x="849" y="211"/>
                </a:lnTo>
                <a:lnTo>
                  <a:pt x="845" y="207"/>
                </a:lnTo>
                <a:lnTo>
                  <a:pt x="837" y="199"/>
                </a:lnTo>
                <a:lnTo>
                  <a:pt x="830" y="189"/>
                </a:lnTo>
                <a:lnTo>
                  <a:pt x="825" y="180"/>
                </a:lnTo>
                <a:lnTo>
                  <a:pt x="820" y="169"/>
                </a:lnTo>
                <a:lnTo>
                  <a:pt x="816" y="158"/>
                </a:lnTo>
                <a:lnTo>
                  <a:pt x="814" y="152"/>
                </a:lnTo>
                <a:lnTo>
                  <a:pt x="813" y="146"/>
                </a:lnTo>
                <a:lnTo>
                  <a:pt x="811" y="133"/>
                </a:lnTo>
                <a:lnTo>
                  <a:pt x="811" y="127"/>
                </a:lnTo>
                <a:lnTo>
                  <a:pt x="811" y="120"/>
                </a:lnTo>
                <a:close/>
                <a:moveTo>
                  <a:pt x="1049" y="236"/>
                </a:moveTo>
                <a:lnTo>
                  <a:pt x="1049" y="4"/>
                </a:lnTo>
                <a:lnTo>
                  <a:pt x="1069" y="4"/>
                </a:lnTo>
                <a:lnTo>
                  <a:pt x="1069" y="218"/>
                </a:lnTo>
                <a:lnTo>
                  <a:pt x="1181" y="218"/>
                </a:lnTo>
                <a:lnTo>
                  <a:pt x="1181" y="236"/>
                </a:lnTo>
                <a:lnTo>
                  <a:pt x="1049" y="236"/>
                </a:lnTo>
                <a:close/>
                <a:moveTo>
                  <a:pt x="1220" y="236"/>
                </a:moveTo>
                <a:lnTo>
                  <a:pt x="1220" y="4"/>
                </a:lnTo>
                <a:lnTo>
                  <a:pt x="1240" y="4"/>
                </a:lnTo>
                <a:lnTo>
                  <a:pt x="1240" y="236"/>
                </a:lnTo>
                <a:lnTo>
                  <a:pt x="1220" y="236"/>
                </a:lnTo>
                <a:close/>
                <a:moveTo>
                  <a:pt x="1301" y="236"/>
                </a:moveTo>
                <a:lnTo>
                  <a:pt x="1301" y="4"/>
                </a:lnTo>
                <a:lnTo>
                  <a:pt x="1448" y="4"/>
                </a:lnTo>
                <a:lnTo>
                  <a:pt x="1448" y="22"/>
                </a:lnTo>
                <a:lnTo>
                  <a:pt x="1320" y="22"/>
                </a:lnTo>
                <a:lnTo>
                  <a:pt x="1320" y="108"/>
                </a:lnTo>
                <a:lnTo>
                  <a:pt x="1445" y="108"/>
                </a:lnTo>
                <a:lnTo>
                  <a:pt x="1445" y="126"/>
                </a:lnTo>
                <a:lnTo>
                  <a:pt x="1320" y="126"/>
                </a:lnTo>
                <a:lnTo>
                  <a:pt x="1320" y="218"/>
                </a:lnTo>
                <a:lnTo>
                  <a:pt x="1448" y="218"/>
                </a:lnTo>
                <a:lnTo>
                  <a:pt x="1448" y="236"/>
                </a:lnTo>
                <a:lnTo>
                  <a:pt x="1301" y="236"/>
                </a:lnTo>
                <a:close/>
                <a:moveTo>
                  <a:pt x="1662" y="236"/>
                </a:moveTo>
                <a:lnTo>
                  <a:pt x="1516" y="37"/>
                </a:lnTo>
                <a:lnTo>
                  <a:pt x="1516" y="236"/>
                </a:lnTo>
                <a:lnTo>
                  <a:pt x="1496" y="236"/>
                </a:lnTo>
                <a:lnTo>
                  <a:pt x="1496" y="4"/>
                </a:lnTo>
                <a:lnTo>
                  <a:pt x="1516" y="4"/>
                </a:lnTo>
                <a:lnTo>
                  <a:pt x="1662" y="200"/>
                </a:lnTo>
                <a:lnTo>
                  <a:pt x="1662" y="4"/>
                </a:lnTo>
                <a:lnTo>
                  <a:pt x="1681" y="4"/>
                </a:lnTo>
                <a:lnTo>
                  <a:pt x="1681" y="236"/>
                </a:lnTo>
                <a:lnTo>
                  <a:pt x="1662" y="236"/>
                </a:lnTo>
                <a:close/>
                <a:moveTo>
                  <a:pt x="1798" y="236"/>
                </a:moveTo>
                <a:lnTo>
                  <a:pt x="1798" y="22"/>
                </a:lnTo>
                <a:lnTo>
                  <a:pt x="1722" y="22"/>
                </a:lnTo>
                <a:lnTo>
                  <a:pt x="1722" y="4"/>
                </a:lnTo>
                <a:lnTo>
                  <a:pt x="1893" y="4"/>
                </a:lnTo>
                <a:lnTo>
                  <a:pt x="1893" y="22"/>
                </a:lnTo>
                <a:lnTo>
                  <a:pt x="1818" y="22"/>
                </a:lnTo>
                <a:lnTo>
                  <a:pt x="1818" y="236"/>
                </a:lnTo>
                <a:lnTo>
                  <a:pt x="1798" y="236"/>
                </a:lnTo>
                <a:close/>
                <a:moveTo>
                  <a:pt x="1918" y="203"/>
                </a:moveTo>
                <a:lnTo>
                  <a:pt x="1931" y="188"/>
                </a:lnTo>
                <a:lnTo>
                  <a:pt x="1934" y="191"/>
                </a:lnTo>
                <a:lnTo>
                  <a:pt x="1937" y="195"/>
                </a:lnTo>
                <a:lnTo>
                  <a:pt x="1940" y="198"/>
                </a:lnTo>
                <a:lnTo>
                  <a:pt x="1944" y="201"/>
                </a:lnTo>
                <a:lnTo>
                  <a:pt x="1952" y="206"/>
                </a:lnTo>
                <a:lnTo>
                  <a:pt x="1960" y="212"/>
                </a:lnTo>
                <a:lnTo>
                  <a:pt x="1970" y="216"/>
                </a:lnTo>
                <a:lnTo>
                  <a:pt x="1975" y="218"/>
                </a:lnTo>
                <a:lnTo>
                  <a:pt x="1980" y="219"/>
                </a:lnTo>
                <a:lnTo>
                  <a:pt x="1986" y="220"/>
                </a:lnTo>
                <a:lnTo>
                  <a:pt x="1992" y="221"/>
                </a:lnTo>
                <a:lnTo>
                  <a:pt x="2004" y="222"/>
                </a:lnTo>
                <a:lnTo>
                  <a:pt x="2012" y="222"/>
                </a:lnTo>
                <a:lnTo>
                  <a:pt x="2020" y="221"/>
                </a:lnTo>
                <a:lnTo>
                  <a:pt x="2027" y="219"/>
                </a:lnTo>
                <a:lnTo>
                  <a:pt x="2033" y="218"/>
                </a:lnTo>
                <a:lnTo>
                  <a:pt x="2039" y="215"/>
                </a:lnTo>
                <a:lnTo>
                  <a:pt x="2044" y="213"/>
                </a:lnTo>
                <a:lnTo>
                  <a:pt x="2048" y="210"/>
                </a:lnTo>
                <a:lnTo>
                  <a:pt x="2052" y="206"/>
                </a:lnTo>
                <a:lnTo>
                  <a:pt x="2055" y="203"/>
                </a:lnTo>
                <a:lnTo>
                  <a:pt x="2058" y="199"/>
                </a:lnTo>
                <a:lnTo>
                  <a:pt x="2060" y="195"/>
                </a:lnTo>
                <a:lnTo>
                  <a:pt x="2062" y="191"/>
                </a:lnTo>
                <a:lnTo>
                  <a:pt x="2064" y="183"/>
                </a:lnTo>
                <a:lnTo>
                  <a:pt x="2064" y="176"/>
                </a:lnTo>
                <a:lnTo>
                  <a:pt x="2064" y="170"/>
                </a:lnTo>
                <a:lnTo>
                  <a:pt x="2063" y="164"/>
                </a:lnTo>
                <a:lnTo>
                  <a:pt x="2061" y="159"/>
                </a:lnTo>
                <a:lnTo>
                  <a:pt x="2058" y="155"/>
                </a:lnTo>
                <a:lnTo>
                  <a:pt x="2055" y="151"/>
                </a:lnTo>
                <a:lnTo>
                  <a:pt x="2052" y="147"/>
                </a:lnTo>
                <a:lnTo>
                  <a:pt x="2047" y="144"/>
                </a:lnTo>
                <a:lnTo>
                  <a:pt x="2043" y="141"/>
                </a:lnTo>
                <a:lnTo>
                  <a:pt x="2038" y="138"/>
                </a:lnTo>
                <a:lnTo>
                  <a:pt x="2032" y="136"/>
                </a:lnTo>
                <a:lnTo>
                  <a:pt x="2020" y="131"/>
                </a:lnTo>
                <a:lnTo>
                  <a:pt x="2008" y="127"/>
                </a:lnTo>
                <a:lnTo>
                  <a:pt x="1995" y="124"/>
                </a:lnTo>
                <a:lnTo>
                  <a:pt x="1982" y="120"/>
                </a:lnTo>
                <a:lnTo>
                  <a:pt x="1969" y="116"/>
                </a:lnTo>
                <a:lnTo>
                  <a:pt x="1958" y="111"/>
                </a:lnTo>
                <a:lnTo>
                  <a:pt x="1952" y="108"/>
                </a:lnTo>
                <a:lnTo>
                  <a:pt x="1947" y="104"/>
                </a:lnTo>
                <a:lnTo>
                  <a:pt x="1942" y="101"/>
                </a:lnTo>
                <a:lnTo>
                  <a:pt x="1938" y="97"/>
                </a:lnTo>
                <a:lnTo>
                  <a:pt x="1935" y="92"/>
                </a:lnTo>
                <a:lnTo>
                  <a:pt x="1931" y="87"/>
                </a:lnTo>
                <a:lnTo>
                  <a:pt x="1929" y="82"/>
                </a:lnTo>
                <a:lnTo>
                  <a:pt x="1927" y="76"/>
                </a:lnTo>
                <a:lnTo>
                  <a:pt x="1926" y="69"/>
                </a:lnTo>
                <a:lnTo>
                  <a:pt x="1925" y="62"/>
                </a:lnTo>
                <a:lnTo>
                  <a:pt x="1926" y="55"/>
                </a:lnTo>
                <a:lnTo>
                  <a:pt x="1927" y="49"/>
                </a:lnTo>
                <a:lnTo>
                  <a:pt x="1929" y="42"/>
                </a:lnTo>
                <a:lnTo>
                  <a:pt x="1931" y="36"/>
                </a:lnTo>
                <a:lnTo>
                  <a:pt x="1935" y="31"/>
                </a:lnTo>
                <a:lnTo>
                  <a:pt x="1938" y="26"/>
                </a:lnTo>
                <a:lnTo>
                  <a:pt x="1941" y="24"/>
                </a:lnTo>
                <a:lnTo>
                  <a:pt x="1943" y="21"/>
                </a:lnTo>
                <a:lnTo>
                  <a:pt x="1948" y="17"/>
                </a:lnTo>
                <a:lnTo>
                  <a:pt x="1953" y="13"/>
                </a:lnTo>
                <a:lnTo>
                  <a:pt x="1959" y="10"/>
                </a:lnTo>
                <a:lnTo>
                  <a:pt x="1965" y="7"/>
                </a:lnTo>
                <a:lnTo>
                  <a:pt x="1972" y="5"/>
                </a:lnTo>
                <a:lnTo>
                  <a:pt x="1979" y="3"/>
                </a:lnTo>
                <a:lnTo>
                  <a:pt x="1986" y="1"/>
                </a:lnTo>
                <a:lnTo>
                  <a:pt x="1994" y="1"/>
                </a:lnTo>
                <a:lnTo>
                  <a:pt x="2002" y="0"/>
                </a:lnTo>
                <a:lnTo>
                  <a:pt x="2014" y="1"/>
                </a:lnTo>
                <a:lnTo>
                  <a:pt x="2020" y="2"/>
                </a:lnTo>
                <a:lnTo>
                  <a:pt x="2026" y="2"/>
                </a:lnTo>
                <a:lnTo>
                  <a:pt x="2037" y="5"/>
                </a:lnTo>
                <a:lnTo>
                  <a:pt x="2042" y="7"/>
                </a:lnTo>
                <a:lnTo>
                  <a:pt x="2047" y="9"/>
                </a:lnTo>
                <a:lnTo>
                  <a:pt x="2057" y="14"/>
                </a:lnTo>
                <a:lnTo>
                  <a:pt x="2065" y="19"/>
                </a:lnTo>
                <a:lnTo>
                  <a:pt x="2073" y="26"/>
                </a:lnTo>
                <a:lnTo>
                  <a:pt x="2080" y="33"/>
                </a:lnTo>
                <a:lnTo>
                  <a:pt x="2067" y="48"/>
                </a:lnTo>
                <a:lnTo>
                  <a:pt x="2060" y="41"/>
                </a:lnTo>
                <a:lnTo>
                  <a:pt x="2057" y="37"/>
                </a:lnTo>
                <a:lnTo>
                  <a:pt x="2053" y="34"/>
                </a:lnTo>
                <a:lnTo>
                  <a:pt x="2045" y="29"/>
                </a:lnTo>
                <a:lnTo>
                  <a:pt x="2037" y="25"/>
                </a:lnTo>
                <a:lnTo>
                  <a:pt x="2033" y="24"/>
                </a:lnTo>
                <a:lnTo>
                  <a:pt x="2029" y="22"/>
                </a:lnTo>
                <a:lnTo>
                  <a:pt x="2020" y="20"/>
                </a:lnTo>
                <a:lnTo>
                  <a:pt x="2010" y="19"/>
                </a:lnTo>
                <a:lnTo>
                  <a:pt x="2000" y="18"/>
                </a:lnTo>
                <a:lnTo>
                  <a:pt x="1989" y="19"/>
                </a:lnTo>
                <a:lnTo>
                  <a:pt x="1984" y="20"/>
                </a:lnTo>
                <a:lnTo>
                  <a:pt x="1979" y="22"/>
                </a:lnTo>
                <a:lnTo>
                  <a:pt x="1974" y="23"/>
                </a:lnTo>
                <a:lnTo>
                  <a:pt x="1970" y="25"/>
                </a:lnTo>
                <a:lnTo>
                  <a:pt x="1962" y="30"/>
                </a:lnTo>
                <a:lnTo>
                  <a:pt x="1958" y="33"/>
                </a:lnTo>
                <a:lnTo>
                  <a:pt x="1955" y="37"/>
                </a:lnTo>
                <a:lnTo>
                  <a:pt x="1953" y="40"/>
                </a:lnTo>
                <a:lnTo>
                  <a:pt x="1950" y="44"/>
                </a:lnTo>
                <a:lnTo>
                  <a:pt x="1949" y="48"/>
                </a:lnTo>
                <a:lnTo>
                  <a:pt x="1947" y="52"/>
                </a:lnTo>
                <a:lnTo>
                  <a:pt x="1947" y="56"/>
                </a:lnTo>
                <a:lnTo>
                  <a:pt x="1946" y="61"/>
                </a:lnTo>
                <a:lnTo>
                  <a:pt x="1947" y="66"/>
                </a:lnTo>
                <a:lnTo>
                  <a:pt x="1948" y="71"/>
                </a:lnTo>
                <a:lnTo>
                  <a:pt x="1950" y="76"/>
                </a:lnTo>
                <a:lnTo>
                  <a:pt x="1952" y="79"/>
                </a:lnTo>
                <a:lnTo>
                  <a:pt x="1955" y="83"/>
                </a:lnTo>
                <a:lnTo>
                  <a:pt x="1959" y="86"/>
                </a:lnTo>
                <a:lnTo>
                  <a:pt x="1968" y="92"/>
                </a:lnTo>
                <a:lnTo>
                  <a:pt x="1973" y="94"/>
                </a:lnTo>
                <a:lnTo>
                  <a:pt x="1979" y="96"/>
                </a:lnTo>
                <a:lnTo>
                  <a:pt x="1990" y="100"/>
                </a:lnTo>
                <a:lnTo>
                  <a:pt x="2016" y="108"/>
                </a:lnTo>
                <a:lnTo>
                  <a:pt x="2029" y="112"/>
                </a:lnTo>
                <a:lnTo>
                  <a:pt x="2041" y="116"/>
                </a:lnTo>
                <a:lnTo>
                  <a:pt x="2053" y="122"/>
                </a:lnTo>
                <a:lnTo>
                  <a:pt x="2058" y="125"/>
                </a:lnTo>
                <a:lnTo>
                  <a:pt x="2064" y="129"/>
                </a:lnTo>
                <a:lnTo>
                  <a:pt x="2068" y="133"/>
                </a:lnTo>
                <a:lnTo>
                  <a:pt x="2070" y="135"/>
                </a:lnTo>
                <a:lnTo>
                  <a:pt x="2072" y="137"/>
                </a:lnTo>
                <a:lnTo>
                  <a:pt x="2076" y="142"/>
                </a:lnTo>
                <a:lnTo>
                  <a:pt x="2079" y="147"/>
                </a:lnTo>
                <a:lnTo>
                  <a:pt x="2082" y="153"/>
                </a:lnTo>
                <a:lnTo>
                  <a:pt x="2084" y="160"/>
                </a:lnTo>
                <a:lnTo>
                  <a:pt x="2085" y="167"/>
                </a:lnTo>
                <a:lnTo>
                  <a:pt x="2085" y="174"/>
                </a:lnTo>
                <a:lnTo>
                  <a:pt x="2085" y="180"/>
                </a:lnTo>
                <a:lnTo>
                  <a:pt x="2084" y="186"/>
                </a:lnTo>
                <a:lnTo>
                  <a:pt x="2081" y="197"/>
                </a:lnTo>
                <a:lnTo>
                  <a:pt x="2079" y="203"/>
                </a:lnTo>
                <a:lnTo>
                  <a:pt x="2076" y="208"/>
                </a:lnTo>
                <a:lnTo>
                  <a:pt x="2072" y="214"/>
                </a:lnTo>
                <a:lnTo>
                  <a:pt x="2068" y="218"/>
                </a:lnTo>
                <a:lnTo>
                  <a:pt x="2062" y="223"/>
                </a:lnTo>
                <a:lnTo>
                  <a:pt x="2056" y="227"/>
                </a:lnTo>
                <a:lnTo>
                  <a:pt x="2050" y="231"/>
                </a:lnTo>
                <a:lnTo>
                  <a:pt x="2042" y="234"/>
                </a:lnTo>
                <a:lnTo>
                  <a:pt x="2034" y="237"/>
                </a:lnTo>
                <a:lnTo>
                  <a:pt x="2024" y="238"/>
                </a:lnTo>
                <a:lnTo>
                  <a:pt x="2014" y="240"/>
                </a:lnTo>
                <a:lnTo>
                  <a:pt x="2003" y="240"/>
                </a:lnTo>
                <a:lnTo>
                  <a:pt x="1989" y="239"/>
                </a:lnTo>
                <a:lnTo>
                  <a:pt x="1976" y="237"/>
                </a:lnTo>
                <a:lnTo>
                  <a:pt x="1964" y="234"/>
                </a:lnTo>
                <a:lnTo>
                  <a:pt x="1953" y="230"/>
                </a:lnTo>
                <a:lnTo>
                  <a:pt x="1943" y="224"/>
                </a:lnTo>
                <a:lnTo>
                  <a:pt x="1933" y="218"/>
                </a:lnTo>
                <a:lnTo>
                  <a:pt x="1929" y="215"/>
                </a:lnTo>
                <a:lnTo>
                  <a:pt x="1925" y="211"/>
                </a:lnTo>
                <a:lnTo>
                  <a:pt x="1918" y="203"/>
                </a:lnTo>
                <a:close/>
                <a:moveTo>
                  <a:pt x="2427" y="236"/>
                </a:moveTo>
                <a:lnTo>
                  <a:pt x="2427" y="29"/>
                </a:lnTo>
                <a:lnTo>
                  <a:pt x="2342" y="236"/>
                </a:lnTo>
                <a:lnTo>
                  <a:pt x="2334" y="236"/>
                </a:lnTo>
                <a:lnTo>
                  <a:pt x="2250" y="29"/>
                </a:lnTo>
                <a:lnTo>
                  <a:pt x="2250" y="236"/>
                </a:lnTo>
                <a:lnTo>
                  <a:pt x="2230" y="236"/>
                </a:lnTo>
                <a:lnTo>
                  <a:pt x="2230" y="4"/>
                </a:lnTo>
                <a:lnTo>
                  <a:pt x="2259" y="4"/>
                </a:lnTo>
                <a:lnTo>
                  <a:pt x="2338" y="197"/>
                </a:lnTo>
                <a:lnTo>
                  <a:pt x="2417" y="4"/>
                </a:lnTo>
                <a:lnTo>
                  <a:pt x="2447" y="4"/>
                </a:lnTo>
                <a:lnTo>
                  <a:pt x="2447" y="236"/>
                </a:lnTo>
                <a:lnTo>
                  <a:pt x="2427" y="236"/>
                </a:lnTo>
                <a:close/>
                <a:moveTo>
                  <a:pt x="2676" y="236"/>
                </a:moveTo>
                <a:lnTo>
                  <a:pt x="2653" y="179"/>
                </a:lnTo>
                <a:lnTo>
                  <a:pt x="2530" y="179"/>
                </a:lnTo>
                <a:lnTo>
                  <a:pt x="2507" y="236"/>
                </a:lnTo>
                <a:lnTo>
                  <a:pt x="2484" y="236"/>
                </a:lnTo>
                <a:lnTo>
                  <a:pt x="2580" y="4"/>
                </a:lnTo>
                <a:lnTo>
                  <a:pt x="2604" y="4"/>
                </a:lnTo>
                <a:lnTo>
                  <a:pt x="2699" y="236"/>
                </a:lnTo>
                <a:lnTo>
                  <a:pt x="2676" y="236"/>
                </a:lnTo>
                <a:close/>
                <a:moveTo>
                  <a:pt x="2592" y="25"/>
                </a:moveTo>
                <a:lnTo>
                  <a:pt x="2536" y="161"/>
                </a:lnTo>
                <a:lnTo>
                  <a:pt x="2647" y="161"/>
                </a:lnTo>
                <a:lnTo>
                  <a:pt x="2592" y="25"/>
                </a:lnTo>
                <a:close/>
                <a:moveTo>
                  <a:pt x="2877" y="236"/>
                </a:moveTo>
                <a:lnTo>
                  <a:pt x="2782" y="127"/>
                </a:lnTo>
                <a:lnTo>
                  <a:pt x="2756" y="155"/>
                </a:lnTo>
                <a:lnTo>
                  <a:pt x="2756" y="236"/>
                </a:lnTo>
                <a:lnTo>
                  <a:pt x="2736" y="236"/>
                </a:lnTo>
                <a:lnTo>
                  <a:pt x="2736" y="4"/>
                </a:lnTo>
                <a:lnTo>
                  <a:pt x="2756" y="4"/>
                </a:lnTo>
                <a:lnTo>
                  <a:pt x="2756" y="131"/>
                </a:lnTo>
                <a:lnTo>
                  <a:pt x="2868" y="4"/>
                </a:lnTo>
                <a:lnTo>
                  <a:pt x="2893" y="4"/>
                </a:lnTo>
                <a:lnTo>
                  <a:pt x="2795" y="115"/>
                </a:lnTo>
                <a:lnTo>
                  <a:pt x="2903" y="236"/>
                </a:lnTo>
                <a:lnTo>
                  <a:pt x="2877" y="236"/>
                </a:lnTo>
                <a:close/>
                <a:moveTo>
                  <a:pt x="2941" y="236"/>
                </a:moveTo>
                <a:lnTo>
                  <a:pt x="2941" y="4"/>
                </a:lnTo>
                <a:lnTo>
                  <a:pt x="3088" y="4"/>
                </a:lnTo>
                <a:lnTo>
                  <a:pt x="3088" y="22"/>
                </a:lnTo>
                <a:lnTo>
                  <a:pt x="2961" y="22"/>
                </a:lnTo>
                <a:lnTo>
                  <a:pt x="2961" y="108"/>
                </a:lnTo>
                <a:lnTo>
                  <a:pt x="3085" y="108"/>
                </a:lnTo>
                <a:lnTo>
                  <a:pt x="3085" y="126"/>
                </a:lnTo>
                <a:lnTo>
                  <a:pt x="2961" y="126"/>
                </a:lnTo>
                <a:lnTo>
                  <a:pt x="2961" y="218"/>
                </a:lnTo>
                <a:lnTo>
                  <a:pt x="3088" y="218"/>
                </a:lnTo>
                <a:lnTo>
                  <a:pt x="3088" y="236"/>
                </a:lnTo>
                <a:lnTo>
                  <a:pt x="2941" y="236"/>
                </a:lnTo>
                <a:close/>
                <a:moveTo>
                  <a:pt x="3293" y="236"/>
                </a:moveTo>
                <a:lnTo>
                  <a:pt x="3293" y="22"/>
                </a:lnTo>
                <a:lnTo>
                  <a:pt x="3217" y="22"/>
                </a:lnTo>
                <a:lnTo>
                  <a:pt x="3217" y="4"/>
                </a:lnTo>
                <a:lnTo>
                  <a:pt x="3388" y="4"/>
                </a:lnTo>
                <a:lnTo>
                  <a:pt x="3388" y="22"/>
                </a:lnTo>
                <a:lnTo>
                  <a:pt x="3313" y="22"/>
                </a:lnTo>
                <a:lnTo>
                  <a:pt x="3313" y="236"/>
                </a:lnTo>
                <a:lnTo>
                  <a:pt x="3293" y="236"/>
                </a:lnTo>
                <a:close/>
                <a:moveTo>
                  <a:pt x="3596" y="236"/>
                </a:moveTo>
                <a:lnTo>
                  <a:pt x="3596" y="126"/>
                </a:lnTo>
                <a:lnTo>
                  <a:pt x="3449" y="126"/>
                </a:lnTo>
                <a:lnTo>
                  <a:pt x="3449" y="236"/>
                </a:lnTo>
                <a:lnTo>
                  <a:pt x="3429" y="236"/>
                </a:lnTo>
                <a:lnTo>
                  <a:pt x="3429" y="4"/>
                </a:lnTo>
                <a:lnTo>
                  <a:pt x="3449" y="4"/>
                </a:lnTo>
                <a:lnTo>
                  <a:pt x="3449" y="108"/>
                </a:lnTo>
                <a:lnTo>
                  <a:pt x="3596" y="108"/>
                </a:lnTo>
                <a:lnTo>
                  <a:pt x="3596" y="4"/>
                </a:lnTo>
                <a:lnTo>
                  <a:pt x="3615" y="4"/>
                </a:lnTo>
                <a:lnTo>
                  <a:pt x="3615" y="236"/>
                </a:lnTo>
                <a:lnTo>
                  <a:pt x="3596" y="236"/>
                </a:lnTo>
                <a:close/>
                <a:moveTo>
                  <a:pt x="3677" y="236"/>
                </a:moveTo>
                <a:lnTo>
                  <a:pt x="3677" y="4"/>
                </a:lnTo>
                <a:lnTo>
                  <a:pt x="3824" y="4"/>
                </a:lnTo>
                <a:lnTo>
                  <a:pt x="3824" y="22"/>
                </a:lnTo>
                <a:lnTo>
                  <a:pt x="3697" y="22"/>
                </a:lnTo>
                <a:lnTo>
                  <a:pt x="3697" y="108"/>
                </a:lnTo>
                <a:lnTo>
                  <a:pt x="3822" y="108"/>
                </a:lnTo>
                <a:lnTo>
                  <a:pt x="3822" y="126"/>
                </a:lnTo>
                <a:lnTo>
                  <a:pt x="3697" y="126"/>
                </a:lnTo>
                <a:lnTo>
                  <a:pt x="3697" y="218"/>
                </a:lnTo>
                <a:lnTo>
                  <a:pt x="3824" y="218"/>
                </a:lnTo>
                <a:lnTo>
                  <a:pt x="3824" y="236"/>
                </a:lnTo>
                <a:lnTo>
                  <a:pt x="3677" y="236"/>
                </a:lnTo>
                <a:close/>
                <a:moveTo>
                  <a:pt x="4148" y="236"/>
                </a:moveTo>
                <a:lnTo>
                  <a:pt x="4092" y="37"/>
                </a:lnTo>
                <a:lnTo>
                  <a:pt x="4036" y="236"/>
                </a:lnTo>
                <a:lnTo>
                  <a:pt x="4014" y="236"/>
                </a:lnTo>
                <a:lnTo>
                  <a:pt x="3948" y="4"/>
                </a:lnTo>
                <a:lnTo>
                  <a:pt x="3970" y="4"/>
                </a:lnTo>
                <a:lnTo>
                  <a:pt x="4026" y="208"/>
                </a:lnTo>
                <a:lnTo>
                  <a:pt x="4083" y="4"/>
                </a:lnTo>
                <a:lnTo>
                  <a:pt x="4101" y="4"/>
                </a:lnTo>
                <a:lnTo>
                  <a:pt x="4158" y="208"/>
                </a:lnTo>
                <a:lnTo>
                  <a:pt x="4214" y="4"/>
                </a:lnTo>
                <a:lnTo>
                  <a:pt x="4236" y="4"/>
                </a:lnTo>
                <a:lnTo>
                  <a:pt x="4170" y="236"/>
                </a:lnTo>
                <a:lnTo>
                  <a:pt x="4148" y="236"/>
                </a:lnTo>
                <a:close/>
                <a:moveTo>
                  <a:pt x="4259" y="120"/>
                </a:moveTo>
                <a:lnTo>
                  <a:pt x="4260" y="108"/>
                </a:lnTo>
                <a:lnTo>
                  <a:pt x="4260" y="102"/>
                </a:lnTo>
                <a:lnTo>
                  <a:pt x="4261" y="96"/>
                </a:lnTo>
                <a:lnTo>
                  <a:pt x="4264" y="84"/>
                </a:lnTo>
                <a:lnTo>
                  <a:pt x="4267" y="73"/>
                </a:lnTo>
                <a:lnTo>
                  <a:pt x="4271" y="62"/>
                </a:lnTo>
                <a:lnTo>
                  <a:pt x="4274" y="57"/>
                </a:lnTo>
                <a:lnTo>
                  <a:pt x="4277" y="52"/>
                </a:lnTo>
                <a:lnTo>
                  <a:pt x="4283" y="43"/>
                </a:lnTo>
                <a:lnTo>
                  <a:pt x="4290" y="35"/>
                </a:lnTo>
                <a:lnTo>
                  <a:pt x="4298" y="27"/>
                </a:lnTo>
                <a:lnTo>
                  <a:pt x="4302" y="24"/>
                </a:lnTo>
                <a:lnTo>
                  <a:pt x="4306" y="20"/>
                </a:lnTo>
                <a:lnTo>
                  <a:pt x="4315" y="14"/>
                </a:lnTo>
                <a:lnTo>
                  <a:pt x="4325" y="9"/>
                </a:lnTo>
                <a:lnTo>
                  <a:pt x="4336" y="6"/>
                </a:lnTo>
                <a:lnTo>
                  <a:pt x="4347" y="3"/>
                </a:lnTo>
                <a:lnTo>
                  <a:pt x="4359" y="1"/>
                </a:lnTo>
                <a:lnTo>
                  <a:pt x="4365" y="0"/>
                </a:lnTo>
                <a:lnTo>
                  <a:pt x="4372" y="0"/>
                </a:lnTo>
                <a:lnTo>
                  <a:pt x="4384" y="1"/>
                </a:lnTo>
                <a:lnTo>
                  <a:pt x="4396" y="3"/>
                </a:lnTo>
                <a:lnTo>
                  <a:pt x="4407" y="6"/>
                </a:lnTo>
                <a:lnTo>
                  <a:pt x="4418" y="9"/>
                </a:lnTo>
                <a:lnTo>
                  <a:pt x="4428" y="14"/>
                </a:lnTo>
                <a:lnTo>
                  <a:pt x="4432" y="17"/>
                </a:lnTo>
                <a:lnTo>
                  <a:pt x="4437" y="20"/>
                </a:lnTo>
                <a:lnTo>
                  <a:pt x="4441" y="24"/>
                </a:lnTo>
                <a:lnTo>
                  <a:pt x="4446" y="27"/>
                </a:lnTo>
                <a:lnTo>
                  <a:pt x="4453" y="35"/>
                </a:lnTo>
                <a:lnTo>
                  <a:pt x="4460" y="43"/>
                </a:lnTo>
                <a:lnTo>
                  <a:pt x="4466" y="52"/>
                </a:lnTo>
                <a:lnTo>
                  <a:pt x="4469" y="57"/>
                </a:lnTo>
                <a:lnTo>
                  <a:pt x="4472" y="62"/>
                </a:lnTo>
                <a:lnTo>
                  <a:pt x="4476" y="73"/>
                </a:lnTo>
                <a:lnTo>
                  <a:pt x="4480" y="84"/>
                </a:lnTo>
                <a:lnTo>
                  <a:pt x="4482" y="96"/>
                </a:lnTo>
                <a:lnTo>
                  <a:pt x="4484" y="108"/>
                </a:lnTo>
                <a:lnTo>
                  <a:pt x="4484" y="120"/>
                </a:lnTo>
                <a:lnTo>
                  <a:pt x="4484" y="133"/>
                </a:lnTo>
                <a:lnTo>
                  <a:pt x="4483" y="139"/>
                </a:lnTo>
                <a:lnTo>
                  <a:pt x="4482" y="145"/>
                </a:lnTo>
                <a:lnTo>
                  <a:pt x="4480" y="156"/>
                </a:lnTo>
                <a:lnTo>
                  <a:pt x="4476" y="168"/>
                </a:lnTo>
                <a:lnTo>
                  <a:pt x="4472" y="178"/>
                </a:lnTo>
                <a:lnTo>
                  <a:pt x="4469" y="183"/>
                </a:lnTo>
                <a:lnTo>
                  <a:pt x="4466" y="188"/>
                </a:lnTo>
                <a:lnTo>
                  <a:pt x="4460" y="197"/>
                </a:lnTo>
                <a:lnTo>
                  <a:pt x="4453" y="206"/>
                </a:lnTo>
                <a:lnTo>
                  <a:pt x="4446" y="213"/>
                </a:lnTo>
                <a:lnTo>
                  <a:pt x="4441" y="217"/>
                </a:lnTo>
                <a:lnTo>
                  <a:pt x="4437" y="220"/>
                </a:lnTo>
                <a:lnTo>
                  <a:pt x="4428" y="226"/>
                </a:lnTo>
                <a:lnTo>
                  <a:pt x="4418" y="231"/>
                </a:lnTo>
                <a:lnTo>
                  <a:pt x="4407" y="235"/>
                </a:lnTo>
                <a:lnTo>
                  <a:pt x="4396" y="238"/>
                </a:lnTo>
                <a:lnTo>
                  <a:pt x="4384" y="239"/>
                </a:lnTo>
                <a:lnTo>
                  <a:pt x="4378" y="240"/>
                </a:lnTo>
                <a:lnTo>
                  <a:pt x="4372" y="240"/>
                </a:lnTo>
                <a:lnTo>
                  <a:pt x="4359" y="239"/>
                </a:lnTo>
                <a:lnTo>
                  <a:pt x="4347" y="238"/>
                </a:lnTo>
                <a:lnTo>
                  <a:pt x="4342" y="236"/>
                </a:lnTo>
                <a:lnTo>
                  <a:pt x="4336" y="235"/>
                </a:lnTo>
                <a:lnTo>
                  <a:pt x="4325" y="231"/>
                </a:lnTo>
                <a:lnTo>
                  <a:pt x="4315" y="226"/>
                </a:lnTo>
                <a:lnTo>
                  <a:pt x="4311" y="223"/>
                </a:lnTo>
                <a:lnTo>
                  <a:pt x="4306" y="220"/>
                </a:lnTo>
                <a:lnTo>
                  <a:pt x="4302" y="217"/>
                </a:lnTo>
                <a:lnTo>
                  <a:pt x="4298" y="213"/>
                </a:lnTo>
                <a:lnTo>
                  <a:pt x="4290" y="206"/>
                </a:lnTo>
                <a:lnTo>
                  <a:pt x="4283" y="197"/>
                </a:lnTo>
                <a:lnTo>
                  <a:pt x="4277" y="188"/>
                </a:lnTo>
                <a:lnTo>
                  <a:pt x="4274" y="183"/>
                </a:lnTo>
                <a:lnTo>
                  <a:pt x="4271" y="178"/>
                </a:lnTo>
                <a:lnTo>
                  <a:pt x="4267" y="168"/>
                </a:lnTo>
                <a:lnTo>
                  <a:pt x="4264" y="156"/>
                </a:lnTo>
                <a:lnTo>
                  <a:pt x="4261" y="145"/>
                </a:lnTo>
                <a:lnTo>
                  <a:pt x="4260" y="133"/>
                </a:lnTo>
                <a:lnTo>
                  <a:pt x="4259" y="120"/>
                </a:lnTo>
                <a:close/>
                <a:moveTo>
                  <a:pt x="4463" y="120"/>
                </a:moveTo>
                <a:lnTo>
                  <a:pt x="4463" y="109"/>
                </a:lnTo>
                <a:lnTo>
                  <a:pt x="4462" y="99"/>
                </a:lnTo>
                <a:lnTo>
                  <a:pt x="4460" y="89"/>
                </a:lnTo>
                <a:lnTo>
                  <a:pt x="4457" y="79"/>
                </a:lnTo>
                <a:lnTo>
                  <a:pt x="4453" y="71"/>
                </a:lnTo>
                <a:lnTo>
                  <a:pt x="4449" y="62"/>
                </a:lnTo>
                <a:lnTo>
                  <a:pt x="4444" y="54"/>
                </a:lnTo>
                <a:lnTo>
                  <a:pt x="4438" y="47"/>
                </a:lnTo>
                <a:lnTo>
                  <a:pt x="4432" y="41"/>
                </a:lnTo>
                <a:lnTo>
                  <a:pt x="4425" y="35"/>
                </a:lnTo>
                <a:lnTo>
                  <a:pt x="4418" y="30"/>
                </a:lnTo>
                <a:lnTo>
                  <a:pt x="4409" y="26"/>
                </a:lnTo>
                <a:lnTo>
                  <a:pt x="4401" y="23"/>
                </a:lnTo>
                <a:lnTo>
                  <a:pt x="4392" y="20"/>
                </a:lnTo>
                <a:lnTo>
                  <a:pt x="4382" y="19"/>
                </a:lnTo>
                <a:lnTo>
                  <a:pt x="4372" y="18"/>
                </a:lnTo>
                <a:lnTo>
                  <a:pt x="4361" y="19"/>
                </a:lnTo>
                <a:lnTo>
                  <a:pt x="4352" y="20"/>
                </a:lnTo>
                <a:lnTo>
                  <a:pt x="4342" y="23"/>
                </a:lnTo>
                <a:lnTo>
                  <a:pt x="4334" y="26"/>
                </a:lnTo>
                <a:lnTo>
                  <a:pt x="4330" y="28"/>
                </a:lnTo>
                <a:lnTo>
                  <a:pt x="4326" y="30"/>
                </a:lnTo>
                <a:lnTo>
                  <a:pt x="4318" y="35"/>
                </a:lnTo>
                <a:lnTo>
                  <a:pt x="4311" y="41"/>
                </a:lnTo>
                <a:lnTo>
                  <a:pt x="4305" y="47"/>
                </a:lnTo>
                <a:lnTo>
                  <a:pt x="4299" y="54"/>
                </a:lnTo>
                <a:lnTo>
                  <a:pt x="4294" y="62"/>
                </a:lnTo>
                <a:lnTo>
                  <a:pt x="4290" y="71"/>
                </a:lnTo>
                <a:lnTo>
                  <a:pt x="4286" y="79"/>
                </a:lnTo>
                <a:lnTo>
                  <a:pt x="4284" y="89"/>
                </a:lnTo>
                <a:lnTo>
                  <a:pt x="4282" y="99"/>
                </a:lnTo>
                <a:lnTo>
                  <a:pt x="4280" y="109"/>
                </a:lnTo>
                <a:lnTo>
                  <a:pt x="4280" y="120"/>
                </a:lnTo>
                <a:lnTo>
                  <a:pt x="4280" y="131"/>
                </a:lnTo>
                <a:lnTo>
                  <a:pt x="4282" y="141"/>
                </a:lnTo>
                <a:lnTo>
                  <a:pt x="4284" y="151"/>
                </a:lnTo>
                <a:lnTo>
                  <a:pt x="4286" y="161"/>
                </a:lnTo>
                <a:lnTo>
                  <a:pt x="4290" y="170"/>
                </a:lnTo>
                <a:lnTo>
                  <a:pt x="4294" y="178"/>
                </a:lnTo>
                <a:lnTo>
                  <a:pt x="4299" y="186"/>
                </a:lnTo>
                <a:lnTo>
                  <a:pt x="4305" y="193"/>
                </a:lnTo>
                <a:lnTo>
                  <a:pt x="4311" y="199"/>
                </a:lnTo>
                <a:lnTo>
                  <a:pt x="4318" y="205"/>
                </a:lnTo>
                <a:lnTo>
                  <a:pt x="4326" y="210"/>
                </a:lnTo>
                <a:lnTo>
                  <a:pt x="4334" y="214"/>
                </a:lnTo>
                <a:lnTo>
                  <a:pt x="4342" y="218"/>
                </a:lnTo>
                <a:lnTo>
                  <a:pt x="4352" y="220"/>
                </a:lnTo>
                <a:lnTo>
                  <a:pt x="4361" y="222"/>
                </a:lnTo>
                <a:lnTo>
                  <a:pt x="4372" y="222"/>
                </a:lnTo>
                <a:lnTo>
                  <a:pt x="4382" y="222"/>
                </a:lnTo>
                <a:lnTo>
                  <a:pt x="4392" y="220"/>
                </a:lnTo>
                <a:lnTo>
                  <a:pt x="4401" y="218"/>
                </a:lnTo>
                <a:lnTo>
                  <a:pt x="4409" y="214"/>
                </a:lnTo>
                <a:lnTo>
                  <a:pt x="4418" y="210"/>
                </a:lnTo>
                <a:lnTo>
                  <a:pt x="4425" y="205"/>
                </a:lnTo>
                <a:lnTo>
                  <a:pt x="4432" y="199"/>
                </a:lnTo>
                <a:lnTo>
                  <a:pt x="4438" y="193"/>
                </a:lnTo>
                <a:lnTo>
                  <a:pt x="4444" y="186"/>
                </a:lnTo>
                <a:lnTo>
                  <a:pt x="4449" y="178"/>
                </a:lnTo>
                <a:lnTo>
                  <a:pt x="4453" y="170"/>
                </a:lnTo>
                <a:lnTo>
                  <a:pt x="4457" y="161"/>
                </a:lnTo>
                <a:lnTo>
                  <a:pt x="4460" y="151"/>
                </a:lnTo>
                <a:lnTo>
                  <a:pt x="4462" y="141"/>
                </a:lnTo>
                <a:lnTo>
                  <a:pt x="4463" y="131"/>
                </a:lnTo>
                <a:lnTo>
                  <a:pt x="4463" y="120"/>
                </a:lnTo>
                <a:close/>
                <a:moveTo>
                  <a:pt x="4671" y="236"/>
                </a:moveTo>
                <a:lnTo>
                  <a:pt x="4606" y="140"/>
                </a:lnTo>
                <a:lnTo>
                  <a:pt x="4555" y="140"/>
                </a:lnTo>
                <a:lnTo>
                  <a:pt x="4555" y="236"/>
                </a:lnTo>
                <a:lnTo>
                  <a:pt x="4535" y="236"/>
                </a:lnTo>
                <a:lnTo>
                  <a:pt x="4535" y="4"/>
                </a:lnTo>
                <a:lnTo>
                  <a:pt x="4622" y="4"/>
                </a:lnTo>
                <a:lnTo>
                  <a:pt x="4629" y="4"/>
                </a:lnTo>
                <a:lnTo>
                  <a:pt x="4636" y="5"/>
                </a:lnTo>
                <a:lnTo>
                  <a:pt x="4643" y="7"/>
                </a:lnTo>
                <a:lnTo>
                  <a:pt x="4649" y="9"/>
                </a:lnTo>
                <a:lnTo>
                  <a:pt x="4656" y="11"/>
                </a:lnTo>
                <a:lnTo>
                  <a:pt x="4661" y="14"/>
                </a:lnTo>
                <a:lnTo>
                  <a:pt x="4667" y="18"/>
                </a:lnTo>
                <a:lnTo>
                  <a:pt x="4672" y="22"/>
                </a:lnTo>
                <a:lnTo>
                  <a:pt x="4676" y="27"/>
                </a:lnTo>
                <a:lnTo>
                  <a:pt x="4680" y="32"/>
                </a:lnTo>
                <a:lnTo>
                  <a:pt x="4684" y="37"/>
                </a:lnTo>
                <a:lnTo>
                  <a:pt x="4687" y="43"/>
                </a:lnTo>
                <a:lnTo>
                  <a:pt x="4689" y="50"/>
                </a:lnTo>
                <a:lnTo>
                  <a:pt x="4691" y="57"/>
                </a:lnTo>
                <a:lnTo>
                  <a:pt x="4692" y="64"/>
                </a:lnTo>
                <a:lnTo>
                  <a:pt x="4692" y="72"/>
                </a:lnTo>
                <a:lnTo>
                  <a:pt x="4692" y="80"/>
                </a:lnTo>
                <a:lnTo>
                  <a:pt x="4691" y="87"/>
                </a:lnTo>
                <a:lnTo>
                  <a:pt x="4689" y="94"/>
                </a:lnTo>
                <a:lnTo>
                  <a:pt x="4687" y="100"/>
                </a:lnTo>
                <a:lnTo>
                  <a:pt x="4684" y="106"/>
                </a:lnTo>
                <a:lnTo>
                  <a:pt x="4681" y="111"/>
                </a:lnTo>
                <a:lnTo>
                  <a:pt x="4677" y="116"/>
                </a:lnTo>
                <a:lnTo>
                  <a:pt x="4673" y="120"/>
                </a:lnTo>
                <a:lnTo>
                  <a:pt x="4668" y="124"/>
                </a:lnTo>
                <a:lnTo>
                  <a:pt x="4663" y="128"/>
                </a:lnTo>
                <a:lnTo>
                  <a:pt x="4658" y="131"/>
                </a:lnTo>
                <a:lnTo>
                  <a:pt x="4652" y="133"/>
                </a:lnTo>
                <a:lnTo>
                  <a:pt x="4647" y="136"/>
                </a:lnTo>
                <a:lnTo>
                  <a:pt x="4641" y="137"/>
                </a:lnTo>
                <a:lnTo>
                  <a:pt x="4628" y="139"/>
                </a:lnTo>
                <a:lnTo>
                  <a:pt x="4695" y="236"/>
                </a:lnTo>
                <a:lnTo>
                  <a:pt x="4671" y="236"/>
                </a:lnTo>
                <a:close/>
                <a:moveTo>
                  <a:pt x="4671" y="72"/>
                </a:moveTo>
                <a:lnTo>
                  <a:pt x="4671" y="67"/>
                </a:lnTo>
                <a:lnTo>
                  <a:pt x="4670" y="61"/>
                </a:lnTo>
                <a:lnTo>
                  <a:pt x="4669" y="56"/>
                </a:lnTo>
                <a:lnTo>
                  <a:pt x="4668" y="52"/>
                </a:lnTo>
                <a:lnTo>
                  <a:pt x="4666" y="47"/>
                </a:lnTo>
                <a:lnTo>
                  <a:pt x="4663" y="43"/>
                </a:lnTo>
                <a:lnTo>
                  <a:pt x="4660" y="40"/>
                </a:lnTo>
                <a:lnTo>
                  <a:pt x="4657" y="36"/>
                </a:lnTo>
                <a:lnTo>
                  <a:pt x="4654" y="33"/>
                </a:lnTo>
                <a:lnTo>
                  <a:pt x="4650" y="30"/>
                </a:lnTo>
                <a:lnTo>
                  <a:pt x="4645" y="28"/>
                </a:lnTo>
                <a:lnTo>
                  <a:pt x="4641" y="26"/>
                </a:lnTo>
                <a:lnTo>
                  <a:pt x="4636" y="24"/>
                </a:lnTo>
                <a:lnTo>
                  <a:pt x="4631" y="23"/>
                </a:lnTo>
                <a:lnTo>
                  <a:pt x="4625" y="22"/>
                </a:lnTo>
                <a:lnTo>
                  <a:pt x="4620" y="22"/>
                </a:lnTo>
                <a:lnTo>
                  <a:pt x="4555" y="22"/>
                </a:lnTo>
                <a:lnTo>
                  <a:pt x="4555" y="122"/>
                </a:lnTo>
                <a:lnTo>
                  <a:pt x="4620" y="122"/>
                </a:lnTo>
                <a:lnTo>
                  <a:pt x="4625" y="122"/>
                </a:lnTo>
                <a:lnTo>
                  <a:pt x="4631" y="121"/>
                </a:lnTo>
                <a:lnTo>
                  <a:pt x="4636" y="120"/>
                </a:lnTo>
                <a:lnTo>
                  <a:pt x="4641" y="118"/>
                </a:lnTo>
                <a:lnTo>
                  <a:pt x="4645" y="116"/>
                </a:lnTo>
                <a:lnTo>
                  <a:pt x="4650" y="114"/>
                </a:lnTo>
                <a:lnTo>
                  <a:pt x="4654" y="111"/>
                </a:lnTo>
                <a:lnTo>
                  <a:pt x="4657" y="108"/>
                </a:lnTo>
                <a:lnTo>
                  <a:pt x="4660" y="104"/>
                </a:lnTo>
                <a:lnTo>
                  <a:pt x="4663" y="101"/>
                </a:lnTo>
                <a:lnTo>
                  <a:pt x="4666" y="96"/>
                </a:lnTo>
                <a:lnTo>
                  <a:pt x="4668" y="92"/>
                </a:lnTo>
                <a:lnTo>
                  <a:pt x="4668" y="90"/>
                </a:lnTo>
                <a:lnTo>
                  <a:pt x="4669" y="87"/>
                </a:lnTo>
                <a:lnTo>
                  <a:pt x="4670" y="82"/>
                </a:lnTo>
                <a:lnTo>
                  <a:pt x="4671" y="77"/>
                </a:lnTo>
                <a:lnTo>
                  <a:pt x="4671" y="72"/>
                </a:lnTo>
                <a:close/>
                <a:moveTo>
                  <a:pt x="4738" y="236"/>
                </a:moveTo>
                <a:lnTo>
                  <a:pt x="4738" y="4"/>
                </a:lnTo>
                <a:lnTo>
                  <a:pt x="4758" y="4"/>
                </a:lnTo>
                <a:lnTo>
                  <a:pt x="4758" y="218"/>
                </a:lnTo>
                <a:lnTo>
                  <a:pt x="4870" y="218"/>
                </a:lnTo>
                <a:lnTo>
                  <a:pt x="4870" y="236"/>
                </a:lnTo>
                <a:lnTo>
                  <a:pt x="4738" y="236"/>
                </a:lnTo>
                <a:close/>
                <a:moveTo>
                  <a:pt x="4909" y="236"/>
                </a:moveTo>
                <a:lnTo>
                  <a:pt x="4909" y="4"/>
                </a:lnTo>
                <a:lnTo>
                  <a:pt x="4983" y="4"/>
                </a:lnTo>
                <a:lnTo>
                  <a:pt x="4996" y="5"/>
                </a:lnTo>
                <a:lnTo>
                  <a:pt x="5009" y="6"/>
                </a:lnTo>
                <a:lnTo>
                  <a:pt x="5015" y="8"/>
                </a:lnTo>
                <a:lnTo>
                  <a:pt x="5021" y="9"/>
                </a:lnTo>
                <a:lnTo>
                  <a:pt x="5032" y="13"/>
                </a:lnTo>
                <a:lnTo>
                  <a:pt x="5037" y="16"/>
                </a:lnTo>
                <a:lnTo>
                  <a:pt x="5042" y="18"/>
                </a:lnTo>
                <a:lnTo>
                  <a:pt x="5052" y="24"/>
                </a:lnTo>
                <a:lnTo>
                  <a:pt x="5056" y="27"/>
                </a:lnTo>
                <a:lnTo>
                  <a:pt x="5061" y="31"/>
                </a:lnTo>
                <a:lnTo>
                  <a:pt x="5069" y="38"/>
                </a:lnTo>
                <a:lnTo>
                  <a:pt x="5076" y="47"/>
                </a:lnTo>
                <a:lnTo>
                  <a:pt x="5079" y="51"/>
                </a:lnTo>
                <a:lnTo>
                  <a:pt x="5082" y="56"/>
                </a:lnTo>
                <a:lnTo>
                  <a:pt x="5088" y="65"/>
                </a:lnTo>
                <a:lnTo>
                  <a:pt x="5090" y="70"/>
                </a:lnTo>
                <a:lnTo>
                  <a:pt x="5092" y="75"/>
                </a:lnTo>
                <a:lnTo>
                  <a:pt x="5096" y="86"/>
                </a:lnTo>
                <a:lnTo>
                  <a:pt x="5098" y="97"/>
                </a:lnTo>
                <a:lnTo>
                  <a:pt x="5099" y="103"/>
                </a:lnTo>
                <a:lnTo>
                  <a:pt x="5100" y="108"/>
                </a:lnTo>
                <a:lnTo>
                  <a:pt x="5100" y="120"/>
                </a:lnTo>
                <a:lnTo>
                  <a:pt x="5100" y="132"/>
                </a:lnTo>
                <a:lnTo>
                  <a:pt x="5099" y="138"/>
                </a:lnTo>
                <a:lnTo>
                  <a:pt x="5098" y="144"/>
                </a:lnTo>
                <a:lnTo>
                  <a:pt x="5096" y="155"/>
                </a:lnTo>
                <a:lnTo>
                  <a:pt x="5092" y="165"/>
                </a:lnTo>
                <a:lnTo>
                  <a:pt x="5090" y="171"/>
                </a:lnTo>
                <a:lnTo>
                  <a:pt x="5088" y="176"/>
                </a:lnTo>
                <a:lnTo>
                  <a:pt x="5082" y="185"/>
                </a:lnTo>
                <a:lnTo>
                  <a:pt x="5076" y="194"/>
                </a:lnTo>
                <a:lnTo>
                  <a:pt x="5069" y="202"/>
                </a:lnTo>
                <a:lnTo>
                  <a:pt x="5061" y="210"/>
                </a:lnTo>
                <a:lnTo>
                  <a:pt x="5052" y="216"/>
                </a:lnTo>
                <a:lnTo>
                  <a:pt x="5042" y="222"/>
                </a:lnTo>
                <a:lnTo>
                  <a:pt x="5037" y="225"/>
                </a:lnTo>
                <a:lnTo>
                  <a:pt x="5032" y="227"/>
                </a:lnTo>
                <a:lnTo>
                  <a:pt x="5026" y="229"/>
                </a:lnTo>
                <a:lnTo>
                  <a:pt x="5021" y="231"/>
                </a:lnTo>
                <a:lnTo>
                  <a:pt x="5009" y="234"/>
                </a:lnTo>
                <a:lnTo>
                  <a:pt x="4996" y="235"/>
                </a:lnTo>
                <a:lnTo>
                  <a:pt x="4990" y="236"/>
                </a:lnTo>
                <a:lnTo>
                  <a:pt x="4983" y="236"/>
                </a:lnTo>
                <a:lnTo>
                  <a:pt x="4909" y="236"/>
                </a:lnTo>
                <a:close/>
                <a:moveTo>
                  <a:pt x="5080" y="120"/>
                </a:moveTo>
                <a:lnTo>
                  <a:pt x="5079" y="110"/>
                </a:lnTo>
                <a:lnTo>
                  <a:pt x="5078" y="100"/>
                </a:lnTo>
                <a:lnTo>
                  <a:pt x="5076" y="91"/>
                </a:lnTo>
                <a:lnTo>
                  <a:pt x="5073" y="82"/>
                </a:lnTo>
                <a:lnTo>
                  <a:pt x="5070" y="73"/>
                </a:lnTo>
                <a:lnTo>
                  <a:pt x="5065" y="65"/>
                </a:lnTo>
                <a:lnTo>
                  <a:pt x="5060" y="58"/>
                </a:lnTo>
                <a:lnTo>
                  <a:pt x="5054" y="51"/>
                </a:lnTo>
                <a:lnTo>
                  <a:pt x="5048" y="45"/>
                </a:lnTo>
                <a:lnTo>
                  <a:pt x="5041" y="39"/>
                </a:lnTo>
                <a:lnTo>
                  <a:pt x="5033" y="34"/>
                </a:lnTo>
                <a:lnTo>
                  <a:pt x="5029" y="32"/>
                </a:lnTo>
                <a:lnTo>
                  <a:pt x="5024" y="30"/>
                </a:lnTo>
                <a:lnTo>
                  <a:pt x="5015" y="27"/>
                </a:lnTo>
                <a:lnTo>
                  <a:pt x="5005" y="24"/>
                </a:lnTo>
                <a:lnTo>
                  <a:pt x="4995" y="23"/>
                </a:lnTo>
                <a:lnTo>
                  <a:pt x="4983" y="22"/>
                </a:lnTo>
                <a:lnTo>
                  <a:pt x="4929" y="22"/>
                </a:lnTo>
                <a:lnTo>
                  <a:pt x="4929" y="218"/>
                </a:lnTo>
                <a:lnTo>
                  <a:pt x="4983" y="218"/>
                </a:lnTo>
                <a:lnTo>
                  <a:pt x="4994" y="217"/>
                </a:lnTo>
                <a:lnTo>
                  <a:pt x="5000" y="217"/>
                </a:lnTo>
                <a:lnTo>
                  <a:pt x="5005" y="216"/>
                </a:lnTo>
                <a:lnTo>
                  <a:pt x="5015" y="213"/>
                </a:lnTo>
                <a:lnTo>
                  <a:pt x="5024" y="210"/>
                </a:lnTo>
                <a:lnTo>
                  <a:pt x="5033" y="206"/>
                </a:lnTo>
                <a:lnTo>
                  <a:pt x="5041" y="201"/>
                </a:lnTo>
                <a:lnTo>
                  <a:pt x="5048" y="196"/>
                </a:lnTo>
                <a:lnTo>
                  <a:pt x="5054" y="189"/>
                </a:lnTo>
                <a:lnTo>
                  <a:pt x="5060" y="182"/>
                </a:lnTo>
                <a:lnTo>
                  <a:pt x="5065" y="175"/>
                </a:lnTo>
                <a:lnTo>
                  <a:pt x="5070" y="167"/>
                </a:lnTo>
                <a:lnTo>
                  <a:pt x="5073" y="158"/>
                </a:lnTo>
                <a:lnTo>
                  <a:pt x="5076" y="149"/>
                </a:lnTo>
                <a:lnTo>
                  <a:pt x="5078" y="140"/>
                </a:lnTo>
                <a:lnTo>
                  <a:pt x="5079" y="130"/>
                </a:lnTo>
                <a:lnTo>
                  <a:pt x="5080" y="120"/>
                </a:lnTo>
                <a:close/>
                <a:moveTo>
                  <a:pt x="829" y="538"/>
                </a:moveTo>
                <a:lnTo>
                  <a:pt x="830" y="525"/>
                </a:lnTo>
                <a:lnTo>
                  <a:pt x="832" y="513"/>
                </a:lnTo>
                <a:lnTo>
                  <a:pt x="835" y="501"/>
                </a:lnTo>
                <a:lnTo>
                  <a:pt x="838" y="489"/>
                </a:lnTo>
                <a:lnTo>
                  <a:pt x="841" y="484"/>
                </a:lnTo>
                <a:lnTo>
                  <a:pt x="843" y="479"/>
                </a:lnTo>
                <a:lnTo>
                  <a:pt x="849" y="469"/>
                </a:lnTo>
                <a:lnTo>
                  <a:pt x="853" y="464"/>
                </a:lnTo>
                <a:lnTo>
                  <a:pt x="857" y="460"/>
                </a:lnTo>
                <a:lnTo>
                  <a:pt x="864" y="452"/>
                </a:lnTo>
                <a:lnTo>
                  <a:pt x="873" y="444"/>
                </a:lnTo>
                <a:lnTo>
                  <a:pt x="882" y="437"/>
                </a:lnTo>
                <a:lnTo>
                  <a:pt x="891" y="432"/>
                </a:lnTo>
                <a:lnTo>
                  <a:pt x="902" y="427"/>
                </a:lnTo>
                <a:lnTo>
                  <a:pt x="913" y="423"/>
                </a:lnTo>
                <a:lnTo>
                  <a:pt x="924" y="421"/>
                </a:lnTo>
                <a:lnTo>
                  <a:pt x="936" y="419"/>
                </a:lnTo>
                <a:lnTo>
                  <a:pt x="948" y="418"/>
                </a:lnTo>
                <a:lnTo>
                  <a:pt x="961" y="419"/>
                </a:lnTo>
                <a:lnTo>
                  <a:pt x="968" y="420"/>
                </a:lnTo>
                <a:lnTo>
                  <a:pt x="974" y="421"/>
                </a:lnTo>
                <a:lnTo>
                  <a:pt x="986" y="425"/>
                </a:lnTo>
                <a:lnTo>
                  <a:pt x="997" y="430"/>
                </a:lnTo>
                <a:lnTo>
                  <a:pt x="1002" y="432"/>
                </a:lnTo>
                <a:lnTo>
                  <a:pt x="1007" y="436"/>
                </a:lnTo>
                <a:lnTo>
                  <a:pt x="1016" y="443"/>
                </a:lnTo>
                <a:lnTo>
                  <a:pt x="1025" y="450"/>
                </a:lnTo>
                <a:lnTo>
                  <a:pt x="1032" y="459"/>
                </a:lnTo>
                <a:lnTo>
                  <a:pt x="1016" y="470"/>
                </a:lnTo>
                <a:lnTo>
                  <a:pt x="1013" y="466"/>
                </a:lnTo>
                <a:lnTo>
                  <a:pt x="1010" y="463"/>
                </a:lnTo>
                <a:lnTo>
                  <a:pt x="1003" y="456"/>
                </a:lnTo>
                <a:lnTo>
                  <a:pt x="995" y="451"/>
                </a:lnTo>
                <a:lnTo>
                  <a:pt x="987" y="446"/>
                </a:lnTo>
                <a:lnTo>
                  <a:pt x="978" y="442"/>
                </a:lnTo>
                <a:lnTo>
                  <a:pt x="973" y="440"/>
                </a:lnTo>
                <a:lnTo>
                  <a:pt x="968" y="439"/>
                </a:lnTo>
                <a:lnTo>
                  <a:pt x="963" y="438"/>
                </a:lnTo>
                <a:lnTo>
                  <a:pt x="958" y="437"/>
                </a:lnTo>
                <a:lnTo>
                  <a:pt x="953" y="437"/>
                </a:lnTo>
                <a:lnTo>
                  <a:pt x="948" y="436"/>
                </a:lnTo>
                <a:lnTo>
                  <a:pt x="938" y="437"/>
                </a:lnTo>
                <a:lnTo>
                  <a:pt x="928" y="438"/>
                </a:lnTo>
                <a:lnTo>
                  <a:pt x="923" y="439"/>
                </a:lnTo>
                <a:lnTo>
                  <a:pt x="919" y="441"/>
                </a:lnTo>
                <a:lnTo>
                  <a:pt x="910" y="444"/>
                </a:lnTo>
                <a:lnTo>
                  <a:pt x="901" y="448"/>
                </a:lnTo>
                <a:lnTo>
                  <a:pt x="893" y="453"/>
                </a:lnTo>
                <a:lnTo>
                  <a:pt x="886" y="458"/>
                </a:lnTo>
                <a:lnTo>
                  <a:pt x="883" y="461"/>
                </a:lnTo>
                <a:lnTo>
                  <a:pt x="879" y="465"/>
                </a:lnTo>
                <a:lnTo>
                  <a:pt x="873" y="472"/>
                </a:lnTo>
                <a:lnTo>
                  <a:pt x="867" y="479"/>
                </a:lnTo>
                <a:lnTo>
                  <a:pt x="863" y="488"/>
                </a:lnTo>
                <a:lnTo>
                  <a:pt x="859" y="497"/>
                </a:lnTo>
                <a:lnTo>
                  <a:pt x="855" y="506"/>
                </a:lnTo>
                <a:lnTo>
                  <a:pt x="853" y="516"/>
                </a:lnTo>
                <a:lnTo>
                  <a:pt x="852" y="527"/>
                </a:lnTo>
                <a:lnTo>
                  <a:pt x="851" y="538"/>
                </a:lnTo>
                <a:lnTo>
                  <a:pt x="852" y="549"/>
                </a:lnTo>
                <a:lnTo>
                  <a:pt x="853" y="560"/>
                </a:lnTo>
                <a:lnTo>
                  <a:pt x="855" y="570"/>
                </a:lnTo>
                <a:lnTo>
                  <a:pt x="859" y="579"/>
                </a:lnTo>
                <a:lnTo>
                  <a:pt x="863" y="588"/>
                </a:lnTo>
                <a:lnTo>
                  <a:pt x="867" y="597"/>
                </a:lnTo>
                <a:lnTo>
                  <a:pt x="873" y="604"/>
                </a:lnTo>
                <a:lnTo>
                  <a:pt x="879" y="612"/>
                </a:lnTo>
                <a:lnTo>
                  <a:pt x="886" y="618"/>
                </a:lnTo>
                <a:lnTo>
                  <a:pt x="890" y="621"/>
                </a:lnTo>
                <a:lnTo>
                  <a:pt x="893" y="624"/>
                </a:lnTo>
                <a:lnTo>
                  <a:pt x="901" y="628"/>
                </a:lnTo>
                <a:lnTo>
                  <a:pt x="910" y="633"/>
                </a:lnTo>
                <a:lnTo>
                  <a:pt x="919" y="636"/>
                </a:lnTo>
                <a:lnTo>
                  <a:pt x="928" y="638"/>
                </a:lnTo>
                <a:lnTo>
                  <a:pt x="938" y="640"/>
                </a:lnTo>
                <a:lnTo>
                  <a:pt x="948" y="640"/>
                </a:lnTo>
                <a:lnTo>
                  <a:pt x="958" y="639"/>
                </a:lnTo>
                <a:lnTo>
                  <a:pt x="968" y="638"/>
                </a:lnTo>
                <a:lnTo>
                  <a:pt x="973" y="636"/>
                </a:lnTo>
                <a:lnTo>
                  <a:pt x="978" y="635"/>
                </a:lnTo>
                <a:lnTo>
                  <a:pt x="987" y="631"/>
                </a:lnTo>
                <a:lnTo>
                  <a:pt x="991" y="628"/>
                </a:lnTo>
                <a:lnTo>
                  <a:pt x="995" y="626"/>
                </a:lnTo>
                <a:lnTo>
                  <a:pt x="1003" y="620"/>
                </a:lnTo>
                <a:lnTo>
                  <a:pt x="1010" y="614"/>
                </a:lnTo>
                <a:lnTo>
                  <a:pt x="1013" y="610"/>
                </a:lnTo>
                <a:lnTo>
                  <a:pt x="1016" y="606"/>
                </a:lnTo>
                <a:lnTo>
                  <a:pt x="1033" y="617"/>
                </a:lnTo>
                <a:lnTo>
                  <a:pt x="1029" y="621"/>
                </a:lnTo>
                <a:lnTo>
                  <a:pt x="1024" y="626"/>
                </a:lnTo>
                <a:lnTo>
                  <a:pt x="1016" y="634"/>
                </a:lnTo>
                <a:lnTo>
                  <a:pt x="1011" y="638"/>
                </a:lnTo>
                <a:lnTo>
                  <a:pt x="1006" y="641"/>
                </a:lnTo>
                <a:lnTo>
                  <a:pt x="996" y="647"/>
                </a:lnTo>
                <a:lnTo>
                  <a:pt x="991" y="649"/>
                </a:lnTo>
                <a:lnTo>
                  <a:pt x="985" y="652"/>
                </a:lnTo>
                <a:lnTo>
                  <a:pt x="980" y="654"/>
                </a:lnTo>
                <a:lnTo>
                  <a:pt x="974" y="655"/>
                </a:lnTo>
                <a:lnTo>
                  <a:pt x="968" y="656"/>
                </a:lnTo>
                <a:lnTo>
                  <a:pt x="961" y="657"/>
                </a:lnTo>
                <a:lnTo>
                  <a:pt x="948" y="658"/>
                </a:lnTo>
                <a:lnTo>
                  <a:pt x="936" y="658"/>
                </a:lnTo>
                <a:lnTo>
                  <a:pt x="930" y="657"/>
                </a:lnTo>
                <a:lnTo>
                  <a:pt x="924" y="656"/>
                </a:lnTo>
                <a:lnTo>
                  <a:pt x="913" y="653"/>
                </a:lnTo>
                <a:lnTo>
                  <a:pt x="907" y="651"/>
                </a:lnTo>
                <a:lnTo>
                  <a:pt x="902" y="649"/>
                </a:lnTo>
                <a:lnTo>
                  <a:pt x="891" y="645"/>
                </a:lnTo>
                <a:lnTo>
                  <a:pt x="882" y="639"/>
                </a:lnTo>
                <a:lnTo>
                  <a:pt x="873" y="632"/>
                </a:lnTo>
                <a:lnTo>
                  <a:pt x="869" y="629"/>
                </a:lnTo>
                <a:lnTo>
                  <a:pt x="864" y="625"/>
                </a:lnTo>
                <a:lnTo>
                  <a:pt x="857" y="617"/>
                </a:lnTo>
                <a:lnTo>
                  <a:pt x="849" y="607"/>
                </a:lnTo>
                <a:lnTo>
                  <a:pt x="843" y="598"/>
                </a:lnTo>
                <a:lnTo>
                  <a:pt x="838" y="587"/>
                </a:lnTo>
                <a:lnTo>
                  <a:pt x="835" y="576"/>
                </a:lnTo>
                <a:lnTo>
                  <a:pt x="833" y="570"/>
                </a:lnTo>
                <a:lnTo>
                  <a:pt x="832" y="564"/>
                </a:lnTo>
                <a:lnTo>
                  <a:pt x="830" y="551"/>
                </a:lnTo>
                <a:lnTo>
                  <a:pt x="830" y="545"/>
                </a:lnTo>
                <a:lnTo>
                  <a:pt x="829" y="538"/>
                </a:lnTo>
                <a:close/>
                <a:moveTo>
                  <a:pt x="1068" y="654"/>
                </a:moveTo>
                <a:lnTo>
                  <a:pt x="1068" y="422"/>
                </a:lnTo>
                <a:lnTo>
                  <a:pt x="1088" y="422"/>
                </a:lnTo>
                <a:lnTo>
                  <a:pt x="1088" y="636"/>
                </a:lnTo>
                <a:lnTo>
                  <a:pt x="1200" y="636"/>
                </a:lnTo>
                <a:lnTo>
                  <a:pt x="1200" y="654"/>
                </a:lnTo>
                <a:lnTo>
                  <a:pt x="1068" y="654"/>
                </a:lnTo>
                <a:close/>
                <a:moveTo>
                  <a:pt x="1239" y="654"/>
                </a:moveTo>
                <a:lnTo>
                  <a:pt x="1239" y="422"/>
                </a:lnTo>
                <a:lnTo>
                  <a:pt x="1386" y="422"/>
                </a:lnTo>
                <a:lnTo>
                  <a:pt x="1386" y="440"/>
                </a:lnTo>
                <a:lnTo>
                  <a:pt x="1259" y="440"/>
                </a:lnTo>
                <a:lnTo>
                  <a:pt x="1259" y="526"/>
                </a:lnTo>
                <a:lnTo>
                  <a:pt x="1384" y="526"/>
                </a:lnTo>
                <a:lnTo>
                  <a:pt x="1384" y="544"/>
                </a:lnTo>
                <a:lnTo>
                  <a:pt x="1259" y="544"/>
                </a:lnTo>
                <a:lnTo>
                  <a:pt x="1259" y="636"/>
                </a:lnTo>
                <a:lnTo>
                  <a:pt x="1386" y="636"/>
                </a:lnTo>
                <a:lnTo>
                  <a:pt x="1386" y="654"/>
                </a:lnTo>
                <a:lnTo>
                  <a:pt x="1239" y="654"/>
                </a:lnTo>
                <a:close/>
                <a:moveTo>
                  <a:pt x="1610" y="654"/>
                </a:moveTo>
                <a:lnTo>
                  <a:pt x="1587" y="597"/>
                </a:lnTo>
                <a:lnTo>
                  <a:pt x="1465" y="597"/>
                </a:lnTo>
                <a:lnTo>
                  <a:pt x="1442" y="654"/>
                </a:lnTo>
                <a:lnTo>
                  <a:pt x="1419" y="654"/>
                </a:lnTo>
                <a:lnTo>
                  <a:pt x="1514" y="422"/>
                </a:lnTo>
                <a:lnTo>
                  <a:pt x="1538" y="422"/>
                </a:lnTo>
                <a:lnTo>
                  <a:pt x="1633" y="654"/>
                </a:lnTo>
                <a:lnTo>
                  <a:pt x="1610" y="654"/>
                </a:lnTo>
                <a:close/>
                <a:moveTo>
                  <a:pt x="1526" y="443"/>
                </a:moveTo>
                <a:lnTo>
                  <a:pt x="1471" y="579"/>
                </a:lnTo>
                <a:lnTo>
                  <a:pt x="1581" y="579"/>
                </a:lnTo>
                <a:lnTo>
                  <a:pt x="1526" y="443"/>
                </a:lnTo>
                <a:close/>
                <a:moveTo>
                  <a:pt x="1836" y="654"/>
                </a:moveTo>
                <a:lnTo>
                  <a:pt x="1690" y="455"/>
                </a:lnTo>
                <a:lnTo>
                  <a:pt x="1690" y="654"/>
                </a:lnTo>
                <a:lnTo>
                  <a:pt x="1670" y="654"/>
                </a:lnTo>
                <a:lnTo>
                  <a:pt x="1670" y="422"/>
                </a:lnTo>
                <a:lnTo>
                  <a:pt x="1690" y="422"/>
                </a:lnTo>
                <a:lnTo>
                  <a:pt x="1835" y="619"/>
                </a:lnTo>
                <a:lnTo>
                  <a:pt x="1835" y="422"/>
                </a:lnTo>
                <a:lnTo>
                  <a:pt x="1855" y="422"/>
                </a:lnTo>
                <a:lnTo>
                  <a:pt x="1855" y="654"/>
                </a:lnTo>
                <a:lnTo>
                  <a:pt x="1836" y="654"/>
                </a:lnTo>
                <a:close/>
                <a:moveTo>
                  <a:pt x="1917" y="654"/>
                </a:moveTo>
                <a:lnTo>
                  <a:pt x="1917" y="422"/>
                </a:lnTo>
                <a:lnTo>
                  <a:pt x="2064" y="422"/>
                </a:lnTo>
                <a:lnTo>
                  <a:pt x="2064" y="440"/>
                </a:lnTo>
                <a:lnTo>
                  <a:pt x="1937" y="440"/>
                </a:lnTo>
                <a:lnTo>
                  <a:pt x="1937" y="526"/>
                </a:lnTo>
                <a:lnTo>
                  <a:pt x="2061" y="526"/>
                </a:lnTo>
                <a:lnTo>
                  <a:pt x="2061" y="544"/>
                </a:lnTo>
                <a:lnTo>
                  <a:pt x="1937" y="544"/>
                </a:lnTo>
                <a:lnTo>
                  <a:pt x="1937" y="636"/>
                </a:lnTo>
                <a:lnTo>
                  <a:pt x="2064" y="636"/>
                </a:lnTo>
                <a:lnTo>
                  <a:pt x="2064" y="654"/>
                </a:lnTo>
                <a:lnTo>
                  <a:pt x="1917" y="654"/>
                </a:lnTo>
                <a:close/>
                <a:moveTo>
                  <a:pt x="2248" y="654"/>
                </a:moveTo>
                <a:lnTo>
                  <a:pt x="2183" y="558"/>
                </a:lnTo>
                <a:lnTo>
                  <a:pt x="2132" y="558"/>
                </a:lnTo>
                <a:lnTo>
                  <a:pt x="2132" y="654"/>
                </a:lnTo>
                <a:lnTo>
                  <a:pt x="2112" y="654"/>
                </a:lnTo>
                <a:lnTo>
                  <a:pt x="2112" y="422"/>
                </a:lnTo>
                <a:lnTo>
                  <a:pt x="2199" y="422"/>
                </a:lnTo>
                <a:lnTo>
                  <a:pt x="2206" y="422"/>
                </a:lnTo>
                <a:lnTo>
                  <a:pt x="2213" y="423"/>
                </a:lnTo>
                <a:lnTo>
                  <a:pt x="2220" y="425"/>
                </a:lnTo>
                <a:lnTo>
                  <a:pt x="2227" y="427"/>
                </a:lnTo>
                <a:lnTo>
                  <a:pt x="2233" y="429"/>
                </a:lnTo>
                <a:lnTo>
                  <a:pt x="2239" y="432"/>
                </a:lnTo>
                <a:lnTo>
                  <a:pt x="2244" y="436"/>
                </a:lnTo>
                <a:lnTo>
                  <a:pt x="2249" y="440"/>
                </a:lnTo>
                <a:lnTo>
                  <a:pt x="2254" y="445"/>
                </a:lnTo>
                <a:lnTo>
                  <a:pt x="2258" y="450"/>
                </a:lnTo>
                <a:lnTo>
                  <a:pt x="2261" y="455"/>
                </a:lnTo>
                <a:lnTo>
                  <a:pt x="2264" y="461"/>
                </a:lnTo>
                <a:lnTo>
                  <a:pt x="2266" y="468"/>
                </a:lnTo>
                <a:lnTo>
                  <a:pt x="2268" y="475"/>
                </a:lnTo>
                <a:lnTo>
                  <a:pt x="2269" y="482"/>
                </a:lnTo>
                <a:lnTo>
                  <a:pt x="2269" y="490"/>
                </a:lnTo>
                <a:lnTo>
                  <a:pt x="2269" y="498"/>
                </a:lnTo>
                <a:lnTo>
                  <a:pt x="2268" y="505"/>
                </a:lnTo>
                <a:lnTo>
                  <a:pt x="2267" y="512"/>
                </a:lnTo>
                <a:lnTo>
                  <a:pt x="2264" y="518"/>
                </a:lnTo>
                <a:lnTo>
                  <a:pt x="2262" y="524"/>
                </a:lnTo>
                <a:lnTo>
                  <a:pt x="2258" y="529"/>
                </a:lnTo>
                <a:lnTo>
                  <a:pt x="2255" y="534"/>
                </a:lnTo>
                <a:lnTo>
                  <a:pt x="2250" y="539"/>
                </a:lnTo>
                <a:lnTo>
                  <a:pt x="2246" y="543"/>
                </a:lnTo>
                <a:lnTo>
                  <a:pt x="2241" y="546"/>
                </a:lnTo>
                <a:lnTo>
                  <a:pt x="2236" y="549"/>
                </a:lnTo>
                <a:lnTo>
                  <a:pt x="2230" y="552"/>
                </a:lnTo>
                <a:lnTo>
                  <a:pt x="2224" y="554"/>
                </a:lnTo>
                <a:lnTo>
                  <a:pt x="2218" y="555"/>
                </a:lnTo>
                <a:lnTo>
                  <a:pt x="2205" y="557"/>
                </a:lnTo>
                <a:lnTo>
                  <a:pt x="2272" y="654"/>
                </a:lnTo>
                <a:lnTo>
                  <a:pt x="2248" y="654"/>
                </a:lnTo>
                <a:close/>
                <a:moveTo>
                  <a:pt x="2249" y="490"/>
                </a:moveTo>
                <a:lnTo>
                  <a:pt x="2248" y="485"/>
                </a:lnTo>
                <a:lnTo>
                  <a:pt x="2248" y="479"/>
                </a:lnTo>
                <a:lnTo>
                  <a:pt x="2247" y="474"/>
                </a:lnTo>
                <a:lnTo>
                  <a:pt x="2245" y="470"/>
                </a:lnTo>
                <a:lnTo>
                  <a:pt x="2243" y="465"/>
                </a:lnTo>
                <a:lnTo>
                  <a:pt x="2241" y="461"/>
                </a:lnTo>
                <a:lnTo>
                  <a:pt x="2238" y="458"/>
                </a:lnTo>
                <a:lnTo>
                  <a:pt x="2235" y="454"/>
                </a:lnTo>
                <a:lnTo>
                  <a:pt x="2231" y="451"/>
                </a:lnTo>
                <a:lnTo>
                  <a:pt x="2227" y="448"/>
                </a:lnTo>
                <a:lnTo>
                  <a:pt x="2223" y="446"/>
                </a:lnTo>
                <a:lnTo>
                  <a:pt x="2218" y="444"/>
                </a:lnTo>
                <a:lnTo>
                  <a:pt x="2213" y="442"/>
                </a:lnTo>
                <a:lnTo>
                  <a:pt x="2208" y="441"/>
                </a:lnTo>
                <a:lnTo>
                  <a:pt x="2203" y="440"/>
                </a:lnTo>
                <a:lnTo>
                  <a:pt x="2197" y="440"/>
                </a:lnTo>
                <a:lnTo>
                  <a:pt x="2132" y="440"/>
                </a:lnTo>
                <a:lnTo>
                  <a:pt x="2132" y="540"/>
                </a:lnTo>
                <a:lnTo>
                  <a:pt x="2197" y="540"/>
                </a:lnTo>
                <a:lnTo>
                  <a:pt x="2203" y="540"/>
                </a:lnTo>
                <a:lnTo>
                  <a:pt x="2208" y="539"/>
                </a:lnTo>
                <a:lnTo>
                  <a:pt x="2213" y="538"/>
                </a:lnTo>
                <a:lnTo>
                  <a:pt x="2218" y="536"/>
                </a:lnTo>
                <a:lnTo>
                  <a:pt x="2223" y="534"/>
                </a:lnTo>
                <a:lnTo>
                  <a:pt x="2227" y="532"/>
                </a:lnTo>
                <a:lnTo>
                  <a:pt x="2231" y="529"/>
                </a:lnTo>
                <a:lnTo>
                  <a:pt x="2235" y="526"/>
                </a:lnTo>
                <a:lnTo>
                  <a:pt x="2238" y="522"/>
                </a:lnTo>
                <a:lnTo>
                  <a:pt x="2241" y="519"/>
                </a:lnTo>
                <a:lnTo>
                  <a:pt x="2243" y="514"/>
                </a:lnTo>
                <a:lnTo>
                  <a:pt x="2245" y="510"/>
                </a:lnTo>
                <a:lnTo>
                  <a:pt x="2246" y="508"/>
                </a:lnTo>
                <a:lnTo>
                  <a:pt x="2247" y="505"/>
                </a:lnTo>
                <a:lnTo>
                  <a:pt x="2248" y="500"/>
                </a:lnTo>
                <a:lnTo>
                  <a:pt x="2248" y="495"/>
                </a:lnTo>
                <a:lnTo>
                  <a:pt x="2249" y="490"/>
                </a:lnTo>
                <a:close/>
                <a:moveTo>
                  <a:pt x="2585" y="654"/>
                </a:moveTo>
                <a:lnTo>
                  <a:pt x="2562" y="597"/>
                </a:lnTo>
                <a:lnTo>
                  <a:pt x="2438" y="597"/>
                </a:lnTo>
                <a:lnTo>
                  <a:pt x="2415" y="654"/>
                </a:lnTo>
                <a:lnTo>
                  <a:pt x="2392" y="654"/>
                </a:lnTo>
                <a:lnTo>
                  <a:pt x="2487" y="422"/>
                </a:lnTo>
                <a:lnTo>
                  <a:pt x="2512" y="422"/>
                </a:lnTo>
                <a:lnTo>
                  <a:pt x="2608" y="654"/>
                </a:lnTo>
                <a:lnTo>
                  <a:pt x="2585" y="654"/>
                </a:lnTo>
                <a:close/>
                <a:moveTo>
                  <a:pt x="2500" y="443"/>
                </a:moveTo>
                <a:lnTo>
                  <a:pt x="2445" y="579"/>
                </a:lnTo>
                <a:lnTo>
                  <a:pt x="2555" y="579"/>
                </a:lnTo>
                <a:lnTo>
                  <a:pt x="2500" y="443"/>
                </a:lnTo>
                <a:close/>
                <a:moveTo>
                  <a:pt x="2810" y="654"/>
                </a:moveTo>
                <a:lnTo>
                  <a:pt x="2664" y="455"/>
                </a:lnTo>
                <a:lnTo>
                  <a:pt x="2664" y="654"/>
                </a:lnTo>
                <a:lnTo>
                  <a:pt x="2644" y="654"/>
                </a:lnTo>
                <a:lnTo>
                  <a:pt x="2644" y="422"/>
                </a:lnTo>
                <a:lnTo>
                  <a:pt x="2665" y="422"/>
                </a:lnTo>
                <a:lnTo>
                  <a:pt x="2810" y="619"/>
                </a:lnTo>
                <a:lnTo>
                  <a:pt x="2810" y="422"/>
                </a:lnTo>
                <a:lnTo>
                  <a:pt x="2830" y="422"/>
                </a:lnTo>
                <a:lnTo>
                  <a:pt x="2830" y="654"/>
                </a:lnTo>
                <a:lnTo>
                  <a:pt x="2810" y="654"/>
                </a:lnTo>
                <a:close/>
                <a:moveTo>
                  <a:pt x="2891" y="654"/>
                </a:moveTo>
                <a:lnTo>
                  <a:pt x="2891" y="422"/>
                </a:lnTo>
                <a:lnTo>
                  <a:pt x="2965" y="422"/>
                </a:lnTo>
                <a:lnTo>
                  <a:pt x="2978" y="423"/>
                </a:lnTo>
                <a:lnTo>
                  <a:pt x="2991" y="425"/>
                </a:lnTo>
                <a:lnTo>
                  <a:pt x="2997" y="426"/>
                </a:lnTo>
                <a:lnTo>
                  <a:pt x="3003" y="427"/>
                </a:lnTo>
                <a:lnTo>
                  <a:pt x="3014" y="431"/>
                </a:lnTo>
                <a:lnTo>
                  <a:pt x="3019" y="434"/>
                </a:lnTo>
                <a:lnTo>
                  <a:pt x="3024" y="436"/>
                </a:lnTo>
                <a:lnTo>
                  <a:pt x="3034" y="442"/>
                </a:lnTo>
                <a:lnTo>
                  <a:pt x="3038" y="445"/>
                </a:lnTo>
                <a:lnTo>
                  <a:pt x="3043" y="449"/>
                </a:lnTo>
                <a:lnTo>
                  <a:pt x="3051" y="456"/>
                </a:lnTo>
                <a:lnTo>
                  <a:pt x="3058" y="465"/>
                </a:lnTo>
                <a:lnTo>
                  <a:pt x="3061" y="469"/>
                </a:lnTo>
                <a:lnTo>
                  <a:pt x="3064" y="474"/>
                </a:lnTo>
                <a:lnTo>
                  <a:pt x="3070" y="483"/>
                </a:lnTo>
                <a:lnTo>
                  <a:pt x="3072" y="488"/>
                </a:lnTo>
                <a:lnTo>
                  <a:pt x="3074" y="493"/>
                </a:lnTo>
                <a:lnTo>
                  <a:pt x="3078" y="504"/>
                </a:lnTo>
                <a:lnTo>
                  <a:pt x="3080" y="515"/>
                </a:lnTo>
                <a:lnTo>
                  <a:pt x="3081" y="521"/>
                </a:lnTo>
                <a:lnTo>
                  <a:pt x="3082" y="526"/>
                </a:lnTo>
                <a:lnTo>
                  <a:pt x="3082" y="538"/>
                </a:lnTo>
                <a:lnTo>
                  <a:pt x="3082" y="550"/>
                </a:lnTo>
                <a:lnTo>
                  <a:pt x="3081" y="556"/>
                </a:lnTo>
                <a:lnTo>
                  <a:pt x="3080" y="562"/>
                </a:lnTo>
                <a:lnTo>
                  <a:pt x="3078" y="573"/>
                </a:lnTo>
                <a:lnTo>
                  <a:pt x="3074" y="583"/>
                </a:lnTo>
                <a:lnTo>
                  <a:pt x="3072" y="589"/>
                </a:lnTo>
                <a:lnTo>
                  <a:pt x="3070" y="594"/>
                </a:lnTo>
                <a:lnTo>
                  <a:pt x="3064" y="603"/>
                </a:lnTo>
                <a:lnTo>
                  <a:pt x="3058" y="612"/>
                </a:lnTo>
                <a:lnTo>
                  <a:pt x="3051" y="620"/>
                </a:lnTo>
                <a:lnTo>
                  <a:pt x="3043" y="628"/>
                </a:lnTo>
                <a:lnTo>
                  <a:pt x="3034" y="634"/>
                </a:lnTo>
                <a:lnTo>
                  <a:pt x="3024" y="640"/>
                </a:lnTo>
                <a:lnTo>
                  <a:pt x="3019" y="643"/>
                </a:lnTo>
                <a:lnTo>
                  <a:pt x="3014" y="645"/>
                </a:lnTo>
                <a:lnTo>
                  <a:pt x="3008" y="647"/>
                </a:lnTo>
                <a:lnTo>
                  <a:pt x="3003" y="649"/>
                </a:lnTo>
                <a:lnTo>
                  <a:pt x="2991" y="652"/>
                </a:lnTo>
                <a:lnTo>
                  <a:pt x="2978" y="653"/>
                </a:lnTo>
                <a:lnTo>
                  <a:pt x="2972" y="654"/>
                </a:lnTo>
                <a:lnTo>
                  <a:pt x="2965" y="654"/>
                </a:lnTo>
                <a:lnTo>
                  <a:pt x="2891" y="654"/>
                </a:lnTo>
                <a:close/>
                <a:moveTo>
                  <a:pt x="3061" y="538"/>
                </a:moveTo>
                <a:lnTo>
                  <a:pt x="3061" y="528"/>
                </a:lnTo>
                <a:lnTo>
                  <a:pt x="3060" y="518"/>
                </a:lnTo>
                <a:lnTo>
                  <a:pt x="3058" y="509"/>
                </a:lnTo>
                <a:lnTo>
                  <a:pt x="3055" y="500"/>
                </a:lnTo>
                <a:lnTo>
                  <a:pt x="3052" y="491"/>
                </a:lnTo>
                <a:lnTo>
                  <a:pt x="3047" y="483"/>
                </a:lnTo>
                <a:lnTo>
                  <a:pt x="3042" y="476"/>
                </a:lnTo>
                <a:lnTo>
                  <a:pt x="3036" y="469"/>
                </a:lnTo>
                <a:lnTo>
                  <a:pt x="3030" y="463"/>
                </a:lnTo>
                <a:lnTo>
                  <a:pt x="3023" y="457"/>
                </a:lnTo>
                <a:lnTo>
                  <a:pt x="3015" y="452"/>
                </a:lnTo>
                <a:lnTo>
                  <a:pt x="3011" y="450"/>
                </a:lnTo>
                <a:lnTo>
                  <a:pt x="3006" y="448"/>
                </a:lnTo>
                <a:lnTo>
                  <a:pt x="2997" y="445"/>
                </a:lnTo>
                <a:lnTo>
                  <a:pt x="2987" y="442"/>
                </a:lnTo>
                <a:lnTo>
                  <a:pt x="2976" y="441"/>
                </a:lnTo>
                <a:lnTo>
                  <a:pt x="2965" y="440"/>
                </a:lnTo>
                <a:lnTo>
                  <a:pt x="2911" y="440"/>
                </a:lnTo>
                <a:lnTo>
                  <a:pt x="2911" y="636"/>
                </a:lnTo>
                <a:lnTo>
                  <a:pt x="2965" y="636"/>
                </a:lnTo>
                <a:lnTo>
                  <a:pt x="2976" y="635"/>
                </a:lnTo>
                <a:lnTo>
                  <a:pt x="2982" y="635"/>
                </a:lnTo>
                <a:lnTo>
                  <a:pt x="2987" y="634"/>
                </a:lnTo>
                <a:lnTo>
                  <a:pt x="2997" y="632"/>
                </a:lnTo>
                <a:lnTo>
                  <a:pt x="3006" y="628"/>
                </a:lnTo>
                <a:lnTo>
                  <a:pt x="3015" y="624"/>
                </a:lnTo>
                <a:lnTo>
                  <a:pt x="3023" y="619"/>
                </a:lnTo>
                <a:lnTo>
                  <a:pt x="3030" y="614"/>
                </a:lnTo>
                <a:lnTo>
                  <a:pt x="3036" y="607"/>
                </a:lnTo>
                <a:lnTo>
                  <a:pt x="3042" y="600"/>
                </a:lnTo>
                <a:lnTo>
                  <a:pt x="3047" y="593"/>
                </a:lnTo>
                <a:lnTo>
                  <a:pt x="3051" y="585"/>
                </a:lnTo>
                <a:lnTo>
                  <a:pt x="3055" y="576"/>
                </a:lnTo>
                <a:lnTo>
                  <a:pt x="3058" y="567"/>
                </a:lnTo>
                <a:lnTo>
                  <a:pt x="3060" y="558"/>
                </a:lnTo>
                <a:lnTo>
                  <a:pt x="3061" y="548"/>
                </a:lnTo>
                <a:lnTo>
                  <a:pt x="3061" y="538"/>
                </a:lnTo>
                <a:close/>
                <a:moveTo>
                  <a:pt x="3216" y="621"/>
                </a:moveTo>
                <a:lnTo>
                  <a:pt x="3229" y="606"/>
                </a:lnTo>
                <a:lnTo>
                  <a:pt x="3232" y="610"/>
                </a:lnTo>
                <a:lnTo>
                  <a:pt x="3235" y="613"/>
                </a:lnTo>
                <a:lnTo>
                  <a:pt x="3238" y="616"/>
                </a:lnTo>
                <a:lnTo>
                  <a:pt x="3242" y="619"/>
                </a:lnTo>
                <a:lnTo>
                  <a:pt x="3249" y="624"/>
                </a:lnTo>
                <a:lnTo>
                  <a:pt x="3258" y="630"/>
                </a:lnTo>
                <a:lnTo>
                  <a:pt x="3268" y="634"/>
                </a:lnTo>
                <a:lnTo>
                  <a:pt x="3273" y="636"/>
                </a:lnTo>
                <a:lnTo>
                  <a:pt x="3278" y="637"/>
                </a:lnTo>
                <a:lnTo>
                  <a:pt x="3283" y="638"/>
                </a:lnTo>
                <a:lnTo>
                  <a:pt x="3289" y="639"/>
                </a:lnTo>
                <a:lnTo>
                  <a:pt x="3301" y="640"/>
                </a:lnTo>
                <a:lnTo>
                  <a:pt x="3310" y="640"/>
                </a:lnTo>
                <a:lnTo>
                  <a:pt x="3317" y="639"/>
                </a:lnTo>
                <a:lnTo>
                  <a:pt x="3324" y="637"/>
                </a:lnTo>
                <a:lnTo>
                  <a:pt x="3331" y="636"/>
                </a:lnTo>
                <a:lnTo>
                  <a:pt x="3336" y="633"/>
                </a:lnTo>
                <a:lnTo>
                  <a:pt x="3341" y="631"/>
                </a:lnTo>
                <a:lnTo>
                  <a:pt x="3346" y="628"/>
                </a:lnTo>
                <a:lnTo>
                  <a:pt x="3349" y="624"/>
                </a:lnTo>
                <a:lnTo>
                  <a:pt x="3353" y="621"/>
                </a:lnTo>
                <a:lnTo>
                  <a:pt x="3355" y="617"/>
                </a:lnTo>
                <a:lnTo>
                  <a:pt x="3358" y="613"/>
                </a:lnTo>
                <a:lnTo>
                  <a:pt x="3359" y="609"/>
                </a:lnTo>
                <a:lnTo>
                  <a:pt x="3361" y="602"/>
                </a:lnTo>
                <a:lnTo>
                  <a:pt x="3362" y="594"/>
                </a:lnTo>
                <a:lnTo>
                  <a:pt x="3362" y="588"/>
                </a:lnTo>
                <a:lnTo>
                  <a:pt x="3361" y="582"/>
                </a:lnTo>
                <a:lnTo>
                  <a:pt x="3359" y="577"/>
                </a:lnTo>
                <a:lnTo>
                  <a:pt x="3356" y="573"/>
                </a:lnTo>
                <a:lnTo>
                  <a:pt x="3353" y="569"/>
                </a:lnTo>
                <a:lnTo>
                  <a:pt x="3349" y="565"/>
                </a:lnTo>
                <a:lnTo>
                  <a:pt x="3345" y="562"/>
                </a:lnTo>
                <a:lnTo>
                  <a:pt x="3340" y="559"/>
                </a:lnTo>
                <a:lnTo>
                  <a:pt x="3335" y="556"/>
                </a:lnTo>
                <a:lnTo>
                  <a:pt x="3330" y="554"/>
                </a:lnTo>
                <a:lnTo>
                  <a:pt x="3318" y="549"/>
                </a:lnTo>
                <a:lnTo>
                  <a:pt x="3306" y="545"/>
                </a:lnTo>
                <a:lnTo>
                  <a:pt x="3293" y="542"/>
                </a:lnTo>
                <a:lnTo>
                  <a:pt x="3280" y="538"/>
                </a:lnTo>
                <a:lnTo>
                  <a:pt x="3267" y="534"/>
                </a:lnTo>
                <a:lnTo>
                  <a:pt x="3255" y="529"/>
                </a:lnTo>
                <a:lnTo>
                  <a:pt x="3250" y="526"/>
                </a:lnTo>
                <a:lnTo>
                  <a:pt x="3245" y="523"/>
                </a:lnTo>
                <a:lnTo>
                  <a:pt x="3240" y="519"/>
                </a:lnTo>
                <a:lnTo>
                  <a:pt x="3236" y="515"/>
                </a:lnTo>
                <a:lnTo>
                  <a:pt x="3232" y="510"/>
                </a:lnTo>
                <a:lnTo>
                  <a:pt x="3229" y="506"/>
                </a:lnTo>
                <a:lnTo>
                  <a:pt x="3227" y="500"/>
                </a:lnTo>
                <a:lnTo>
                  <a:pt x="3225" y="494"/>
                </a:lnTo>
                <a:lnTo>
                  <a:pt x="3223" y="487"/>
                </a:lnTo>
                <a:lnTo>
                  <a:pt x="3223" y="480"/>
                </a:lnTo>
                <a:lnTo>
                  <a:pt x="3223" y="473"/>
                </a:lnTo>
                <a:lnTo>
                  <a:pt x="3225" y="467"/>
                </a:lnTo>
                <a:lnTo>
                  <a:pt x="3226" y="460"/>
                </a:lnTo>
                <a:lnTo>
                  <a:pt x="3229" y="455"/>
                </a:lnTo>
                <a:lnTo>
                  <a:pt x="3232" y="449"/>
                </a:lnTo>
                <a:lnTo>
                  <a:pt x="3236" y="444"/>
                </a:lnTo>
                <a:lnTo>
                  <a:pt x="3238" y="442"/>
                </a:lnTo>
                <a:lnTo>
                  <a:pt x="3240" y="439"/>
                </a:lnTo>
                <a:lnTo>
                  <a:pt x="3245" y="435"/>
                </a:lnTo>
                <a:lnTo>
                  <a:pt x="3251" y="431"/>
                </a:lnTo>
                <a:lnTo>
                  <a:pt x="3257" y="428"/>
                </a:lnTo>
                <a:lnTo>
                  <a:pt x="3263" y="425"/>
                </a:lnTo>
                <a:lnTo>
                  <a:pt x="3270" y="423"/>
                </a:lnTo>
                <a:lnTo>
                  <a:pt x="3277" y="421"/>
                </a:lnTo>
                <a:lnTo>
                  <a:pt x="3284" y="419"/>
                </a:lnTo>
                <a:lnTo>
                  <a:pt x="3291" y="419"/>
                </a:lnTo>
                <a:lnTo>
                  <a:pt x="3299" y="418"/>
                </a:lnTo>
                <a:lnTo>
                  <a:pt x="3312" y="419"/>
                </a:lnTo>
                <a:lnTo>
                  <a:pt x="3318" y="420"/>
                </a:lnTo>
                <a:lnTo>
                  <a:pt x="3323" y="421"/>
                </a:lnTo>
                <a:lnTo>
                  <a:pt x="3334" y="423"/>
                </a:lnTo>
                <a:lnTo>
                  <a:pt x="3340" y="425"/>
                </a:lnTo>
                <a:lnTo>
                  <a:pt x="3345" y="427"/>
                </a:lnTo>
                <a:lnTo>
                  <a:pt x="3354" y="432"/>
                </a:lnTo>
                <a:lnTo>
                  <a:pt x="3363" y="437"/>
                </a:lnTo>
                <a:lnTo>
                  <a:pt x="3371" y="444"/>
                </a:lnTo>
                <a:lnTo>
                  <a:pt x="3378" y="451"/>
                </a:lnTo>
                <a:lnTo>
                  <a:pt x="3365" y="466"/>
                </a:lnTo>
                <a:lnTo>
                  <a:pt x="3358" y="459"/>
                </a:lnTo>
                <a:lnTo>
                  <a:pt x="3354" y="455"/>
                </a:lnTo>
                <a:lnTo>
                  <a:pt x="3351" y="453"/>
                </a:lnTo>
                <a:lnTo>
                  <a:pt x="3343" y="447"/>
                </a:lnTo>
                <a:lnTo>
                  <a:pt x="3335" y="443"/>
                </a:lnTo>
                <a:lnTo>
                  <a:pt x="3331" y="442"/>
                </a:lnTo>
                <a:lnTo>
                  <a:pt x="3326" y="440"/>
                </a:lnTo>
                <a:lnTo>
                  <a:pt x="3317" y="438"/>
                </a:lnTo>
                <a:lnTo>
                  <a:pt x="3308" y="437"/>
                </a:lnTo>
                <a:lnTo>
                  <a:pt x="3298" y="436"/>
                </a:lnTo>
                <a:lnTo>
                  <a:pt x="3287" y="437"/>
                </a:lnTo>
                <a:lnTo>
                  <a:pt x="3282" y="438"/>
                </a:lnTo>
                <a:lnTo>
                  <a:pt x="3277" y="440"/>
                </a:lnTo>
                <a:lnTo>
                  <a:pt x="3272" y="441"/>
                </a:lnTo>
                <a:lnTo>
                  <a:pt x="3267" y="443"/>
                </a:lnTo>
                <a:lnTo>
                  <a:pt x="3259" y="448"/>
                </a:lnTo>
                <a:lnTo>
                  <a:pt x="3256" y="451"/>
                </a:lnTo>
                <a:lnTo>
                  <a:pt x="3253" y="455"/>
                </a:lnTo>
                <a:lnTo>
                  <a:pt x="3250" y="458"/>
                </a:lnTo>
                <a:lnTo>
                  <a:pt x="3248" y="462"/>
                </a:lnTo>
                <a:lnTo>
                  <a:pt x="3246" y="466"/>
                </a:lnTo>
                <a:lnTo>
                  <a:pt x="3245" y="470"/>
                </a:lnTo>
                <a:lnTo>
                  <a:pt x="3244" y="475"/>
                </a:lnTo>
                <a:lnTo>
                  <a:pt x="3244" y="479"/>
                </a:lnTo>
                <a:lnTo>
                  <a:pt x="3244" y="484"/>
                </a:lnTo>
                <a:lnTo>
                  <a:pt x="3245" y="489"/>
                </a:lnTo>
                <a:lnTo>
                  <a:pt x="3247" y="494"/>
                </a:lnTo>
                <a:lnTo>
                  <a:pt x="3250" y="498"/>
                </a:lnTo>
                <a:lnTo>
                  <a:pt x="3253" y="501"/>
                </a:lnTo>
                <a:lnTo>
                  <a:pt x="3257" y="504"/>
                </a:lnTo>
                <a:lnTo>
                  <a:pt x="3266" y="510"/>
                </a:lnTo>
                <a:lnTo>
                  <a:pt x="3271" y="512"/>
                </a:lnTo>
                <a:lnTo>
                  <a:pt x="3276" y="514"/>
                </a:lnTo>
                <a:lnTo>
                  <a:pt x="3288" y="518"/>
                </a:lnTo>
                <a:lnTo>
                  <a:pt x="3313" y="526"/>
                </a:lnTo>
                <a:lnTo>
                  <a:pt x="3326" y="530"/>
                </a:lnTo>
                <a:lnTo>
                  <a:pt x="3339" y="534"/>
                </a:lnTo>
                <a:lnTo>
                  <a:pt x="3351" y="540"/>
                </a:lnTo>
                <a:lnTo>
                  <a:pt x="3356" y="543"/>
                </a:lnTo>
                <a:lnTo>
                  <a:pt x="3361" y="547"/>
                </a:lnTo>
                <a:lnTo>
                  <a:pt x="3366" y="551"/>
                </a:lnTo>
                <a:lnTo>
                  <a:pt x="3368" y="553"/>
                </a:lnTo>
                <a:lnTo>
                  <a:pt x="3370" y="555"/>
                </a:lnTo>
                <a:lnTo>
                  <a:pt x="3374" y="560"/>
                </a:lnTo>
                <a:lnTo>
                  <a:pt x="3377" y="565"/>
                </a:lnTo>
                <a:lnTo>
                  <a:pt x="3380" y="571"/>
                </a:lnTo>
                <a:lnTo>
                  <a:pt x="3381" y="578"/>
                </a:lnTo>
                <a:lnTo>
                  <a:pt x="3383" y="585"/>
                </a:lnTo>
                <a:lnTo>
                  <a:pt x="3383" y="592"/>
                </a:lnTo>
                <a:lnTo>
                  <a:pt x="3383" y="598"/>
                </a:lnTo>
                <a:lnTo>
                  <a:pt x="3382" y="604"/>
                </a:lnTo>
                <a:lnTo>
                  <a:pt x="3379" y="615"/>
                </a:lnTo>
                <a:lnTo>
                  <a:pt x="3376" y="621"/>
                </a:lnTo>
                <a:lnTo>
                  <a:pt x="3373" y="626"/>
                </a:lnTo>
                <a:lnTo>
                  <a:pt x="3370" y="632"/>
                </a:lnTo>
                <a:lnTo>
                  <a:pt x="3365" y="636"/>
                </a:lnTo>
                <a:lnTo>
                  <a:pt x="3360" y="641"/>
                </a:lnTo>
                <a:lnTo>
                  <a:pt x="3354" y="645"/>
                </a:lnTo>
                <a:lnTo>
                  <a:pt x="3347" y="649"/>
                </a:lnTo>
                <a:lnTo>
                  <a:pt x="3340" y="652"/>
                </a:lnTo>
                <a:lnTo>
                  <a:pt x="3331" y="655"/>
                </a:lnTo>
                <a:lnTo>
                  <a:pt x="3322" y="657"/>
                </a:lnTo>
                <a:lnTo>
                  <a:pt x="3312" y="658"/>
                </a:lnTo>
                <a:lnTo>
                  <a:pt x="3301" y="658"/>
                </a:lnTo>
                <a:lnTo>
                  <a:pt x="3287" y="657"/>
                </a:lnTo>
                <a:lnTo>
                  <a:pt x="3274" y="655"/>
                </a:lnTo>
                <a:lnTo>
                  <a:pt x="3262" y="652"/>
                </a:lnTo>
                <a:lnTo>
                  <a:pt x="3250" y="648"/>
                </a:lnTo>
                <a:lnTo>
                  <a:pt x="3240" y="642"/>
                </a:lnTo>
                <a:lnTo>
                  <a:pt x="3231" y="636"/>
                </a:lnTo>
                <a:lnTo>
                  <a:pt x="3227" y="633"/>
                </a:lnTo>
                <a:lnTo>
                  <a:pt x="3223" y="629"/>
                </a:lnTo>
                <a:lnTo>
                  <a:pt x="3216" y="621"/>
                </a:lnTo>
                <a:close/>
                <a:moveTo>
                  <a:pt x="3598" y="654"/>
                </a:moveTo>
                <a:lnTo>
                  <a:pt x="3575" y="597"/>
                </a:lnTo>
                <a:lnTo>
                  <a:pt x="3452" y="597"/>
                </a:lnTo>
                <a:lnTo>
                  <a:pt x="3430" y="654"/>
                </a:lnTo>
                <a:lnTo>
                  <a:pt x="3407" y="654"/>
                </a:lnTo>
                <a:lnTo>
                  <a:pt x="3501" y="422"/>
                </a:lnTo>
                <a:lnTo>
                  <a:pt x="3526" y="422"/>
                </a:lnTo>
                <a:lnTo>
                  <a:pt x="3621" y="654"/>
                </a:lnTo>
                <a:lnTo>
                  <a:pt x="3598" y="654"/>
                </a:lnTo>
                <a:close/>
                <a:moveTo>
                  <a:pt x="3514" y="443"/>
                </a:moveTo>
                <a:lnTo>
                  <a:pt x="3459" y="579"/>
                </a:lnTo>
                <a:lnTo>
                  <a:pt x="3569" y="579"/>
                </a:lnTo>
                <a:lnTo>
                  <a:pt x="3514" y="443"/>
                </a:lnTo>
                <a:close/>
                <a:moveTo>
                  <a:pt x="3658" y="654"/>
                </a:moveTo>
                <a:lnTo>
                  <a:pt x="3658" y="422"/>
                </a:lnTo>
                <a:lnTo>
                  <a:pt x="3805" y="422"/>
                </a:lnTo>
                <a:lnTo>
                  <a:pt x="3805" y="440"/>
                </a:lnTo>
                <a:lnTo>
                  <a:pt x="3678" y="440"/>
                </a:lnTo>
                <a:lnTo>
                  <a:pt x="3678" y="526"/>
                </a:lnTo>
                <a:lnTo>
                  <a:pt x="3802" y="526"/>
                </a:lnTo>
                <a:lnTo>
                  <a:pt x="3802" y="544"/>
                </a:lnTo>
                <a:lnTo>
                  <a:pt x="3678" y="544"/>
                </a:lnTo>
                <a:lnTo>
                  <a:pt x="3678" y="654"/>
                </a:lnTo>
                <a:lnTo>
                  <a:pt x="3658" y="654"/>
                </a:lnTo>
                <a:close/>
                <a:moveTo>
                  <a:pt x="3845" y="654"/>
                </a:moveTo>
                <a:lnTo>
                  <a:pt x="3845" y="422"/>
                </a:lnTo>
                <a:lnTo>
                  <a:pt x="3992" y="422"/>
                </a:lnTo>
                <a:lnTo>
                  <a:pt x="3992" y="440"/>
                </a:lnTo>
                <a:lnTo>
                  <a:pt x="3865" y="440"/>
                </a:lnTo>
                <a:lnTo>
                  <a:pt x="3865" y="526"/>
                </a:lnTo>
                <a:lnTo>
                  <a:pt x="3990" y="526"/>
                </a:lnTo>
                <a:lnTo>
                  <a:pt x="3990" y="544"/>
                </a:lnTo>
                <a:lnTo>
                  <a:pt x="3865" y="544"/>
                </a:lnTo>
                <a:lnTo>
                  <a:pt x="3865" y="636"/>
                </a:lnTo>
                <a:lnTo>
                  <a:pt x="3992" y="636"/>
                </a:lnTo>
                <a:lnTo>
                  <a:pt x="3992" y="654"/>
                </a:lnTo>
                <a:lnTo>
                  <a:pt x="3845" y="654"/>
                </a:lnTo>
                <a:close/>
                <a:moveTo>
                  <a:pt x="4177" y="654"/>
                </a:moveTo>
                <a:lnTo>
                  <a:pt x="4112" y="558"/>
                </a:lnTo>
                <a:lnTo>
                  <a:pt x="4061" y="558"/>
                </a:lnTo>
                <a:lnTo>
                  <a:pt x="4061" y="654"/>
                </a:lnTo>
                <a:lnTo>
                  <a:pt x="4041" y="654"/>
                </a:lnTo>
                <a:lnTo>
                  <a:pt x="4041" y="422"/>
                </a:lnTo>
                <a:lnTo>
                  <a:pt x="4127" y="422"/>
                </a:lnTo>
                <a:lnTo>
                  <a:pt x="4135" y="422"/>
                </a:lnTo>
                <a:lnTo>
                  <a:pt x="4142" y="423"/>
                </a:lnTo>
                <a:lnTo>
                  <a:pt x="4149" y="425"/>
                </a:lnTo>
                <a:lnTo>
                  <a:pt x="4155" y="427"/>
                </a:lnTo>
                <a:lnTo>
                  <a:pt x="4161" y="429"/>
                </a:lnTo>
                <a:lnTo>
                  <a:pt x="4167" y="432"/>
                </a:lnTo>
                <a:lnTo>
                  <a:pt x="4173" y="436"/>
                </a:lnTo>
                <a:lnTo>
                  <a:pt x="4178" y="440"/>
                </a:lnTo>
                <a:lnTo>
                  <a:pt x="4182" y="445"/>
                </a:lnTo>
                <a:lnTo>
                  <a:pt x="4186" y="450"/>
                </a:lnTo>
                <a:lnTo>
                  <a:pt x="4190" y="455"/>
                </a:lnTo>
                <a:lnTo>
                  <a:pt x="4193" y="461"/>
                </a:lnTo>
                <a:lnTo>
                  <a:pt x="4195" y="468"/>
                </a:lnTo>
                <a:lnTo>
                  <a:pt x="4197" y="475"/>
                </a:lnTo>
                <a:lnTo>
                  <a:pt x="4198" y="482"/>
                </a:lnTo>
                <a:lnTo>
                  <a:pt x="4198" y="490"/>
                </a:lnTo>
                <a:lnTo>
                  <a:pt x="4198" y="498"/>
                </a:lnTo>
                <a:lnTo>
                  <a:pt x="4197" y="505"/>
                </a:lnTo>
                <a:lnTo>
                  <a:pt x="4195" y="512"/>
                </a:lnTo>
                <a:lnTo>
                  <a:pt x="4193" y="518"/>
                </a:lnTo>
                <a:lnTo>
                  <a:pt x="4190" y="524"/>
                </a:lnTo>
                <a:lnTo>
                  <a:pt x="4187" y="529"/>
                </a:lnTo>
                <a:lnTo>
                  <a:pt x="4183" y="534"/>
                </a:lnTo>
                <a:lnTo>
                  <a:pt x="4179" y="539"/>
                </a:lnTo>
                <a:lnTo>
                  <a:pt x="4174" y="543"/>
                </a:lnTo>
                <a:lnTo>
                  <a:pt x="4169" y="546"/>
                </a:lnTo>
                <a:lnTo>
                  <a:pt x="4164" y="549"/>
                </a:lnTo>
                <a:lnTo>
                  <a:pt x="4158" y="552"/>
                </a:lnTo>
                <a:lnTo>
                  <a:pt x="4152" y="554"/>
                </a:lnTo>
                <a:lnTo>
                  <a:pt x="4146" y="555"/>
                </a:lnTo>
                <a:lnTo>
                  <a:pt x="4134" y="557"/>
                </a:lnTo>
                <a:lnTo>
                  <a:pt x="4201" y="654"/>
                </a:lnTo>
                <a:lnTo>
                  <a:pt x="4177" y="654"/>
                </a:lnTo>
                <a:close/>
                <a:moveTo>
                  <a:pt x="4177" y="490"/>
                </a:moveTo>
                <a:lnTo>
                  <a:pt x="4177" y="485"/>
                </a:lnTo>
                <a:lnTo>
                  <a:pt x="4176" y="479"/>
                </a:lnTo>
                <a:lnTo>
                  <a:pt x="4175" y="474"/>
                </a:lnTo>
                <a:lnTo>
                  <a:pt x="4173" y="470"/>
                </a:lnTo>
                <a:lnTo>
                  <a:pt x="4171" y="465"/>
                </a:lnTo>
                <a:lnTo>
                  <a:pt x="4169" y="461"/>
                </a:lnTo>
                <a:lnTo>
                  <a:pt x="4166" y="458"/>
                </a:lnTo>
                <a:lnTo>
                  <a:pt x="4163" y="454"/>
                </a:lnTo>
                <a:lnTo>
                  <a:pt x="4159" y="451"/>
                </a:lnTo>
                <a:lnTo>
                  <a:pt x="4155" y="448"/>
                </a:lnTo>
                <a:lnTo>
                  <a:pt x="4151" y="446"/>
                </a:lnTo>
                <a:lnTo>
                  <a:pt x="4147" y="444"/>
                </a:lnTo>
                <a:lnTo>
                  <a:pt x="4142" y="442"/>
                </a:lnTo>
                <a:lnTo>
                  <a:pt x="4137" y="441"/>
                </a:lnTo>
                <a:lnTo>
                  <a:pt x="4131" y="440"/>
                </a:lnTo>
                <a:lnTo>
                  <a:pt x="4126" y="440"/>
                </a:lnTo>
                <a:lnTo>
                  <a:pt x="4061" y="440"/>
                </a:lnTo>
                <a:lnTo>
                  <a:pt x="4061" y="540"/>
                </a:lnTo>
                <a:lnTo>
                  <a:pt x="4126" y="540"/>
                </a:lnTo>
                <a:lnTo>
                  <a:pt x="4131" y="540"/>
                </a:lnTo>
                <a:lnTo>
                  <a:pt x="4137" y="539"/>
                </a:lnTo>
                <a:lnTo>
                  <a:pt x="4142" y="538"/>
                </a:lnTo>
                <a:lnTo>
                  <a:pt x="4147" y="536"/>
                </a:lnTo>
                <a:lnTo>
                  <a:pt x="4151" y="534"/>
                </a:lnTo>
                <a:lnTo>
                  <a:pt x="4155" y="532"/>
                </a:lnTo>
                <a:lnTo>
                  <a:pt x="4159" y="529"/>
                </a:lnTo>
                <a:lnTo>
                  <a:pt x="4163" y="526"/>
                </a:lnTo>
                <a:lnTo>
                  <a:pt x="4166" y="522"/>
                </a:lnTo>
                <a:lnTo>
                  <a:pt x="4169" y="519"/>
                </a:lnTo>
                <a:lnTo>
                  <a:pt x="4171" y="514"/>
                </a:lnTo>
                <a:lnTo>
                  <a:pt x="4173" y="510"/>
                </a:lnTo>
                <a:lnTo>
                  <a:pt x="4174" y="508"/>
                </a:lnTo>
                <a:lnTo>
                  <a:pt x="4175" y="505"/>
                </a:lnTo>
                <a:lnTo>
                  <a:pt x="4176" y="500"/>
                </a:lnTo>
                <a:lnTo>
                  <a:pt x="4177" y="495"/>
                </a:lnTo>
                <a:lnTo>
                  <a:pt x="4177" y="4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0" name="Graphic 9">
            <a:extLst>
              <a:ext uri="{FF2B5EF4-FFF2-40B4-BE49-F238E27FC236}">
                <a16:creationId xmlns:a16="http://schemas.microsoft.com/office/drawing/2014/main" id="{6313EB92-14F6-4196-9802-9BBDA403BD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152377251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I Slogan Sky">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F988E5CF-F969-42E2-AF1A-08F7E70AD1D5}"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0" name="Freeform 5">
            <a:extLst>
              <a:ext uri="{FF2B5EF4-FFF2-40B4-BE49-F238E27FC236}">
                <a16:creationId xmlns:a16="http://schemas.microsoft.com/office/drawing/2014/main" id="{A978D8AA-56BB-4279-8116-7E93D5773B09}"/>
              </a:ext>
            </a:extLst>
          </p:cNvPr>
          <p:cNvSpPr>
            <a:spLocks noChangeAspect="1" noEditPoints="1"/>
          </p:cNvSpPr>
          <p:nvPr userDrawn="1"/>
        </p:nvSpPr>
        <p:spPr bwMode="auto">
          <a:xfrm>
            <a:off x="2063552" y="2204864"/>
            <a:ext cx="8064896" cy="1735371"/>
          </a:xfrm>
          <a:custGeom>
            <a:avLst/>
            <a:gdLst>
              <a:gd name="T0" fmla="*/ 813 w 7222"/>
              <a:gd name="T1" fmla="*/ 1485 h 1554"/>
              <a:gd name="T2" fmla="*/ 967 w 7222"/>
              <a:gd name="T3" fmla="*/ 1450 h 1554"/>
              <a:gd name="T4" fmla="*/ 1356 w 7222"/>
              <a:gd name="T5" fmla="*/ 1548 h 1554"/>
              <a:gd name="T6" fmla="*/ 2030 w 7222"/>
              <a:gd name="T7" fmla="*/ 1548 h 1554"/>
              <a:gd name="T8" fmla="*/ 1970 w 7222"/>
              <a:gd name="T9" fmla="*/ 1439 h 1554"/>
              <a:gd name="T10" fmla="*/ 2145 w 7222"/>
              <a:gd name="T11" fmla="*/ 1507 h 1554"/>
              <a:gd name="T12" fmla="*/ 2165 w 7222"/>
              <a:gd name="T13" fmla="*/ 1532 h 1554"/>
              <a:gd name="T14" fmla="*/ 2524 w 7222"/>
              <a:gd name="T15" fmla="*/ 1196 h 1554"/>
              <a:gd name="T16" fmla="*/ 2527 w 7222"/>
              <a:gd name="T17" fmla="*/ 1376 h 1554"/>
              <a:gd name="T18" fmla="*/ 2540 w 7222"/>
              <a:gd name="T19" fmla="*/ 1287 h 1554"/>
              <a:gd name="T20" fmla="*/ 2790 w 7222"/>
              <a:gd name="T21" fmla="*/ 1512 h 1554"/>
              <a:gd name="T22" fmla="*/ 3631 w 7222"/>
              <a:gd name="T23" fmla="*/ 1180 h 1554"/>
              <a:gd name="T24" fmla="*/ 4030 w 7222"/>
              <a:gd name="T25" fmla="*/ 1496 h 1554"/>
              <a:gd name="T26" fmla="*/ 4249 w 7222"/>
              <a:gd name="T27" fmla="*/ 1493 h 1554"/>
              <a:gd name="T28" fmla="*/ 4090 w 7222"/>
              <a:gd name="T29" fmla="*/ 1347 h 1554"/>
              <a:gd name="T30" fmla="*/ 4116 w 7222"/>
              <a:gd name="T31" fmla="*/ 1181 h 1554"/>
              <a:gd name="T32" fmla="*/ 4232 w 7222"/>
              <a:gd name="T33" fmla="*/ 1220 h 1554"/>
              <a:gd name="T34" fmla="*/ 4076 w 7222"/>
              <a:gd name="T35" fmla="*/ 1277 h 1554"/>
              <a:gd name="T36" fmla="*/ 4282 w 7222"/>
              <a:gd name="T37" fmla="*/ 1400 h 1554"/>
              <a:gd name="T38" fmla="*/ 4177 w 7222"/>
              <a:gd name="T39" fmla="*/ 1554 h 1554"/>
              <a:gd name="T40" fmla="*/ 5001 w 7222"/>
              <a:gd name="T41" fmla="*/ 1180 h 1554"/>
              <a:gd name="T42" fmla="*/ 5817 w 7222"/>
              <a:gd name="T43" fmla="*/ 1428 h 1554"/>
              <a:gd name="T44" fmla="*/ 6354 w 7222"/>
              <a:gd name="T45" fmla="*/ 1519 h 1554"/>
              <a:gd name="T46" fmla="*/ 6377 w 7222"/>
              <a:gd name="T47" fmla="*/ 1552 h 1554"/>
              <a:gd name="T48" fmla="*/ 492 w 7222"/>
              <a:gd name="T49" fmla="*/ 877 h 1554"/>
              <a:gd name="T50" fmla="*/ 1518 w 7222"/>
              <a:gd name="T51" fmla="*/ 996 h 1554"/>
              <a:gd name="T52" fmla="*/ 2086 w 7222"/>
              <a:gd name="T53" fmla="*/ 877 h 1554"/>
              <a:gd name="T54" fmla="*/ 2460 w 7222"/>
              <a:gd name="T55" fmla="*/ 964 h 1554"/>
              <a:gd name="T56" fmla="*/ 2608 w 7222"/>
              <a:gd name="T57" fmla="*/ 886 h 1554"/>
              <a:gd name="T58" fmla="*/ 2393 w 7222"/>
              <a:gd name="T59" fmla="*/ 746 h 1554"/>
              <a:gd name="T60" fmla="*/ 2549 w 7222"/>
              <a:gd name="T61" fmla="*/ 626 h 1554"/>
              <a:gd name="T62" fmla="*/ 2524 w 7222"/>
              <a:gd name="T63" fmla="*/ 651 h 1554"/>
              <a:gd name="T64" fmla="*/ 2457 w 7222"/>
              <a:gd name="T65" fmla="*/ 767 h 1554"/>
              <a:gd name="T66" fmla="*/ 2643 w 7222"/>
              <a:gd name="T67" fmla="*/ 911 h 1554"/>
              <a:gd name="T68" fmla="*/ 2973 w 7222"/>
              <a:gd name="T69" fmla="*/ 657 h 1554"/>
              <a:gd name="T70" fmla="*/ 3738 w 7222"/>
              <a:gd name="T71" fmla="*/ 647 h 1554"/>
              <a:gd name="T72" fmla="*/ 3719 w 7222"/>
              <a:gd name="T73" fmla="*/ 835 h 1554"/>
              <a:gd name="T74" fmla="*/ 3749 w 7222"/>
              <a:gd name="T75" fmla="*/ 727 h 1554"/>
              <a:gd name="T76" fmla="*/ 3947 w 7222"/>
              <a:gd name="T77" fmla="*/ 995 h 1554"/>
              <a:gd name="T78" fmla="*/ 3895 w 7222"/>
              <a:gd name="T79" fmla="*/ 893 h 1554"/>
              <a:gd name="T80" fmla="*/ 4074 w 7222"/>
              <a:gd name="T81" fmla="*/ 953 h 1554"/>
              <a:gd name="T82" fmla="*/ 4084 w 7222"/>
              <a:gd name="T83" fmla="*/ 983 h 1554"/>
              <a:gd name="T84" fmla="*/ 4621 w 7222"/>
              <a:gd name="T85" fmla="*/ 657 h 1554"/>
              <a:gd name="T86" fmla="*/ 5453 w 7222"/>
              <a:gd name="T87" fmla="*/ 628 h 1554"/>
              <a:gd name="T88" fmla="*/ 6146 w 7222"/>
              <a:gd name="T89" fmla="*/ 996 h 1554"/>
              <a:gd name="T90" fmla="*/ 6928 w 7222"/>
              <a:gd name="T91" fmla="*/ 628 h 1554"/>
              <a:gd name="T92" fmla="*/ 936 w 7222"/>
              <a:gd name="T93" fmla="*/ 438 h 1554"/>
              <a:gd name="T94" fmla="*/ 1034 w 7222"/>
              <a:gd name="T95" fmla="*/ 421 h 1554"/>
              <a:gd name="T96" fmla="*/ 1064 w 7222"/>
              <a:gd name="T97" fmla="*/ 290 h 1554"/>
              <a:gd name="T98" fmla="*/ 899 w 7222"/>
              <a:gd name="T99" fmla="*/ 119 h 1554"/>
              <a:gd name="T100" fmla="*/ 1118 w 7222"/>
              <a:gd name="T101" fmla="*/ 111 h 1554"/>
              <a:gd name="T102" fmla="*/ 942 w 7222"/>
              <a:gd name="T103" fmla="*/ 118 h 1554"/>
              <a:gd name="T104" fmla="*/ 1076 w 7222"/>
              <a:gd name="T105" fmla="*/ 258 h 1554"/>
              <a:gd name="T106" fmla="*/ 1099 w 7222"/>
              <a:gd name="T107" fmla="*/ 426 h 1554"/>
              <a:gd name="T108" fmla="*/ 1491 w 7222"/>
              <a:gd name="T109" fmla="*/ 110 h 1554"/>
              <a:gd name="T110" fmla="*/ 2310 w 7222"/>
              <a:gd name="T111" fmla="*/ 77 h 1554"/>
              <a:gd name="T112" fmla="*/ 2895 w 7222"/>
              <a:gd name="T113" fmla="*/ 110 h 1554"/>
              <a:gd name="T114" fmla="*/ 3623 w 7222"/>
              <a:gd name="T115" fmla="*/ 77 h 1554"/>
              <a:gd name="T116" fmla="*/ 4625 w 7222"/>
              <a:gd name="T117" fmla="*/ 444 h 1554"/>
              <a:gd name="T118" fmla="*/ 5408 w 7222"/>
              <a:gd name="T119" fmla="*/ 444 h 1554"/>
              <a:gd name="T120" fmla="*/ 6341 w 7222"/>
              <a:gd name="T121" fmla="*/ 35 h 1554"/>
              <a:gd name="T122" fmla="*/ 6345 w 7222"/>
              <a:gd name="T123" fmla="*/ 13 h 1554"/>
              <a:gd name="T124" fmla="*/ 6210 w 7222"/>
              <a:gd name="T125" fmla="*/ 0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2" h="1554">
                <a:moveTo>
                  <a:pt x="6593" y="444"/>
                </a:moveTo>
                <a:lnTo>
                  <a:pt x="6561" y="444"/>
                </a:lnTo>
                <a:lnTo>
                  <a:pt x="6561" y="105"/>
                </a:lnTo>
                <a:lnTo>
                  <a:pt x="6441" y="105"/>
                </a:lnTo>
                <a:lnTo>
                  <a:pt x="6441" y="77"/>
                </a:lnTo>
                <a:lnTo>
                  <a:pt x="6713" y="77"/>
                </a:lnTo>
                <a:lnTo>
                  <a:pt x="6713" y="105"/>
                </a:lnTo>
                <a:lnTo>
                  <a:pt x="6593" y="105"/>
                </a:lnTo>
                <a:lnTo>
                  <a:pt x="6593" y="444"/>
                </a:lnTo>
                <a:close/>
                <a:moveTo>
                  <a:pt x="888" y="1554"/>
                </a:moveTo>
                <a:lnTo>
                  <a:pt x="873" y="1553"/>
                </a:lnTo>
                <a:lnTo>
                  <a:pt x="867" y="1553"/>
                </a:lnTo>
                <a:lnTo>
                  <a:pt x="860" y="1551"/>
                </a:lnTo>
                <a:lnTo>
                  <a:pt x="853" y="1550"/>
                </a:lnTo>
                <a:lnTo>
                  <a:pt x="847" y="1548"/>
                </a:lnTo>
                <a:lnTo>
                  <a:pt x="841" y="1546"/>
                </a:lnTo>
                <a:lnTo>
                  <a:pt x="835" y="1543"/>
                </a:lnTo>
                <a:lnTo>
                  <a:pt x="829" y="1540"/>
                </a:lnTo>
                <a:lnTo>
                  <a:pt x="824" y="1537"/>
                </a:lnTo>
                <a:lnTo>
                  <a:pt x="818" y="1533"/>
                </a:lnTo>
                <a:lnTo>
                  <a:pt x="813" y="1529"/>
                </a:lnTo>
                <a:lnTo>
                  <a:pt x="808" y="1525"/>
                </a:lnTo>
                <a:lnTo>
                  <a:pt x="803" y="1520"/>
                </a:lnTo>
                <a:lnTo>
                  <a:pt x="798" y="1515"/>
                </a:lnTo>
                <a:lnTo>
                  <a:pt x="794" y="1509"/>
                </a:lnTo>
                <a:lnTo>
                  <a:pt x="813" y="1485"/>
                </a:lnTo>
                <a:lnTo>
                  <a:pt x="819" y="1493"/>
                </a:lnTo>
                <a:lnTo>
                  <a:pt x="827" y="1500"/>
                </a:lnTo>
                <a:lnTo>
                  <a:pt x="834" y="1507"/>
                </a:lnTo>
                <a:lnTo>
                  <a:pt x="843" y="1513"/>
                </a:lnTo>
                <a:lnTo>
                  <a:pt x="848" y="1516"/>
                </a:lnTo>
                <a:lnTo>
                  <a:pt x="852" y="1519"/>
                </a:lnTo>
                <a:lnTo>
                  <a:pt x="857" y="1521"/>
                </a:lnTo>
                <a:lnTo>
                  <a:pt x="863" y="1522"/>
                </a:lnTo>
                <a:lnTo>
                  <a:pt x="868" y="1524"/>
                </a:lnTo>
                <a:lnTo>
                  <a:pt x="874" y="1525"/>
                </a:lnTo>
                <a:lnTo>
                  <a:pt x="886" y="1526"/>
                </a:lnTo>
                <a:lnTo>
                  <a:pt x="896" y="1525"/>
                </a:lnTo>
                <a:lnTo>
                  <a:pt x="904" y="1524"/>
                </a:lnTo>
                <a:lnTo>
                  <a:pt x="912" y="1522"/>
                </a:lnTo>
                <a:lnTo>
                  <a:pt x="920" y="1519"/>
                </a:lnTo>
                <a:lnTo>
                  <a:pt x="927" y="1516"/>
                </a:lnTo>
                <a:lnTo>
                  <a:pt x="934" y="1512"/>
                </a:lnTo>
                <a:lnTo>
                  <a:pt x="940" y="1507"/>
                </a:lnTo>
                <a:lnTo>
                  <a:pt x="946" y="1502"/>
                </a:lnTo>
                <a:lnTo>
                  <a:pt x="951" y="1496"/>
                </a:lnTo>
                <a:lnTo>
                  <a:pt x="955" y="1490"/>
                </a:lnTo>
                <a:lnTo>
                  <a:pt x="959" y="1483"/>
                </a:lnTo>
                <a:lnTo>
                  <a:pt x="962" y="1475"/>
                </a:lnTo>
                <a:lnTo>
                  <a:pt x="965" y="1467"/>
                </a:lnTo>
                <a:lnTo>
                  <a:pt x="966" y="1459"/>
                </a:lnTo>
                <a:lnTo>
                  <a:pt x="967" y="1450"/>
                </a:lnTo>
                <a:lnTo>
                  <a:pt x="968" y="1441"/>
                </a:lnTo>
                <a:lnTo>
                  <a:pt x="968" y="1180"/>
                </a:lnTo>
                <a:lnTo>
                  <a:pt x="999" y="1180"/>
                </a:lnTo>
                <a:lnTo>
                  <a:pt x="999" y="1441"/>
                </a:lnTo>
                <a:lnTo>
                  <a:pt x="999" y="1448"/>
                </a:lnTo>
                <a:lnTo>
                  <a:pt x="998" y="1455"/>
                </a:lnTo>
                <a:lnTo>
                  <a:pt x="997" y="1468"/>
                </a:lnTo>
                <a:lnTo>
                  <a:pt x="996" y="1474"/>
                </a:lnTo>
                <a:lnTo>
                  <a:pt x="994" y="1480"/>
                </a:lnTo>
                <a:lnTo>
                  <a:pt x="990" y="1491"/>
                </a:lnTo>
                <a:lnTo>
                  <a:pt x="986" y="1501"/>
                </a:lnTo>
                <a:lnTo>
                  <a:pt x="980" y="1511"/>
                </a:lnTo>
                <a:lnTo>
                  <a:pt x="977" y="1515"/>
                </a:lnTo>
                <a:lnTo>
                  <a:pt x="974" y="1519"/>
                </a:lnTo>
                <a:lnTo>
                  <a:pt x="970" y="1523"/>
                </a:lnTo>
                <a:lnTo>
                  <a:pt x="967" y="1526"/>
                </a:lnTo>
                <a:lnTo>
                  <a:pt x="958" y="1533"/>
                </a:lnTo>
                <a:lnTo>
                  <a:pt x="950" y="1539"/>
                </a:lnTo>
                <a:lnTo>
                  <a:pt x="941" y="1543"/>
                </a:lnTo>
                <a:lnTo>
                  <a:pt x="931" y="1547"/>
                </a:lnTo>
                <a:lnTo>
                  <a:pt x="921" y="1550"/>
                </a:lnTo>
                <a:lnTo>
                  <a:pt x="911" y="1552"/>
                </a:lnTo>
                <a:lnTo>
                  <a:pt x="899" y="1554"/>
                </a:lnTo>
                <a:lnTo>
                  <a:pt x="888" y="1554"/>
                </a:lnTo>
                <a:close/>
                <a:moveTo>
                  <a:pt x="1392" y="1548"/>
                </a:moveTo>
                <a:lnTo>
                  <a:pt x="1356" y="1548"/>
                </a:lnTo>
                <a:lnTo>
                  <a:pt x="1320" y="1457"/>
                </a:lnTo>
                <a:lnTo>
                  <a:pt x="1125" y="1457"/>
                </a:lnTo>
                <a:lnTo>
                  <a:pt x="1089" y="1548"/>
                </a:lnTo>
                <a:lnTo>
                  <a:pt x="1052" y="1548"/>
                </a:lnTo>
                <a:lnTo>
                  <a:pt x="1203" y="1180"/>
                </a:lnTo>
                <a:lnTo>
                  <a:pt x="1242" y="1180"/>
                </a:lnTo>
                <a:lnTo>
                  <a:pt x="1392" y="1548"/>
                </a:lnTo>
                <a:close/>
                <a:moveTo>
                  <a:pt x="1309" y="1428"/>
                </a:moveTo>
                <a:lnTo>
                  <a:pt x="1223" y="1213"/>
                </a:lnTo>
                <a:lnTo>
                  <a:pt x="1135" y="1428"/>
                </a:lnTo>
                <a:lnTo>
                  <a:pt x="1309" y="1428"/>
                </a:lnTo>
                <a:close/>
                <a:moveTo>
                  <a:pt x="1737" y="1548"/>
                </a:moveTo>
                <a:lnTo>
                  <a:pt x="1705" y="1548"/>
                </a:lnTo>
                <a:lnTo>
                  <a:pt x="1705" y="1208"/>
                </a:lnTo>
                <a:lnTo>
                  <a:pt x="1585" y="1208"/>
                </a:lnTo>
                <a:lnTo>
                  <a:pt x="1585" y="1180"/>
                </a:lnTo>
                <a:lnTo>
                  <a:pt x="1858" y="1180"/>
                </a:lnTo>
                <a:lnTo>
                  <a:pt x="1858" y="1208"/>
                </a:lnTo>
                <a:lnTo>
                  <a:pt x="1737" y="1208"/>
                </a:lnTo>
                <a:lnTo>
                  <a:pt x="1737" y="1548"/>
                </a:lnTo>
                <a:close/>
                <a:moveTo>
                  <a:pt x="2078" y="1554"/>
                </a:moveTo>
                <a:lnTo>
                  <a:pt x="2069" y="1554"/>
                </a:lnTo>
                <a:lnTo>
                  <a:pt x="2061" y="1553"/>
                </a:lnTo>
                <a:lnTo>
                  <a:pt x="2045" y="1551"/>
                </a:lnTo>
                <a:lnTo>
                  <a:pt x="2037" y="1550"/>
                </a:lnTo>
                <a:lnTo>
                  <a:pt x="2030" y="1548"/>
                </a:lnTo>
                <a:lnTo>
                  <a:pt x="2023" y="1546"/>
                </a:lnTo>
                <a:lnTo>
                  <a:pt x="2016" y="1544"/>
                </a:lnTo>
                <a:lnTo>
                  <a:pt x="2003" y="1538"/>
                </a:lnTo>
                <a:lnTo>
                  <a:pt x="1997" y="1535"/>
                </a:lnTo>
                <a:lnTo>
                  <a:pt x="1991" y="1531"/>
                </a:lnTo>
                <a:lnTo>
                  <a:pt x="1981" y="1523"/>
                </a:lnTo>
                <a:lnTo>
                  <a:pt x="1976" y="1519"/>
                </a:lnTo>
                <a:lnTo>
                  <a:pt x="1971" y="1514"/>
                </a:lnTo>
                <a:lnTo>
                  <a:pt x="1963" y="1504"/>
                </a:lnTo>
                <a:lnTo>
                  <a:pt x="1959" y="1498"/>
                </a:lnTo>
                <a:lnTo>
                  <a:pt x="1955" y="1493"/>
                </a:lnTo>
                <a:lnTo>
                  <a:pt x="1949" y="1481"/>
                </a:lnTo>
                <a:lnTo>
                  <a:pt x="1946" y="1474"/>
                </a:lnTo>
                <a:lnTo>
                  <a:pt x="1944" y="1468"/>
                </a:lnTo>
                <a:lnTo>
                  <a:pt x="1940" y="1454"/>
                </a:lnTo>
                <a:lnTo>
                  <a:pt x="1938" y="1446"/>
                </a:lnTo>
                <a:lnTo>
                  <a:pt x="1937" y="1439"/>
                </a:lnTo>
                <a:lnTo>
                  <a:pt x="1935" y="1423"/>
                </a:lnTo>
                <a:lnTo>
                  <a:pt x="1935" y="1415"/>
                </a:lnTo>
                <a:lnTo>
                  <a:pt x="1935" y="1406"/>
                </a:lnTo>
                <a:lnTo>
                  <a:pt x="1935" y="1180"/>
                </a:lnTo>
                <a:lnTo>
                  <a:pt x="1967" y="1180"/>
                </a:lnTo>
                <a:lnTo>
                  <a:pt x="1967" y="1406"/>
                </a:lnTo>
                <a:lnTo>
                  <a:pt x="1967" y="1420"/>
                </a:lnTo>
                <a:lnTo>
                  <a:pt x="1969" y="1432"/>
                </a:lnTo>
                <a:lnTo>
                  <a:pt x="1970" y="1439"/>
                </a:lnTo>
                <a:lnTo>
                  <a:pt x="1971" y="1445"/>
                </a:lnTo>
                <a:lnTo>
                  <a:pt x="1974" y="1456"/>
                </a:lnTo>
                <a:lnTo>
                  <a:pt x="1978" y="1467"/>
                </a:lnTo>
                <a:lnTo>
                  <a:pt x="1980" y="1472"/>
                </a:lnTo>
                <a:lnTo>
                  <a:pt x="1983" y="1476"/>
                </a:lnTo>
                <a:lnTo>
                  <a:pt x="1989" y="1485"/>
                </a:lnTo>
                <a:lnTo>
                  <a:pt x="1992" y="1490"/>
                </a:lnTo>
                <a:lnTo>
                  <a:pt x="1995" y="1494"/>
                </a:lnTo>
                <a:lnTo>
                  <a:pt x="1999" y="1497"/>
                </a:lnTo>
                <a:lnTo>
                  <a:pt x="2003" y="1501"/>
                </a:lnTo>
                <a:lnTo>
                  <a:pt x="2011" y="1507"/>
                </a:lnTo>
                <a:lnTo>
                  <a:pt x="2020" y="1513"/>
                </a:lnTo>
                <a:lnTo>
                  <a:pt x="2025" y="1515"/>
                </a:lnTo>
                <a:lnTo>
                  <a:pt x="2030" y="1517"/>
                </a:lnTo>
                <a:lnTo>
                  <a:pt x="2041" y="1521"/>
                </a:lnTo>
                <a:lnTo>
                  <a:pt x="2053" y="1523"/>
                </a:lnTo>
                <a:lnTo>
                  <a:pt x="2059" y="1524"/>
                </a:lnTo>
                <a:lnTo>
                  <a:pt x="2065" y="1525"/>
                </a:lnTo>
                <a:lnTo>
                  <a:pt x="2078" y="1526"/>
                </a:lnTo>
                <a:lnTo>
                  <a:pt x="2091" y="1525"/>
                </a:lnTo>
                <a:lnTo>
                  <a:pt x="2104" y="1523"/>
                </a:lnTo>
                <a:lnTo>
                  <a:pt x="2115" y="1521"/>
                </a:lnTo>
                <a:lnTo>
                  <a:pt x="2126" y="1517"/>
                </a:lnTo>
                <a:lnTo>
                  <a:pt x="2131" y="1515"/>
                </a:lnTo>
                <a:lnTo>
                  <a:pt x="2136" y="1513"/>
                </a:lnTo>
                <a:lnTo>
                  <a:pt x="2145" y="1507"/>
                </a:lnTo>
                <a:lnTo>
                  <a:pt x="2149" y="1504"/>
                </a:lnTo>
                <a:lnTo>
                  <a:pt x="2154" y="1501"/>
                </a:lnTo>
                <a:lnTo>
                  <a:pt x="2157" y="1497"/>
                </a:lnTo>
                <a:lnTo>
                  <a:pt x="2161" y="1494"/>
                </a:lnTo>
                <a:lnTo>
                  <a:pt x="2168" y="1485"/>
                </a:lnTo>
                <a:lnTo>
                  <a:pt x="2173" y="1476"/>
                </a:lnTo>
                <a:lnTo>
                  <a:pt x="2178" y="1467"/>
                </a:lnTo>
                <a:lnTo>
                  <a:pt x="2182" y="1456"/>
                </a:lnTo>
                <a:lnTo>
                  <a:pt x="2186" y="1445"/>
                </a:lnTo>
                <a:lnTo>
                  <a:pt x="2187" y="1439"/>
                </a:lnTo>
                <a:lnTo>
                  <a:pt x="2188" y="1432"/>
                </a:lnTo>
                <a:lnTo>
                  <a:pt x="2189" y="1420"/>
                </a:lnTo>
                <a:lnTo>
                  <a:pt x="2190" y="1406"/>
                </a:lnTo>
                <a:lnTo>
                  <a:pt x="2190" y="1180"/>
                </a:lnTo>
                <a:lnTo>
                  <a:pt x="2222" y="1180"/>
                </a:lnTo>
                <a:lnTo>
                  <a:pt x="2222" y="1406"/>
                </a:lnTo>
                <a:lnTo>
                  <a:pt x="2221" y="1423"/>
                </a:lnTo>
                <a:lnTo>
                  <a:pt x="2219" y="1439"/>
                </a:lnTo>
                <a:lnTo>
                  <a:pt x="2216" y="1454"/>
                </a:lnTo>
                <a:lnTo>
                  <a:pt x="2213" y="1468"/>
                </a:lnTo>
                <a:lnTo>
                  <a:pt x="2207" y="1481"/>
                </a:lnTo>
                <a:lnTo>
                  <a:pt x="2201" y="1493"/>
                </a:lnTo>
                <a:lnTo>
                  <a:pt x="2194" y="1504"/>
                </a:lnTo>
                <a:lnTo>
                  <a:pt x="2185" y="1514"/>
                </a:lnTo>
                <a:lnTo>
                  <a:pt x="2176" y="1524"/>
                </a:lnTo>
                <a:lnTo>
                  <a:pt x="2165" y="1532"/>
                </a:lnTo>
                <a:lnTo>
                  <a:pt x="2160" y="1535"/>
                </a:lnTo>
                <a:lnTo>
                  <a:pt x="2153" y="1538"/>
                </a:lnTo>
                <a:lnTo>
                  <a:pt x="2147" y="1541"/>
                </a:lnTo>
                <a:lnTo>
                  <a:pt x="2141" y="1544"/>
                </a:lnTo>
                <a:lnTo>
                  <a:pt x="2134" y="1546"/>
                </a:lnTo>
                <a:lnTo>
                  <a:pt x="2127" y="1548"/>
                </a:lnTo>
                <a:lnTo>
                  <a:pt x="2112" y="1551"/>
                </a:lnTo>
                <a:lnTo>
                  <a:pt x="2095" y="1553"/>
                </a:lnTo>
                <a:lnTo>
                  <a:pt x="2087" y="1554"/>
                </a:lnTo>
                <a:lnTo>
                  <a:pt x="2078" y="1554"/>
                </a:lnTo>
                <a:close/>
                <a:moveTo>
                  <a:pt x="2578" y="1548"/>
                </a:moveTo>
                <a:lnTo>
                  <a:pt x="2540" y="1548"/>
                </a:lnTo>
                <a:lnTo>
                  <a:pt x="2436" y="1395"/>
                </a:lnTo>
                <a:lnTo>
                  <a:pt x="2355" y="1395"/>
                </a:lnTo>
                <a:lnTo>
                  <a:pt x="2355" y="1548"/>
                </a:lnTo>
                <a:lnTo>
                  <a:pt x="2324" y="1548"/>
                </a:lnTo>
                <a:lnTo>
                  <a:pt x="2324" y="1180"/>
                </a:lnTo>
                <a:lnTo>
                  <a:pt x="2461" y="1180"/>
                </a:lnTo>
                <a:lnTo>
                  <a:pt x="2473" y="1180"/>
                </a:lnTo>
                <a:lnTo>
                  <a:pt x="2479" y="1181"/>
                </a:lnTo>
                <a:lnTo>
                  <a:pt x="2484" y="1182"/>
                </a:lnTo>
                <a:lnTo>
                  <a:pt x="2490" y="1183"/>
                </a:lnTo>
                <a:lnTo>
                  <a:pt x="2495" y="1184"/>
                </a:lnTo>
                <a:lnTo>
                  <a:pt x="2506" y="1187"/>
                </a:lnTo>
                <a:lnTo>
                  <a:pt x="2515" y="1191"/>
                </a:lnTo>
                <a:lnTo>
                  <a:pt x="2524" y="1196"/>
                </a:lnTo>
                <a:lnTo>
                  <a:pt x="2533" y="1202"/>
                </a:lnTo>
                <a:lnTo>
                  <a:pt x="2541" y="1208"/>
                </a:lnTo>
                <a:lnTo>
                  <a:pt x="2545" y="1212"/>
                </a:lnTo>
                <a:lnTo>
                  <a:pt x="2548" y="1216"/>
                </a:lnTo>
                <a:lnTo>
                  <a:pt x="2552" y="1220"/>
                </a:lnTo>
                <a:lnTo>
                  <a:pt x="2555" y="1224"/>
                </a:lnTo>
                <a:lnTo>
                  <a:pt x="2560" y="1232"/>
                </a:lnTo>
                <a:lnTo>
                  <a:pt x="2562" y="1237"/>
                </a:lnTo>
                <a:lnTo>
                  <a:pt x="2565" y="1242"/>
                </a:lnTo>
                <a:lnTo>
                  <a:pt x="2568" y="1252"/>
                </a:lnTo>
                <a:lnTo>
                  <a:pt x="2570" y="1258"/>
                </a:lnTo>
                <a:lnTo>
                  <a:pt x="2571" y="1263"/>
                </a:lnTo>
                <a:lnTo>
                  <a:pt x="2572" y="1275"/>
                </a:lnTo>
                <a:lnTo>
                  <a:pt x="2573" y="1287"/>
                </a:lnTo>
                <a:lnTo>
                  <a:pt x="2573" y="1293"/>
                </a:lnTo>
                <a:lnTo>
                  <a:pt x="2572" y="1299"/>
                </a:lnTo>
                <a:lnTo>
                  <a:pt x="2571" y="1311"/>
                </a:lnTo>
                <a:lnTo>
                  <a:pt x="2568" y="1322"/>
                </a:lnTo>
                <a:lnTo>
                  <a:pt x="2565" y="1332"/>
                </a:lnTo>
                <a:lnTo>
                  <a:pt x="2561" y="1341"/>
                </a:lnTo>
                <a:lnTo>
                  <a:pt x="2556" y="1349"/>
                </a:lnTo>
                <a:lnTo>
                  <a:pt x="2553" y="1353"/>
                </a:lnTo>
                <a:lnTo>
                  <a:pt x="2550" y="1357"/>
                </a:lnTo>
                <a:lnTo>
                  <a:pt x="2543" y="1364"/>
                </a:lnTo>
                <a:lnTo>
                  <a:pt x="2535" y="1371"/>
                </a:lnTo>
                <a:lnTo>
                  <a:pt x="2527" y="1376"/>
                </a:lnTo>
                <a:lnTo>
                  <a:pt x="2519" y="1381"/>
                </a:lnTo>
                <a:lnTo>
                  <a:pt x="2510" y="1385"/>
                </a:lnTo>
                <a:lnTo>
                  <a:pt x="2501" y="1388"/>
                </a:lnTo>
                <a:lnTo>
                  <a:pt x="2492" y="1391"/>
                </a:lnTo>
                <a:lnTo>
                  <a:pt x="2482" y="1392"/>
                </a:lnTo>
                <a:lnTo>
                  <a:pt x="2471" y="1393"/>
                </a:lnTo>
                <a:lnTo>
                  <a:pt x="2578" y="1548"/>
                </a:lnTo>
                <a:close/>
                <a:moveTo>
                  <a:pt x="2459" y="1367"/>
                </a:moveTo>
                <a:lnTo>
                  <a:pt x="2468" y="1366"/>
                </a:lnTo>
                <a:lnTo>
                  <a:pt x="2476" y="1365"/>
                </a:lnTo>
                <a:lnTo>
                  <a:pt x="2484" y="1363"/>
                </a:lnTo>
                <a:lnTo>
                  <a:pt x="2492" y="1361"/>
                </a:lnTo>
                <a:lnTo>
                  <a:pt x="2499" y="1358"/>
                </a:lnTo>
                <a:lnTo>
                  <a:pt x="2506" y="1354"/>
                </a:lnTo>
                <a:lnTo>
                  <a:pt x="2509" y="1352"/>
                </a:lnTo>
                <a:lnTo>
                  <a:pt x="2512" y="1349"/>
                </a:lnTo>
                <a:lnTo>
                  <a:pt x="2518" y="1344"/>
                </a:lnTo>
                <a:lnTo>
                  <a:pt x="2523" y="1339"/>
                </a:lnTo>
                <a:lnTo>
                  <a:pt x="2527" y="1333"/>
                </a:lnTo>
                <a:lnTo>
                  <a:pt x="2529" y="1329"/>
                </a:lnTo>
                <a:lnTo>
                  <a:pt x="2531" y="1326"/>
                </a:lnTo>
                <a:lnTo>
                  <a:pt x="2534" y="1319"/>
                </a:lnTo>
                <a:lnTo>
                  <a:pt x="2537" y="1312"/>
                </a:lnTo>
                <a:lnTo>
                  <a:pt x="2539" y="1304"/>
                </a:lnTo>
                <a:lnTo>
                  <a:pt x="2540" y="1296"/>
                </a:lnTo>
                <a:lnTo>
                  <a:pt x="2540" y="1287"/>
                </a:lnTo>
                <a:lnTo>
                  <a:pt x="2540" y="1279"/>
                </a:lnTo>
                <a:lnTo>
                  <a:pt x="2539" y="1270"/>
                </a:lnTo>
                <a:lnTo>
                  <a:pt x="2537" y="1263"/>
                </a:lnTo>
                <a:lnTo>
                  <a:pt x="2534" y="1255"/>
                </a:lnTo>
                <a:lnTo>
                  <a:pt x="2531" y="1248"/>
                </a:lnTo>
                <a:lnTo>
                  <a:pt x="2527" y="1242"/>
                </a:lnTo>
                <a:lnTo>
                  <a:pt x="2523" y="1236"/>
                </a:lnTo>
                <a:lnTo>
                  <a:pt x="2520" y="1233"/>
                </a:lnTo>
                <a:lnTo>
                  <a:pt x="2518" y="1230"/>
                </a:lnTo>
                <a:lnTo>
                  <a:pt x="2512" y="1225"/>
                </a:lnTo>
                <a:lnTo>
                  <a:pt x="2506" y="1221"/>
                </a:lnTo>
                <a:lnTo>
                  <a:pt x="2499" y="1217"/>
                </a:lnTo>
                <a:lnTo>
                  <a:pt x="2496" y="1216"/>
                </a:lnTo>
                <a:lnTo>
                  <a:pt x="2492" y="1214"/>
                </a:lnTo>
                <a:lnTo>
                  <a:pt x="2484" y="1212"/>
                </a:lnTo>
                <a:lnTo>
                  <a:pt x="2476" y="1210"/>
                </a:lnTo>
                <a:lnTo>
                  <a:pt x="2468" y="1209"/>
                </a:lnTo>
                <a:lnTo>
                  <a:pt x="2459" y="1208"/>
                </a:lnTo>
                <a:lnTo>
                  <a:pt x="2355" y="1208"/>
                </a:lnTo>
                <a:lnTo>
                  <a:pt x="2355" y="1367"/>
                </a:lnTo>
                <a:lnTo>
                  <a:pt x="2459" y="1367"/>
                </a:lnTo>
                <a:close/>
                <a:moveTo>
                  <a:pt x="2809" y="1548"/>
                </a:moveTo>
                <a:lnTo>
                  <a:pt x="2770" y="1548"/>
                </a:lnTo>
                <a:lnTo>
                  <a:pt x="2619" y="1180"/>
                </a:lnTo>
                <a:lnTo>
                  <a:pt x="2656" y="1180"/>
                </a:lnTo>
                <a:lnTo>
                  <a:pt x="2790" y="1512"/>
                </a:lnTo>
                <a:lnTo>
                  <a:pt x="2923" y="1180"/>
                </a:lnTo>
                <a:lnTo>
                  <a:pt x="2960" y="1180"/>
                </a:lnTo>
                <a:lnTo>
                  <a:pt x="2809" y="1548"/>
                </a:lnTo>
                <a:close/>
                <a:moveTo>
                  <a:pt x="3296" y="1548"/>
                </a:moveTo>
                <a:lnTo>
                  <a:pt x="3259" y="1548"/>
                </a:lnTo>
                <a:lnTo>
                  <a:pt x="3223" y="1457"/>
                </a:lnTo>
                <a:lnTo>
                  <a:pt x="3028" y="1457"/>
                </a:lnTo>
                <a:lnTo>
                  <a:pt x="2992" y="1548"/>
                </a:lnTo>
                <a:lnTo>
                  <a:pt x="2956" y="1548"/>
                </a:lnTo>
                <a:lnTo>
                  <a:pt x="3106" y="1180"/>
                </a:lnTo>
                <a:lnTo>
                  <a:pt x="3145" y="1180"/>
                </a:lnTo>
                <a:lnTo>
                  <a:pt x="3296" y="1548"/>
                </a:lnTo>
                <a:close/>
                <a:moveTo>
                  <a:pt x="3213" y="1428"/>
                </a:moveTo>
                <a:lnTo>
                  <a:pt x="3126" y="1213"/>
                </a:lnTo>
                <a:lnTo>
                  <a:pt x="3039" y="1428"/>
                </a:lnTo>
                <a:lnTo>
                  <a:pt x="3213" y="1428"/>
                </a:lnTo>
                <a:close/>
                <a:moveTo>
                  <a:pt x="3563" y="1548"/>
                </a:moveTo>
                <a:lnTo>
                  <a:pt x="3353" y="1548"/>
                </a:lnTo>
                <a:lnTo>
                  <a:pt x="3353" y="1180"/>
                </a:lnTo>
                <a:lnTo>
                  <a:pt x="3385" y="1180"/>
                </a:lnTo>
                <a:lnTo>
                  <a:pt x="3385" y="1519"/>
                </a:lnTo>
                <a:lnTo>
                  <a:pt x="3563" y="1519"/>
                </a:lnTo>
                <a:lnTo>
                  <a:pt x="3563" y="1548"/>
                </a:lnTo>
                <a:close/>
                <a:moveTo>
                  <a:pt x="3841" y="1548"/>
                </a:moveTo>
                <a:lnTo>
                  <a:pt x="3631" y="1548"/>
                </a:lnTo>
                <a:lnTo>
                  <a:pt x="3631" y="1180"/>
                </a:lnTo>
                <a:lnTo>
                  <a:pt x="3663" y="1180"/>
                </a:lnTo>
                <a:lnTo>
                  <a:pt x="3663" y="1519"/>
                </a:lnTo>
                <a:lnTo>
                  <a:pt x="3841" y="1519"/>
                </a:lnTo>
                <a:lnTo>
                  <a:pt x="3841" y="1548"/>
                </a:lnTo>
                <a:close/>
                <a:moveTo>
                  <a:pt x="3948" y="1548"/>
                </a:moveTo>
                <a:lnTo>
                  <a:pt x="3917" y="1548"/>
                </a:lnTo>
                <a:lnTo>
                  <a:pt x="3917" y="1180"/>
                </a:lnTo>
                <a:lnTo>
                  <a:pt x="3948" y="1180"/>
                </a:lnTo>
                <a:lnTo>
                  <a:pt x="3948" y="1548"/>
                </a:lnTo>
                <a:close/>
                <a:moveTo>
                  <a:pt x="4165" y="1554"/>
                </a:moveTo>
                <a:lnTo>
                  <a:pt x="4154" y="1554"/>
                </a:lnTo>
                <a:lnTo>
                  <a:pt x="4143" y="1553"/>
                </a:lnTo>
                <a:lnTo>
                  <a:pt x="4132" y="1552"/>
                </a:lnTo>
                <a:lnTo>
                  <a:pt x="4122" y="1550"/>
                </a:lnTo>
                <a:lnTo>
                  <a:pt x="4113" y="1547"/>
                </a:lnTo>
                <a:lnTo>
                  <a:pt x="4103" y="1545"/>
                </a:lnTo>
                <a:lnTo>
                  <a:pt x="4094" y="1541"/>
                </a:lnTo>
                <a:lnTo>
                  <a:pt x="4085" y="1538"/>
                </a:lnTo>
                <a:lnTo>
                  <a:pt x="4077" y="1533"/>
                </a:lnTo>
                <a:lnTo>
                  <a:pt x="4069" y="1529"/>
                </a:lnTo>
                <a:lnTo>
                  <a:pt x="4062" y="1524"/>
                </a:lnTo>
                <a:lnTo>
                  <a:pt x="4055" y="1519"/>
                </a:lnTo>
                <a:lnTo>
                  <a:pt x="4048" y="1514"/>
                </a:lnTo>
                <a:lnTo>
                  <a:pt x="4042" y="1508"/>
                </a:lnTo>
                <a:lnTo>
                  <a:pt x="4036" y="1502"/>
                </a:lnTo>
                <a:lnTo>
                  <a:pt x="4030" y="1496"/>
                </a:lnTo>
                <a:lnTo>
                  <a:pt x="4051" y="1472"/>
                </a:lnTo>
                <a:lnTo>
                  <a:pt x="4060" y="1482"/>
                </a:lnTo>
                <a:lnTo>
                  <a:pt x="4066" y="1487"/>
                </a:lnTo>
                <a:lnTo>
                  <a:pt x="4071" y="1492"/>
                </a:lnTo>
                <a:lnTo>
                  <a:pt x="4084" y="1501"/>
                </a:lnTo>
                <a:lnTo>
                  <a:pt x="4097" y="1509"/>
                </a:lnTo>
                <a:lnTo>
                  <a:pt x="4105" y="1513"/>
                </a:lnTo>
                <a:lnTo>
                  <a:pt x="4113" y="1516"/>
                </a:lnTo>
                <a:lnTo>
                  <a:pt x="4121" y="1519"/>
                </a:lnTo>
                <a:lnTo>
                  <a:pt x="4129" y="1521"/>
                </a:lnTo>
                <a:lnTo>
                  <a:pt x="4138" y="1523"/>
                </a:lnTo>
                <a:lnTo>
                  <a:pt x="4147" y="1524"/>
                </a:lnTo>
                <a:lnTo>
                  <a:pt x="4156" y="1525"/>
                </a:lnTo>
                <a:lnTo>
                  <a:pt x="4166" y="1526"/>
                </a:lnTo>
                <a:lnTo>
                  <a:pt x="4175" y="1525"/>
                </a:lnTo>
                <a:lnTo>
                  <a:pt x="4184" y="1525"/>
                </a:lnTo>
                <a:lnTo>
                  <a:pt x="4192" y="1524"/>
                </a:lnTo>
                <a:lnTo>
                  <a:pt x="4199" y="1522"/>
                </a:lnTo>
                <a:lnTo>
                  <a:pt x="4206" y="1521"/>
                </a:lnTo>
                <a:lnTo>
                  <a:pt x="4213" y="1519"/>
                </a:lnTo>
                <a:lnTo>
                  <a:pt x="4219" y="1516"/>
                </a:lnTo>
                <a:lnTo>
                  <a:pt x="4224" y="1513"/>
                </a:lnTo>
                <a:lnTo>
                  <a:pt x="4234" y="1507"/>
                </a:lnTo>
                <a:lnTo>
                  <a:pt x="4243" y="1501"/>
                </a:lnTo>
                <a:lnTo>
                  <a:pt x="4246" y="1497"/>
                </a:lnTo>
                <a:lnTo>
                  <a:pt x="4249" y="1493"/>
                </a:lnTo>
                <a:lnTo>
                  <a:pt x="4252" y="1489"/>
                </a:lnTo>
                <a:lnTo>
                  <a:pt x="4254" y="1485"/>
                </a:lnTo>
                <a:lnTo>
                  <a:pt x="4258" y="1477"/>
                </a:lnTo>
                <a:lnTo>
                  <a:pt x="4261" y="1468"/>
                </a:lnTo>
                <a:lnTo>
                  <a:pt x="4262" y="1460"/>
                </a:lnTo>
                <a:lnTo>
                  <a:pt x="4263" y="1452"/>
                </a:lnTo>
                <a:lnTo>
                  <a:pt x="4262" y="1444"/>
                </a:lnTo>
                <a:lnTo>
                  <a:pt x="4261" y="1437"/>
                </a:lnTo>
                <a:lnTo>
                  <a:pt x="4259" y="1431"/>
                </a:lnTo>
                <a:lnTo>
                  <a:pt x="4256" y="1424"/>
                </a:lnTo>
                <a:lnTo>
                  <a:pt x="4253" y="1419"/>
                </a:lnTo>
                <a:lnTo>
                  <a:pt x="4249" y="1413"/>
                </a:lnTo>
                <a:lnTo>
                  <a:pt x="4245" y="1408"/>
                </a:lnTo>
                <a:lnTo>
                  <a:pt x="4242" y="1406"/>
                </a:lnTo>
                <a:lnTo>
                  <a:pt x="4240" y="1404"/>
                </a:lnTo>
                <a:lnTo>
                  <a:pt x="4228" y="1397"/>
                </a:lnTo>
                <a:lnTo>
                  <a:pt x="4222" y="1393"/>
                </a:lnTo>
                <a:lnTo>
                  <a:pt x="4215" y="1390"/>
                </a:lnTo>
                <a:lnTo>
                  <a:pt x="4201" y="1384"/>
                </a:lnTo>
                <a:lnTo>
                  <a:pt x="4185" y="1379"/>
                </a:lnTo>
                <a:lnTo>
                  <a:pt x="4152" y="1370"/>
                </a:lnTo>
                <a:lnTo>
                  <a:pt x="4120" y="1360"/>
                </a:lnTo>
                <a:lnTo>
                  <a:pt x="4112" y="1357"/>
                </a:lnTo>
                <a:lnTo>
                  <a:pt x="4104" y="1354"/>
                </a:lnTo>
                <a:lnTo>
                  <a:pt x="4097" y="1351"/>
                </a:lnTo>
                <a:lnTo>
                  <a:pt x="4090" y="1347"/>
                </a:lnTo>
                <a:lnTo>
                  <a:pt x="4083" y="1343"/>
                </a:lnTo>
                <a:lnTo>
                  <a:pt x="4077" y="1339"/>
                </a:lnTo>
                <a:lnTo>
                  <a:pt x="4065" y="1329"/>
                </a:lnTo>
                <a:lnTo>
                  <a:pt x="4060" y="1324"/>
                </a:lnTo>
                <a:lnTo>
                  <a:pt x="4055" y="1318"/>
                </a:lnTo>
                <a:lnTo>
                  <a:pt x="4051" y="1312"/>
                </a:lnTo>
                <a:lnTo>
                  <a:pt x="4048" y="1305"/>
                </a:lnTo>
                <a:lnTo>
                  <a:pt x="4046" y="1298"/>
                </a:lnTo>
                <a:lnTo>
                  <a:pt x="4044" y="1290"/>
                </a:lnTo>
                <a:lnTo>
                  <a:pt x="4043" y="1281"/>
                </a:lnTo>
                <a:lnTo>
                  <a:pt x="4042" y="1272"/>
                </a:lnTo>
                <a:lnTo>
                  <a:pt x="4043" y="1261"/>
                </a:lnTo>
                <a:lnTo>
                  <a:pt x="4045" y="1250"/>
                </a:lnTo>
                <a:lnTo>
                  <a:pt x="4046" y="1245"/>
                </a:lnTo>
                <a:lnTo>
                  <a:pt x="4048" y="1240"/>
                </a:lnTo>
                <a:lnTo>
                  <a:pt x="4052" y="1231"/>
                </a:lnTo>
                <a:lnTo>
                  <a:pt x="4056" y="1222"/>
                </a:lnTo>
                <a:lnTo>
                  <a:pt x="4059" y="1218"/>
                </a:lnTo>
                <a:lnTo>
                  <a:pt x="4062" y="1214"/>
                </a:lnTo>
                <a:lnTo>
                  <a:pt x="4069" y="1207"/>
                </a:lnTo>
                <a:lnTo>
                  <a:pt x="4077" y="1200"/>
                </a:lnTo>
                <a:lnTo>
                  <a:pt x="4082" y="1197"/>
                </a:lnTo>
                <a:lnTo>
                  <a:pt x="4086" y="1194"/>
                </a:lnTo>
                <a:lnTo>
                  <a:pt x="4095" y="1189"/>
                </a:lnTo>
                <a:lnTo>
                  <a:pt x="4105" y="1184"/>
                </a:lnTo>
                <a:lnTo>
                  <a:pt x="4116" y="1181"/>
                </a:lnTo>
                <a:lnTo>
                  <a:pt x="4127" y="1178"/>
                </a:lnTo>
                <a:lnTo>
                  <a:pt x="4138" y="1175"/>
                </a:lnTo>
                <a:lnTo>
                  <a:pt x="4150" y="1174"/>
                </a:lnTo>
                <a:lnTo>
                  <a:pt x="4163" y="1174"/>
                </a:lnTo>
                <a:lnTo>
                  <a:pt x="4173" y="1174"/>
                </a:lnTo>
                <a:lnTo>
                  <a:pt x="4183" y="1175"/>
                </a:lnTo>
                <a:lnTo>
                  <a:pt x="4192" y="1176"/>
                </a:lnTo>
                <a:lnTo>
                  <a:pt x="4201" y="1177"/>
                </a:lnTo>
                <a:lnTo>
                  <a:pt x="4210" y="1179"/>
                </a:lnTo>
                <a:lnTo>
                  <a:pt x="4219" y="1181"/>
                </a:lnTo>
                <a:lnTo>
                  <a:pt x="4227" y="1184"/>
                </a:lnTo>
                <a:lnTo>
                  <a:pt x="4235" y="1187"/>
                </a:lnTo>
                <a:lnTo>
                  <a:pt x="4243" y="1191"/>
                </a:lnTo>
                <a:lnTo>
                  <a:pt x="4250" y="1195"/>
                </a:lnTo>
                <a:lnTo>
                  <a:pt x="4264" y="1204"/>
                </a:lnTo>
                <a:lnTo>
                  <a:pt x="4270" y="1209"/>
                </a:lnTo>
                <a:lnTo>
                  <a:pt x="4276" y="1214"/>
                </a:lnTo>
                <a:lnTo>
                  <a:pt x="4282" y="1219"/>
                </a:lnTo>
                <a:lnTo>
                  <a:pt x="4287" y="1225"/>
                </a:lnTo>
                <a:lnTo>
                  <a:pt x="4266" y="1249"/>
                </a:lnTo>
                <a:lnTo>
                  <a:pt x="4261" y="1243"/>
                </a:lnTo>
                <a:lnTo>
                  <a:pt x="4256" y="1237"/>
                </a:lnTo>
                <a:lnTo>
                  <a:pt x="4250" y="1232"/>
                </a:lnTo>
                <a:lnTo>
                  <a:pt x="4245" y="1228"/>
                </a:lnTo>
                <a:lnTo>
                  <a:pt x="4239" y="1224"/>
                </a:lnTo>
                <a:lnTo>
                  <a:pt x="4232" y="1220"/>
                </a:lnTo>
                <a:lnTo>
                  <a:pt x="4226" y="1216"/>
                </a:lnTo>
                <a:lnTo>
                  <a:pt x="4219" y="1213"/>
                </a:lnTo>
                <a:lnTo>
                  <a:pt x="4213" y="1211"/>
                </a:lnTo>
                <a:lnTo>
                  <a:pt x="4206" y="1208"/>
                </a:lnTo>
                <a:lnTo>
                  <a:pt x="4199" y="1207"/>
                </a:lnTo>
                <a:lnTo>
                  <a:pt x="4191" y="1205"/>
                </a:lnTo>
                <a:lnTo>
                  <a:pt x="4184" y="1204"/>
                </a:lnTo>
                <a:lnTo>
                  <a:pt x="4176" y="1203"/>
                </a:lnTo>
                <a:lnTo>
                  <a:pt x="4161" y="1202"/>
                </a:lnTo>
                <a:lnTo>
                  <a:pt x="4152" y="1203"/>
                </a:lnTo>
                <a:lnTo>
                  <a:pt x="4143" y="1204"/>
                </a:lnTo>
                <a:lnTo>
                  <a:pt x="4135" y="1205"/>
                </a:lnTo>
                <a:lnTo>
                  <a:pt x="4127" y="1207"/>
                </a:lnTo>
                <a:lnTo>
                  <a:pt x="4119" y="1210"/>
                </a:lnTo>
                <a:lnTo>
                  <a:pt x="4112" y="1213"/>
                </a:lnTo>
                <a:lnTo>
                  <a:pt x="4106" y="1217"/>
                </a:lnTo>
                <a:lnTo>
                  <a:pt x="4100" y="1221"/>
                </a:lnTo>
                <a:lnTo>
                  <a:pt x="4094" y="1226"/>
                </a:lnTo>
                <a:lnTo>
                  <a:pt x="4089" y="1231"/>
                </a:lnTo>
                <a:lnTo>
                  <a:pt x="4085" y="1237"/>
                </a:lnTo>
                <a:lnTo>
                  <a:pt x="4082" y="1243"/>
                </a:lnTo>
                <a:lnTo>
                  <a:pt x="4079" y="1249"/>
                </a:lnTo>
                <a:lnTo>
                  <a:pt x="4077" y="1256"/>
                </a:lnTo>
                <a:lnTo>
                  <a:pt x="4076" y="1263"/>
                </a:lnTo>
                <a:lnTo>
                  <a:pt x="4075" y="1270"/>
                </a:lnTo>
                <a:lnTo>
                  <a:pt x="4076" y="1277"/>
                </a:lnTo>
                <a:lnTo>
                  <a:pt x="4077" y="1283"/>
                </a:lnTo>
                <a:lnTo>
                  <a:pt x="4079" y="1289"/>
                </a:lnTo>
                <a:lnTo>
                  <a:pt x="4081" y="1294"/>
                </a:lnTo>
                <a:lnTo>
                  <a:pt x="4084" y="1299"/>
                </a:lnTo>
                <a:lnTo>
                  <a:pt x="4088" y="1304"/>
                </a:lnTo>
                <a:lnTo>
                  <a:pt x="4093" y="1308"/>
                </a:lnTo>
                <a:lnTo>
                  <a:pt x="4098" y="1312"/>
                </a:lnTo>
                <a:lnTo>
                  <a:pt x="4110" y="1319"/>
                </a:lnTo>
                <a:lnTo>
                  <a:pt x="4116" y="1322"/>
                </a:lnTo>
                <a:lnTo>
                  <a:pt x="4123" y="1325"/>
                </a:lnTo>
                <a:lnTo>
                  <a:pt x="4130" y="1327"/>
                </a:lnTo>
                <a:lnTo>
                  <a:pt x="4137" y="1330"/>
                </a:lnTo>
                <a:lnTo>
                  <a:pt x="4153" y="1335"/>
                </a:lnTo>
                <a:lnTo>
                  <a:pt x="4185" y="1344"/>
                </a:lnTo>
                <a:lnTo>
                  <a:pt x="4218" y="1354"/>
                </a:lnTo>
                <a:lnTo>
                  <a:pt x="4226" y="1357"/>
                </a:lnTo>
                <a:lnTo>
                  <a:pt x="4234" y="1361"/>
                </a:lnTo>
                <a:lnTo>
                  <a:pt x="4237" y="1363"/>
                </a:lnTo>
                <a:lnTo>
                  <a:pt x="4241" y="1364"/>
                </a:lnTo>
                <a:lnTo>
                  <a:pt x="4248" y="1368"/>
                </a:lnTo>
                <a:lnTo>
                  <a:pt x="4255" y="1373"/>
                </a:lnTo>
                <a:lnTo>
                  <a:pt x="4261" y="1377"/>
                </a:lnTo>
                <a:lnTo>
                  <a:pt x="4267" y="1382"/>
                </a:lnTo>
                <a:lnTo>
                  <a:pt x="4273" y="1388"/>
                </a:lnTo>
                <a:lnTo>
                  <a:pt x="4278" y="1393"/>
                </a:lnTo>
                <a:lnTo>
                  <a:pt x="4282" y="1400"/>
                </a:lnTo>
                <a:lnTo>
                  <a:pt x="4284" y="1403"/>
                </a:lnTo>
                <a:lnTo>
                  <a:pt x="4286" y="1407"/>
                </a:lnTo>
                <a:lnTo>
                  <a:pt x="4289" y="1414"/>
                </a:lnTo>
                <a:lnTo>
                  <a:pt x="4292" y="1422"/>
                </a:lnTo>
                <a:lnTo>
                  <a:pt x="4294" y="1431"/>
                </a:lnTo>
                <a:lnTo>
                  <a:pt x="4295" y="1440"/>
                </a:lnTo>
                <a:lnTo>
                  <a:pt x="4296" y="1450"/>
                </a:lnTo>
                <a:lnTo>
                  <a:pt x="4295" y="1462"/>
                </a:lnTo>
                <a:lnTo>
                  <a:pt x="4293" y="1474"/>
                </a:lnTo>
                <a:lnTo>
                  <a:pt x="4289" y="1486"/>
                </a:lnTo>
                <a:lnTo>
                  <a:pt x="4284" y="1498"/>
                </a:lnTo>
                <a:lnTo>
                  <a:pt x="4281" y="1504"/>
                </a:lnTo>
                <a:lnTo>
                  <a:pt x="4277" y="1509"/>
                </a:lnTo>
                <a:lnTo>
                  <a:pt x="4272" y="1515"/>
                </a:lnTo>
                <a:lnTo>
                  <a:pt x="4268" y="1520"/>
                </a:lnTo>
                <a:lnTo>
                  <a:pt x="4262" y="1525"/>
                </a:lnTo>
                <a:lnTo>
                  <a:pt x="4256" y="1529"/>
                </a:lnTo>
                <a:lnTo>
                  <a:pt x="4250" y="1534"/>
                </a:lnTo>
                <a:lnTo>
                  <a:pt x="4243" y="1538"/>
                </a:lnTo>
                <a:lnTo>
                  <a:pt x="4236" y="1541"/>
                </a:lnTo>
                <a:lnTo>
                  <a:pt x="4227" y="1545"/>
                </a:lnTo>
                <a:lnTo>
                  <a:pt x="4219" y="1547"/>
                </a:lnTo>
                <a:lnTo>
                  <a:pt x="4209" y="1550"/>
                </a:lnTo>
                <a:lnTo>
                  <a:pt x="4199" y="1552"/>
                </a:lnTo>
                <a:lnTo>
                  <a:pt x="4188" y="1553"/>
                </a:lnTo>
                <a:lnTo>
                  <a:pt x="4177" y="1554"/>
                </a:lnTo>
                <a:lnTo>
                  <a:pt x="4165" y="1554"/>
                </a:lnTo>
                <a:close/>
                <a:moveTo>
                  <a:pt x="4615" y="1548"/>
                </a:moveTo>
                <a:lnTo>
                  <a:pt x="4382" y="1548"/>
                </a:lnTo>
                <a:lnTo>
                  <a:pt x="4382" y="1180"/>
                </a:lnTo>
                <a:lnTo>
                  <a:pt x="4615" y="1180"/>
                </a:lnTo>
                <a:lnTo>
                  <a:pt x="4615" y="1208"/>
                </a:lnTo>
                <a:lnTo>
                  <a:pt x="4413" y="1208"/>
                </a:lnTo>
                <a:lnTo>
                  <a:pt x="4413" y="1345"/>
                </a:lnTo>
                <a:lnTo>
                  <a:pt x="4611" y="1345"/>
                </a:lnTo>
                <a:lnTo>
                  <a:pt x="4611" y="1373"/>
                </a:lnTo>
                <a:lnTo>
                  <a:pt x="4413" y="1373"/>
                </a:lnTo>
                <a:lnTo>
                  <a:pt x="4413" y="1519"/>
                </a:lnTo>
                <a:lnTo>
                  <a:pt x="4615" y="1519"/>
                </a:lnTo>
                <a:lnTo>
                  <a:pt x="4615" y="1548"/>
                </a:lnTo>
                <a:close/>
                <a:moveTo>
                  <a:pt x="5048" y="1548"/>
                </a:moveTo>
                <a:lnTo>
                  <a:pt x="5016" y="1548"/>
                </a:lnTo>
                <a:lnTo>
                  <a:pt x="5016" y="1219"/>
                </a:lnTo>
                <a:lnTo>
                  <a:pt x="4882" y="1548"/>
                </a:lnTo>
                <a:lnTo>
                  <a:pt x="4870" y="1548"/>
                </a:lnTo>
                <a:lnTo>
                  <a:pt x="4736" y="1219"/>
                </a:lnTo>
                <a:lnTo>
                  <a:pt x="4736" y="1548"/>
                </a:lnTo>
                <a:lnTo>
                  <a:pt x="4704" y="1548"/>
                </a:lnTo>
                <a:lnTo>
                  <a:pt x="4704" y="1180"/>
                </a:lnTo>
                <a:lnTo>
                  <a:pt x="4751" y="1180"/>
                </a:lnTo>
                <a:lnTo>
                  <a:pt x="4876" y="1486"/>
                </a:lnTo>
                <a:lnTo>
                  <a:pt x="5001" y="1180"/>
                </a:lnTo>
                <a:lnTo>
                  <a:pt x="5048" y="1180"/>
                </a:lnTo>
                <a:lnTo>
                  <a:pt x="5048" y="1548"/>
                </a:lnTo>
                <a:close/>
                <a:moveTo>
                  <a:pt x="5495" y="1548"/>
                </a:moveTo>
                <a:lnTo>
                  <a:pt x="5464" y="1548"/>
                </a:lnTo>
                <a:lnTo>
                  <a:pt x="5464" y="1219"/>
                </a:lnTo>
                <a:lnTo>
                  <a:pt x="5328" y="1548"/>
                </a:lnTo>
                <a:lnTo>
                  <a:pt x="5316" y="1548"/>
                </a:lnTo>
                <a:lnTo>
                  <a:pt x="5182" y="1219"/>
                </a:lnTo>
                <a:lnTo>
                  <a:pt x="5182" y="1548"/>
                </a:lnTo>
                <a:lnTo>
                  <a:pt x="5150" y="1548"/>
                </a:lnTo>
                <a:lnTo>
                  <a:pt x="5150" y="1180"/>
                </a:lnTo>
                <a:lnTo>
                  <a:pt x="5197" y="1180"/>
                </a:lnTo>
                <a:lnTo>
                  <a:pt x="5322" y="1486"/>
                </a:lnTo>
                <a:lnTo>
                  <a:pt x="5448" y="1180"/>
                </a:lnTo>
                <a:lnTo>
                  <a:pt x="5495" y="1180"/>
                </a:lnTo>
                <a:lnTo>
                  <a:pt x="5495" y="1548"/>
                </a:lnTo>
                <a:close/>
                <a:moveTo>
                  <a:pt x="5900" y="1548"/>
                </a:moveTo>
                <a:lnTo>
                  <a:pt x="5864" y="1548"/>
                </a:lnTo>
                <a:lnTo>
                  <a:pt x="5828" y="1457"/>
                </a:lnTo>
                <a:lnTo>
                  <a:pt x="5633" y="1457"/>
                </a:lnTo>
                <a:lnTo>
                  <a:pt x="5596" y="1548"/>
                </a:lnTo>
                <a:lnTo>
                  <a:pt x="5560" y="1548"/>
                </a:lnTo>
                <a:lnTo>
                  <a:pt x="5711" y="1180"/>
                </a:lnTo>
                <a:lnTo>
                  <a:pt x="5750" y="1180"/>
                </a:lnTo>
                <a:lnTo>
                  <a:pt x="5900" y="1548"/>
                </a:lnTo>
                <a:close/>
                <a:moveTo>
                  <a:pt x="5817" y="1428"/>
                </a:moveTo>
                <a:lnTo>
                  <a:pt x="5730" y="1213"/>
                </a:lnTo>
                <a:lnTo>
                  <a:pt x="5643" y="1428"/>
                </a:lnTo>
                <a:lnTo>
                  <a:pt x="5817" y="1428"/>
                </a:lnTo>
                <a:close/>
                <a:moveTo>
                  <a:pt x="6259" y="1548"/>
                </a:moveTo>
                <a:lnTo>
                  <a:pt x="6228" y="1548"/>
                </a:lnTo>
                <a:lnTo>
                  <a:pt x="5997" y="1232"/>
                </a:lnTo>
                <a:lnTo>
                  <a:pt x="5997" y="1548"/>
                </a:lnTo>
                <a:lnTo>
                  <a:pt x="5965" y="1548"/>
                </a:lnTo>
                <a:lnTo>
                  <a:pt x="5965" y="1180"/>
                </a:lnTo>
                <a:lnTo>
                  <a:pt x="5997" y="1180"/>
                </a:lnTo>
                <a:lnTo>
                  <a:pt x="6228" y="1491"/>
                </a:lnTo>
                <a:lnTo>
                  <a:pt x="6228" y="1180"/>
                </a:lnTo>
                <a:lnTo>
                  <a:pt x="6259" y="1180"/>
                </a:lnTo>
                <a:lnTo>
                  <a:pt x="6259" y="1548"/>
                </a:lnTo>
                <a:close/>
                <a:moveTo>
                  <a:pt x="6377" y="1552"/>
                </a:moveTo>
                <a:lnTo>
                  <a:pt x="6372" y="1552"/>
                </a:lnTo>
                <a:lnTo>
                  <a:pt x="6367" y="1551"/>
                </a:lnTo>
                <a:lnTo>
                  <a:pt x="6363" y="1548"/>
                </a:lnTo>
                <a:lnTo>
                  <a:pt x="6359" y="1545"/>
                </a:lnTo>
                <a:lnTo>
                  <a:pt x="6356" y="1542"/>
                </a:lnTo>
                <a:lnTo>
                  <a:pt x="6354" y="1538"/>
                </a:lnTo>
                <a:lnTo>
                  <a:pt x="6352" y="1533"/>
                </a:lnTo>
                <a:lnTo>
                  <a:pt x="6352" y="1528"/>
                </a:lnTo>
                <a:lnTo>
                  <a:pt x="6352" y="1524"/>
                </a:lnTo>
                <a:lnTo>
                  <a:pt x="6353" y="1521"/>
                </a:lnTo>
                <a:lnTo>
                  <a:pt x="6354" y="1519"/>
                </a:lnTo>
                <a:lnTo>
                  <a:pt x="6355" y="1517"/>
                </a:lnTo>
                <a:lnTo>
                  <a:pt x="6356" y="1515"/>
                </a:lnTo>
                <a:lnTo>
                  <a:pt x="6359" y="1512"/>
                </a:lnTo>
                <a:lnTo>
                  <a:pt x="6363" y="1509"/>
                </a:lnTo>
                <a:lnTo>
                  <a:pt x="6367" y="1506"/>
                </a:lnTo>
                <a:lnTo>
                  <a:pt x="6372" y="1505"/>
                </a:lnTo>
                <a:lnTo>
                  <a:pt x="6377" y="1505"/>
                </a:lnTo>
                <a:lnTo>
                  <a:pt x="6382" y="1505"/>
                </a:lnTo>
                <a:lnTo>
                  <a:pt x="6386" y="1506"/>
                </a:lnTo>
                <a:lnTo>
                  <a:pt x="6388" y="1507"/>
                </a:lnTo>
                <a:lnTo>
                  <a:pt x="6390" y="1509"/>
                </a:lnTo>
                <a:lnTo>
                  <a:pt x="6394" y="1512"/>
                </a:lnTo>
                <a:lnTo>
                  <a:pt x="6397" y="1515"/>
                </a:lnTo>
                <a:lnTo>
                  <a:pt x="6399" y="1519"/>
                </a:lnTo>
                <a:lnTo>
                  <a:pt x="6400" y="1524"/>
                </a:lnTo>
                <a:lnTo>
                  <a:pt x="6401" y="1528"/>
                </a:lnTo>
                <a:lnTo>
                  <a:pt x="6400" y="1533"/>
                </a:lnTo>
                <a:lnTo>
                  <a:pt x="6399" y="1538"/>
                </a:lnTo>
                <a:lnTo>
                  <a:pt x="6398" y="1540"/>
                </a:lnTo>
                <a:lnTo>
                  <a:pt x="6397" y="1542"/>
                </a:lnTo>
                <a:lnTo>
                  <a:pt x="6394" y="1545"/>
                </a:lnTo>
                <a:lnTo>
                  <a:pt x="6392" y="1547"/>
                </a:lnTo>
                <a:lnTo>
                  <a:pt x="6390" y="1548"/>
                </a:lnTo>
                <a:lnTo>
                  <a:pt x="6386" y="1551"/>
                </a:lnTo>
                <a:lnTo>
                  <a:pt x="6382" y="1552"/>
                </a:lnTo>
                <a:lnTo>
                  <a:pt x="6377" y="1552"/>
                </a:lnTo>
                <a:close/>
                <a:moveTo>
                  <a:pt x="344" y="996"/>
                </a:moveTo>
                <a:lnTo>
                  <a:pt x="312" y="996"/>
                </a:lnTo>
                <a:lnTo>
                  <a:pt x="312" y="668"/>
                </a:lnTo>
                <a:lnTo>
                  <a:pt x="178" y="996"/>
                </a:lnTo>
                <a:lnTo>
                  <a:pt x="166" y="996"/>
                </a:lnTo>
                <a:lnTo>
                  <a:pt x="31" y="668"/>
                </a:lnTo>
                <a:lnTo>
                  <a:pt x="31" y="996"/>
                </a:lnTo>
                <a:lnTo>
                  <a:pt x="0" y="996"/>
                </a:lnTo>
                <a:lnTo>
                  <a:pt x="0" y="628"/>
                </a:lnTo>
                <a:lnTo>
                  <a:pt x="47" y="628"/>
                </a:lnTo>
                <a:lnTo>
                  <a:pt x="172" y="934"/>
                </a:lnTo>
                <a:lnTo>
                  <a:pt x="297" y="628"/>
                </a:lnTo>
                <a:lnTo>
                  <a:pt x="344" y="628"/>
                </a:lnTo>
                <a:lnTo>
                  <a:pt x="344" y="996"/>
                </a:lnTo>
                <a:close/>
                <a:moveTo>
                  <a:pt x="749" y="996"/>
                </a:moveTo>
                <a:lnTo>
                  <a:pt x="713" y="996"/>
                </a:lnTo>
                <a:lnTo>
                  <a:pt x="676" y="906"/>
                </a:lnTo>
                <a:lnTo>
                  <a:pt x="482" y="906"/>
                </a:lnTo>
                <a:lnTo>
                  <a:pt x="445" y="996"/>
                </a:lnTo>
                <a:lnTo>
                  <a:pt x="409" y="996"/>
                </a:lnTo>
                <a:lnTo>
                  <a:pt x="559" y="628"/>
                </a:lnTo>
                <a:lnTo>
                  <a:pt x="599" y="628"/>
                </a:lnTo>
                <a:lnTo>
                  <a:pt x="749" y="996"/>
                </a:lnTo>
                <a:close/>
                <a:moveTo>
                  <a:pt x="666" y="877"/>
                </a:moveTo>
                <a:lnTo>
                  <a:pt x="579" y="662"/>
                </a:lnTo>
                <a:lnTo>
                  <a:pt x="492" y="877"/>
                </a:lnTo>
                <a:lnTo>
                  <a:pt x="666" y="877"/>
                </a:lnTo>
                <a:close/>
                <a:moveTo>
                  <a:pt x="1117" y="996"/>
                </a:moveTo>
                <a:lnTo>
                  <a:pt x="1080" y="996"/>
                </a:lnTo>
                <a:lnTo>
                  <a:pt x="1044" y="906"/>
                </a:lnTo>
                <a:lnTo>
                  <a:pt x="849" y="906"/>
                </a:lnTo>
                <a:lnTo>
                  <a:pt x="813" y="996"/>
                </a:lnTo>
                <a:lnTo>
                  <a:pt x="776" y="996"/>
                </a:lnTo>
                <a:lnTo>
                  <a:pt x="927" y="628"/>
                </a:lnTo>
                <a:lnTo>
                  <a:pt x="966" y="628"/>
                </a:lnTo>
                <a:lnTo>
                  <a:pt x="1117" y="996"/>
                </a:lnTo>
                <a:close/>
                <a:moveTo>
                  <a:pt x="1033" y="877"/>
                </a:moveTo>
                <a:lnTo>
                  <a:pt x="947" y="662"/>
                </a:lnTo>
                <a:lnTo>
                  <a:pt x="860" y="877"/>
                </a:lnTo>
                <a:lnTo>
                  <a:pt x="1033" y="877"/>
                </a:lnTo>
                <a:close/>
                <a:moveTo>
                  <a:pt x="1213" y="996"/>
                </a:moveTo>
                <a:lnTo>
                  <a:pt x="1182" y="996"/>
                </a:lnTo>
                <a:lnTo>
                  <a:pt x="1182" y="628"/>
                </a:lnTo>
                <a:lnTo>
                  <a:pt x="1213" y="628"/>
                </a:lnTo>
                <a:lnTo>
                  <a:pt x="1213" y="996"/>
                </a:lnTo>
                <a:close/>
                <a:moveTo>
                  <a:pt x="1518" y="996"/>
                </a:moveTo>
                <a:lnTo>
                  <a:pt x="1308" y="996"/>
                </a:lnTo>
                <a:lnTo>
                  <a:pt x="1308" y="628"/>
                </a:lnTo>
                <a:lnTo>
                  <a:pt x="1340" y="628"/>
                </a:lnTo>
                <a:lnTo>
                  <a:pt x="1340" y="967"/>
                </a:lnTo>
                <a:lnTo>
                  <a:pt x="1518" y="967"/>
                </a:lnTo>
                <a:lnTo>
                  <a:pt x="1518" y="996"/>
                </a:lnTo>
                <a:close/>
                <a:moveTo>
                  <a:pt x="1939" y="996"/>
                </a:moveTo>
                <a:lnTo>
                  <a:pt x="1907" y="996"/>
                </a:lnTo>
                <a:lnTo>
                  <a:pt x="1907" y="668"/>
                </a:lnTo>
                <a:lnTo>
                  <a:pt x="1772" y="996"/>
                </a:lnTo>
                <a:lnTo>
                  <a:pt x="1759" y="996"/>
                </a:lnTo>
                <a:lnTo>
                  <a:pt x="1625" y="668"/>
                </a:lnTo>
                <a:lnTo>
                  <a:pt x="1625" y="996"/>
                </a:lnTo>
                <a:lnTo>
                  <a:pt x="1594" y="996"/>
                </a:lnTo>
                <a:lnTo>
                  <a:pt x="1594" y="628"/>
                </a:lnTo>
                <a:lnTo>
                  <a:pt x="1640" y="628"/>
                </a:lnTo>
                <a:lnTo>
                  <a:pt x="1766" y="934"/>
                </a:lnTo>
                <a:lnTo>
                  <a:pt x="1891" y="628"/>
                </a:lnTo>
                <a:lnTo>
                  <a:pt x="1939" y="628"/>
                </a:lnTo>
                <a:lnTo>
                  <a:pt x="1939" y="996"/>
                </a:lnTo>
                <a:close/>
                <a:moveTo>
                  <a:pt x="2343" y="996"/>
                </a:moveTo>
                <a:lnTo>
                  <a:pt x="2307" y="996"/>
                </a:lnTo>
                <a:lnTo>
                  <a:pt x="2271" y="906"/>
                </a:lnTo>
                <a:lnTo>
                  <a:pt x="2076" y="906"/>
                </a:lnTo>
                <a:lnTo>
                  <a:pt x="2040" y="996"/>
                </a:lnTo>
                <a:lnTo>
                  <a:pt x="2003" y="996"/>
                </a:lnTo>
                <a:lnTo>
                  <a:pt x="2154" y="628"/>
                </a:lnTo>
                <a:lnTo>
                  <a:pt x="2193" y="628"/>
                </a:lnTo>
                <a:lnTo>
                  <a:pt x="2343" y="996"/>
                </a:lnTo>
                <a:close/>
                <a:moveTo>
                  <a:pt x="2260" y="877"/>
                </a:moveTo>
                <a:lnTo>
                  <a:pt x="2174" y="662"/>
                </a:lnTo>
                <a:lnTo>
                  <a:pt x="2086" y="877"/>
                </a:lnTo>
                <a:lnTo>
                  <a:pt x="2260" y="877"/>
                </a:lnTo>
                <a:close/>
                <a:moveTo>
                  <a:pt x="2513" y="1003"/>
                </a:moveTo>
                <a:lnTo>
                  <a:pt x="2501" y="1002"/>
                </a:lnTo>
                <a:lnTo>
                  <a:pt x="2490" y="1001"/>
                </a:lnTo>
                <a:lnTo>
                  <a:pt x="2480" y="1000"/>
                </a:lnTo>
                <a:lnTo>
                  <a:pt x="2470" y="998"/>
                </a:lnTo>
                <a:lnTo>
                  <a:pt x="2460" y="996"/>
                </a:lnTo>
                <a:lnTo>
                  <a:pt x="2451" y="993"/>
                </a:lnTo>
                <a:lnTo>
                  <a:pt x="2442" y="990"/>
                </a:lnTo>
                <a:lnTo>
                  <a:pt x="2433" y="986"/>
                </a:lnTo>
                <a:lnTo>
                  <a:pt x="2425" y="982"/>
                </a:lnTo>
                <a:lnTo>
                  <a:pt x="2417" y="977"/>
                </a:lnTo>
                <a:lnTo>
                  <a:pt x="2409" y="973"/>
                </a:lnTo>
                <a:lnTo>
                  <a:pt x="2402" y="968"/>
                </a:lnTo>
                <a:lnTo>
                  <a:pt x="2396" y="962"/>
                </a:lnTo>
                <a:lnTo>
                  <a:pt x="2389" y="956"/>
                </a:lnTo>
                <a:lnTo>
                  <a:pt x="2383" y="950"/>
                </a:lnTo>
                <a:lnTo>
                  <a:pt x="2378" y="944"/>
                </a:lnTo>
                <a:lnTo>
                  <a:pt x="2398" y="920"/>
                </a:lnTo>
                <a:lnTo>
                  <a:pt x="2408" y="931"/>
                </a:lnTo>
                <a:lnTo>
                  <a:pt x="2413" y="936"/>
                </a:lnTo>
                <a:lnTo>
                  <a:pt x="2419" y="940"/>
                </a:lnTo>
                <a:lnTo>
                  <a:pt x="2431" y="949"/>
                </a:lnTo>
                <a:lnTo>
                  <a:pt x="2445" y="957"/>
                </a:lnTo>
                <a:lnTo>
                  <a:pt x="2452" y="961"/>
                </a:lnTo>
                <a:lnTo>
                  <a:pt x="2460" y="964"/>
                </a:lnTo>
                <a:lnTo>
                  <a:pt x="2468" y="967"/>
                </a:lnTo>
                <a:lnTo>
                  <a:pt x="2477" y="969"/>
                </a:lnTo>
                <a:lnTo>
                  <a:pt x="2485" y="971"/>
                </a:lnTo>
                <a:lnTo>
                  <a:pt x="2494" y="973"/>
                </a:lnTo>
                <a:lnTo>
                  <a:pt x="2504" y="974"/>
                </a:lnTo>
                <a:lnTo>
                  <a:pt x="2514" y="974"/>
                </a:lnTo>
                <a:lnTo>
                  <a:pt x="2523" y="974"/>
                </a:lnTo>
                <a:lnTo>
                  <a:pt x="2531" y="973"/>
                </a:lnTo>
                <a:lnTo>
                  <a:pt x="2539" y="972"/>
                </a:lnTo>
                <a:lnTo>
                  <a:pt x="2547" y="971"/>
                </a:lnTo>
                <a:lnTo>
                  <a:pt x="2554" y="969"/>
                </a:lnTo>
                <a:lnTo>
                  <a:pt x="2560" y="967"/>
                </a:lnTo>
                <a:lnTo>
                  <a:pt x="2566" y="965"/>
                </a:lnTo>
                <a:lnTo>
                  <a:pt x="2572" y="962"/>
                </a:lnTo>
                <a:lnTo>
                  <a:pt x="2582" y="956"/>
                </a:lnTo>
                <a:lnTo>
                  <a:pt x="2590" y="949"/>
                </a:lnTo>
                <a:lnTo>
                  <a:pt x="2594" y="945"/>
                </a:lnTo>
                <a:lnTo>
                  <a:pt x="2597" y="942"/>
                </a:lnTo>
                <a:lnTo>
                  <a:pt x="2599" y="938"/>
                </a:lnTo>
                <a:lnTo>
                  <a:pt x="2602" y="934"/>
                </a:lnTo>
                <a:lnTo>
                  <a:pt x="2606" y="925"/>
                </a:lnTo>
                <a:lnTo>
                  <a:pt x="2608" y="917"/>
                </a:lnTo>
                <a:lnTo>
                  <a:pt x="2610" y="909"/>
                </a:lnTo>
                <a:lnTo>
                  <a:pt x="2610" y="901"/>
                </a:lnTo>
                <a:lnTo>
                  <a:pt x="2610" y="893"/>
                </a:lnTo>
                <a:lnTo>
                  <a:pt x="2608" y="886"/>
                </a:lnTo>
                <a:lnTo>
                  <a:pt x="2607" y="879"/>
                </a:lnTo>
                <a:lnTo>
                  <a:pt x="2604" y="873"/>
                </a:lnTo>
                <a:lnTo>
                  <a:pt x="2601" y="867"/>
                </a:lnTo>
                <a:lnTo>
                  <a:pt x="2597" y="862"/>
                </a:lnTo>
                <a:lnTo>
                  <a:pt x="2592" y="857"/>
                </a:lnTo>
                <a:lnTo>
                  <a:pt x="2590" y="855"/>
                </a:lnTo>
                <a:lnTo>
                  <a:pt x="2587" y="853"/>
                </a:lnTo>
                <a:lnTo>
                  <a:pt x="2576" y="845"/>
                </a:lnTo>
                <a:lnTo>
                  <a:pt x="2569" y="842"/>
                </a:lnTo>
                <a:lnTo>
                  <a:pt x="2563" y="838"/>
                </a:lnTo>
                <a:lnTo>
                  <a:pt x="2548" y="832"/>
                </a:lnTo>
                <a:lnTo>
                  <a:pt x="2533" y="827"/>
                </a:lnTo>
                <a:lnTo>
                  <a:pt x="2500" y="818"/>
                </a:lnTo>
                <a:lnTo>
                  <a:pt x="2467" y="808"/>
                </a:lnTo>
                <a:lnTo>
                  <a:pt x="2459" y="805"/>
                </a:lnTo>
                <a:lnTo>
                  <a:pt x="2452" y="802"/>
                </a:lnTo>
                <a:lnTo>
                  <a:pt x="2444" y="799"/>
                </a:lnTo>
                <a:lnTo>
                  <a:pt x="2437" y="795"/>
                </a:lnTo>
                <a:lnTo>
                  <a:pt x="2431" y="792"/>
                </a:lnTo>
                <a:lnTo>
                  <a:pt x="2424" y="787"/>
                </a:lnTo>
                <a:lnTo>
                  <a:pt x="2413" y="778"/>
                </a:lnTo>
                <a:lnTo>
                  <a:pt x="2407" y="773"/>
                </a:lnTo>
                <a:lnTo>
                  <a:pt x="2403" y="767"/>
                </a:lnTo>
                <a:lnTo>
                  <a:pt x="2399" y="761"/>
                </a:lnTo>
                <a:lnTo>
                  <a:pt x="2396" y="754"/>
                </a:lnTo>
                <a:lnTo>
                  <a:pt x="2393" y="746"/>
                </a:lnTo>
                <a:lnTo>
                  <a:pt x="2391" y="738"/>
                </a:lnTo>
                <a:lnTo>
                  <a:pt x="2390" y="729"/>
                </a:lnTo>
                <a:lnTo>
                  <a:pt x="2390" y="720"/>
                </a:lnTo>
                <a:lnTo>
                  <a:pt x="2390" y="709"/>
                </a:lnTo>
                <a:lnTo>
                  <a:pt x="2392" y="699"/>
                </a:lnTo>
                <a:lnTo>
                  <a:pt x="2394" y="694"/>
                </a:lnTo>
                <a:lnTo>
                  <a:pt x="2395" y="689"/>
                </a:lnTo>
                <a:lnTo>
                  <a:pt x="2399" y="680"/>
                </a:lnTo>
                <a:lnTo>
                  <a:pt x="2404" y="671"/>
                </a:lnTo>
                <a:lnTo>
                  <a:pt x="2407" y="667"/>
                </a:lnTo>
                <a:lnTo>
                  <a:pt x="2410" y="663"/>
                </a:lnTo>
                <a:lnTo>
                  <a:pt x="2417" y="655"/>
                </a:lnTo>
                <a:lnTo>
                  <a:pt x="2425" y="649"/>
                </a:lnTo>
                <a:lnTo>
                  <a:pt x="2429" y="645"/>
                </a:lnTo>
                <a:lnTo>
                  <a:pt x="2434" y="642"/>
                </a:lnTo>
                <a:lnTo>
                  <a:pt x="2443" y="637"/>
                </a:lnTo>
                <a:lnTo>
                  <a:pt x="2453" y="633"/>
                </a:lnTo>
                <a:lnTo>
                  <a:pt x="2463" y="629"/>
                </a:lnTo>
                <a:lnTo>
                  <a:pt x="2474" y="626"/>
                </a:lnTo>
                <a:lnTo>
                  <a:pt x="2486" y="624"/>
                </a:lnTo>
                <a:lnTo>
                  <a:pt x="2498" y="623"/>
                </a:lnTo>
                <a:lnTo>
                  <a:pt x="2510" y="622"/>
                </a:lnTo>
                <a:lnTo>
                  <a:pt x="2520" y="622"/>
                </a:lnTo>
                <a:lnTo>
                  <a:pt x="2530" y="623"/>
                </a:lnTo>
                <a:lnTo>
                  <a:pt x="2540" y="624"/>
                </a:lnTo>
                <a:lnTo>
                  <a:pt x="2549" y="626"/>
                </a:lnTo>
                <a:lnTo>
                  <a:pt x="2558" y="628"/>
                </a:lnTo>
                <a:lnTo>
                  <a:pt x="2566" y="630"/>
                </a:lnTo>
                <a:lnTo>
                  <a:pt x="2575" y="633"/>
                </a:lnTo>
                <a:lnTo>
                  <a:pt x="2583" y="636"/>
                </a:lnTo>
                <a:lnTo>
                  <a:pt x="2590" y="639"/>
                </a:lnTo>
                <a:lnTo>
                  <a:pt x="2598" y="643"/>
                </a:lnTo>
                <a:lnTo>
                  <a:pt x="2611" y="652"/>
                </a:lnTo>
                <a:lnTo>
                  <a:pt x="2618" y="657"/>
                </a:lnTo>
                <a:lnTo>
                  <a:pt x="2624" y="662"/>
                </a:lnTo>
                <a:lnTo>
                  <a:pt x="2630" y="668"/>
                </a:lnTo>
                <a:lnTo>
                  <a:pt x="2635" y="674"/>
                </a:lnTo>
                <a:lnTo>
                  <a:pt x="2614" y="697"/>
                </a:lnTo>
                <a:lnTo>
                  <a:pt x="2609" y="691"/>
                </a:lnTo>
                <a:lnTo>
                  <a:pt x="2604" y="686"/>
                </a:lnTo>
                <a:lnTo>
                  <a:pt x="2598" y="681"/>
                </a:lnTo>
                <a:lnTo>
                  <a:pt x="2592" y="676"/>
                </a:lnTo>
                <a:lnTo>
                  <a:pt x="2586" y="672"/>
                </a:lnTo>
                <a:lnTo>
                  <a:pt x="2580" y="668"/>
                </a:lnTo>
                <a:lnTo>
                  <a:pt x="2574" y="665"/>
                </a:lnTo>
                <a:lnTo>
                  <a:pt x="2567" y="662"/>
                </a:lnTo>
                <a:lnTo>
                  <a:pt x="2560" y="659"/>
                </a:lnTo>
                <a:lnTo>
                  <a:pt x="2553" y="657"/>
                </a:lnTo>
                <a:lnTo>
                  <a:pt x="2546" y="655"/>
                </a:lnTo>
                <a:lnTo>
                  <a:pt x="2539" y="653"/>
                </a:lnTo>
                <a:lnTo>
                  <a:pt x="2532" y="652"/>
                </a:lnTo>
                <a:lnTo>
                  <a:pt x="2524" y="651"/>
                </a:lnTo>
                <a:lnTo>
                  <a:pt x="2509" y="651"/>
                </a:lnTo>
                <a:lnTo>
                  <a:pt x="2499" y="651"/>
                </a:lnTo>
                <a:lnTo>
                  <a:pt x="2491" y="652"/>
                </a:lnTo>
                <a:lnTo>
                  <a:pt x="2482" y="654"/>
                </a:lnTo>
                <a:lnTo>
                  <a:pt x="2474" y="656"/>
                </a:lnTo>
                <a:lnTo>
                  <a:pt x="2467" y="658"/>
                </a:lnTo>
                <a:lnTo>
                  <a:pt x="2460" y="662"/>
                </a:lnTo>
                <a:lnTo>
                  <a:pt x="2453" y="665"/>
                </a:lnTo>
                <a:lnTo>
                  <a:pt x="2447" y="670"/>
                </a:lnTo>
                <a:lnTo>
                  <a:pt x="2442" y="675"/>
                </a:lnTo>
                <a:lnTo>
                  <a:pt x="2437" y="680"/>
                </a:lnTo>
                <a:lnTo>
                  <a:pt x="2433" y="685"/>
                </a:lnTo>
                <a:lnTo>
                  <a:pt x="2429" y="691"/>
                </a:lnTo>
                <a:lnTo>
                  <a:pt x="2426" y="697"/>
                </a:lnTo>
                <a:lnTo>
                  <a:pt x="2424" y="704"/>
                </a:lnTo>
                <a:lnTo>
                  <a:pt x="2423" y="711"/>
                </a:lnTo>
                <a:lnTo>
                  <a:pt x="2423" y="719"/>
                </a:lnTo>
                <a:lnTo>
                  <a:pt x="2423" y="725"/>
                </a:lnTo>
                <a:lnTo>
                  <a:pt x="2424" y="732"/>
                </a:lnTo>
                <a:lnTo>
                  <a:pt x="2426" y="737"/>
                </a:lnTo>
                <a:lnTo>
                  <a:pt x="2429" y="743"/>
                </a:lnTo>
                <a:lnTo>
                  <a:pt x="2432" y="748"/>
                </a:lnTo>
                <a:lnTo>
                  <a:pt x="2436" y="752"/>
                </a:lnTo>
                <a:lnTo>
                  <a:pt x="2440" y="757"/>
                </a:lnTo>
                <a:lnTo>
                  <a:pt x="2446" y="760"/>
                </a:lnTo>
                <a:lnTo>
                  <a:pt x="2457" y="767"/>
                </a:lnTo>
                <a:lnTo>
                  <a:pt x="2464" y="770"/>
                </a:lnTo>
                <a:lnTo>
                  <a:pt x="2470" y="773"/>
                </a:lnTo>
                <a:lnTo>
                  <a:pt x="2477" y="776"/>
                </a:lnTo>
                <a:lnTo>
                  <a:pt x="2485" y="778"/>
                </a:lnTo>
                <a:lnTo>
                  <a:pt x="2500" y="783"/>
                </a:lnTo>
                <a:lnTo>
                  <a:pt x="2533" y="792"/>
                </a:lnTo>
                <a:lnTo>
                  <a:pt x="2566" y="803"/>
                </a:lnTo>
                <a:lnTo>
                  <a:pt x="2574" y="806"/>
                </a:lnTo>
                <a:lnTo>
                  <a:pt x="2581" y="809"/>
                </a:lnTo>
                <a:lnTo>
                  <a:pt x="2585" y="811"/>
                </a:lnTo>
                <a:lnTo>
                  <a:pt x="2589" y="813"/>
                </a:lnTo>
                <a:lnTo>
                  <a:pt x="2596" y="817"/>
                </a:lnTo>
                <a:lnTo>
                  <a:pt x="2602" y="821"/>
                </a:lnTo>
                <a:lnTo>
                  <a:pt x="2609" y="826"/>
                </a:lnTo>
                <a:lnTo>
                  <a:pt x="2615" y="831"/>
                </a:lnTo>
                <a:lnTo>
                  <a:pt x="2620" y="836"/>
                </a:lnTo>
                <a:lnTo>
                  <a:pt x="2625" y="842"/>
                </a:lnTo>
                <a:lnTo>
                  <a:pt x="2630" y="848"/>
                </a:lnTo>
                <a:lnTo>
                  <a:pt x="2632" y="851"/>
                </a:lnTo>
                <a:lnTo>
                  <a:pt x="2634" y="855"/>
                </a:lnTo>
                <a:lnTo>
                  <a:pt x="2637" y="863"/>
                </a:lnTo>
                <a:lnTo>
                  <a:pt x="2640" y="871"/>
                </a:lnTo>
                <a:lnTo>
                  <a:pt x="2641" y="879"/>
                </a:lnTo>
                <a:lnTo>
                  <a:pt x="2643" y="889"/>
                </a:lnTo>
                <a:lnTo>
                  <a:pt x="2643" y="898"/>
                </a:lnTo>
                <a:lnTo>
                  <a:pt x="2643" y="911"/>
                </a:lnTo>
                <a:lnTo>
                  <a:pt x="2640" y="923"/>
                </a:lnTo>
                <a:lnTo>
                  <a:pt x="2637" y="935"/>
                </a:lnTo>
                <a:lnTo>
                  <a:pt x="2631" y="946"/>
                </a:lnTo>
                <a:lnTo>
                  <a:pt x="2628" y="952"/>
                </a:lnTo>
                <a:lnTo>
                  <a:pt x="2624" y="958"/>
                </a:lnTo>
                <a:lnTo>
                  <a:pt x="2620" y="963"/>
                </a:lnTo>
                <a:lnTo>
                  <a:pt x="2615" y="968"/>
                </a:lnTo>
                <a:lnTo>
                  <a:pt x="2610" y="973"/>
                </a:lnTo>
                <a:lnTo>
                  <a:pt x="2604" y="978"/>
                </a:lnTo>
                <a:lnTo>
                  <a:pt x="2597" y="982"/>
                </a:lnTo>
                <a:lnTo>
                  <a:pt x="2591" y="986"/>
                </a:lnTo>
                <a:lnTo>
                  <a:pt x="2583" y="990"/>
                </a:lnTo>
                <a:lnTo>
                  <a:pt x="2575" y="993"/>
                </a:lnTo>
                <a:lnTo>
                  <a:pt x="2566" y="996"/>
                </a:lnTo>
                <a:lnTo>
                  <a:pt x="2557" y="998"/>
                </a:lnTo>
                <a:lnTo>
                  <a:pt x="2547" y="1000"/>
                </a:lnTo>
                <a:lnTo>
                  <a:pt x="2536" y="1001"/>
                </a:lnTo>
                <a:lnTo>
                  <a:pt x="2525" y="1002"/>
                </a:lnTo>
                <a:lnTo>
                  <a:pt x="2513" y="1003"/>
                </a:lnTo>
                <a:close/>
                <a:moveTo>
                  <a:pt x="2853" y="996"/>
                </a:moveTo>
                <a:lnTo>
                  <a:pt x="2821" y="996"/>
                </a:lnTo>
                <a:lnTo>
                  <a:pt x="2821" y="657"/>
                </a:lnTo>
                <a:lnTo>
                  <a:pt x="2701" y="657"/>
                </a:lnTo>
                <a:lnTo>
                  <a:pt x="2701" y="628"/>
                </a:lnTo>
                <a:lnTo>
                  <a:pt x="2973" y="628"/>
                </a:lnTo>
                <a:lnTo>
                  <a:pt x="2973" y="657"/>
                </a:lnTo>
                <a:lnTo>
                  <a:pt x="2853" y="657"/>
                </a:lnTo>
                <a:lnTo>
                  <a:pt x="2853" y="996"/>
                </a:lnTo>
                <a:close/>
                <a:moveTo>
                  <a:pt x="3315" y="996"/>
                </a:moveTo>
                <a:lnTo>
                  <a:pt x="3278" y="996"/>
                </a:lnTo>
                <a:lnTo>
                  <a:pt x="3242" y="906"/>
                </a:lnTo>
                <a:lnTo>
                  <a:pt x="3047" y="906"/>
                </a:lnTo>
                <a:lnTo>
                  <a:pt x="3011" y="996"/>
                </a:lnTo>
                <a:lnTo>
                  <a:pt x="2974" y="996"/>
                </a:lnTo>
                <a:lnTo>
                  <a:pt x="3125" y="628"/>
                </a:lnTo>
                <a:lnTo>
                  <a:pt x="3164" y="628"/>
                </a:lnTo>
                <a:lnTo>
                  <a:pt x="3315" y="996"/>
                </a:lnTo>
                <a:close/>
                <a:moveTo>
                  <a:pt x="3231" y="877"/>
                </a:moveTo>
                <a:lnTo>
                  <a:pt x="3145" y="662"/>
                </a:lnTo>
                <a:lnTo>
                  <a:pt x="3058" y="877"/>
                </a:lnTo>
                <a:lnTo>
                  <a:pt x="3231" y="877"/>
                </a:lnTo>
                <a:close/>
                <a:moveTo>
                  <a:pt x="3565" y="996"/>
                </a:moveTo>
                <a:lnTo>
                  <a:pt x="3534" y="996"/>
                </a:lnTo>
                <a:lnTo>
                  <a:pt x="3534" y="628"/>
                </a:lnTo>
                <a:lnTo>
                  <a:pt x="3672" y="628"/>
                </a:lnTo>
                <a:lnTo>
                  <a:pt x="3685" y="629"/>
                </a:lnTo>
                <a:lnTo>
                  <a:pt x="3697" y="631"/>
                </a:lnTo>
                <a:lnTo>
                  <a:pt x="3708" y="633"/>
                </a:lnTo>
                <a:lnTo>
                  <a:pt x="3719" y="637"/>
                </a:lnTo>
                <a:lnTo>
                  <a:pt x="3724" y="639"/>
                </a:lnTo>
                <a:lnTo>
                  <a:pt x="3729" y="641"/>
                </a:lnTo>
                <a:lnTo>
                  <a:pt x="3738" y="647"/>
                </a:lnTo>
                <a:lnTo>
                  <a:pt x="3742" y="650"/>
                </a:lnTo>
                <a:lnTo>
                  <a:pt x="3746" y="653"/>
                </a:lnTo>
                <a:lnTo>
                  <a:pt x="3750" y="656"/>
                </a:lnTo>
                <a:lnTo>
                  <a:pt x="3754" y="660"/>
                </a:lnTo>
                <a:lnTo>
                  <a:pt x="3757" y="664"/>
                </a:lnTo>
                <a:lnTo>
                  <a:pt x="3760" y="668"/>
                </a:lnTo>
                <a:lnTo>
                  <a:pt x="3766" y="676"/>
                </a:lnTo>
                <a:lnTo>
                  <a:pt x="3771" y="685"/>
                </a:lnTo>
                <a:lnTo>
                  <a:pt x="3775" y="694"/>
                </a:lnTo>
                <a:lnTo>
                  <a:pt x="3778" y="704"/>
                </a:lnTo>
                <a:lnTo>
                  <a:pt x="3781" y="714"/>
                </a:lnTo>
                <a:lnTo>
                  <a:pt x="3782" y="725"/>
                </a:lnTo>
                <a:lnTo>
                  <a:pt x="3783" y="736"/>
                </a:lnTo>
                <a:lnTo>
                  <a:pt x="3782" y="747"/>
                </a:lnTo>
                <a:lnTo>
                  <a:pt x="3781" y="757"/>
                </a:lnTo>
                <a:lnTo>
                  <a:pt x="3780" y="762"/>
                </a:lnTo>
                <a:lnTo>
                  <a:pt x="3778" y="767"/>
                </a:lnTo>
                <a:lnTo>
                  <a:pt x="3775" y="777"/>
                </a:lnTo>
                <a:lnTo>
                  <a:pt x="3771" y="786"/>
                </a:lnTo>
                <a:lnTo>
                  <a:pt x="3766" y="795"/>
                </a:lnTo>
                <a:lnTo>
                  <a:pt x="3760" y="803"/>
                </a:lnTo>
                <a:lnTo>
                  <a:pt x="3753" y="811"/>
                </a:lnTo>
                <a:lnTo>
                  <a:pt x="3746" y="818"/>
                </a:lnTo>
                <a:lnTo>
                  <a:pt x="3737" y="825"/>
                </a:lnTo>
                <a:lnTo>
                  <a:pt x="3728" y="830"/>
                </a:lnTo>
                <a:lnTo>
                  <a:pt x="3719" y="835"/>
                </a:lnTo>
                <a:lnTo>
                  <a:pt x="3708" y="838"/>
                </a:lnTo>
                <a:lnTo>
                  <a:pt x="3702" y="840"/>
                </a:lnTo>
                <a:lnTo>
                  <a:pt x="3697" y="841"/>
                </a:lnTo>
                <a:lnTo>
                  <a:pt x="3685" y="842"/>
                </a:lnTo>
                <a:lnTo>
                  <a:pt x="3672" y="843"/>
                </a:lnTo>
                <a:lnTo>
                  <a:pt x="3565" y="843"/>
                </a:lnTo>
                <a:lnTo>
                  <a:pt x="3565" y="996"/>
                </a:lnTo>
                <a:close/>
                <a:moveTo>
                  <a:pt x="3668" y="815"/>
                </a:moveTo>
                <a:lnTo>
                  <a:pt x="3677" y="814"/>
                </a:lnTo>
                <a:lnTo>
                  <a:pt x="3686" y="813"/>
                </a:lnTo>
                <a:lnTo>
                  <a:pt x="3694" y="811"/>
                </a:lnTo>
                <a:lnTo>
                  <a:pt x="3702" y="809"/>
                </a:lnTo>
                <a:lnTo>
                  <a:pt x="3709" y="806"/>
                </a:lnTo>
                <a:lnTo>
                  <a:pt x="3716" y="802"/>
                </a:lnTo>
                <a:lnTo>
                  <a:pt x="3719" y="800"/>
                </a:lnTo>
                <a:lnTo>
                  <a:pt x="3722" y="797"/>
                </a:lnTo>
                <a:lnTo>
                  <a:pt x="3727" y="792"/>
                </a:lnTo>
                <a:lnTo>
                  <a:pt x="3732" y="787"/>
                </a:lnTo>
                <a:lnTo>
                  <a:pt x="3737" y="781"/>
                </a:lnTo>
                <a:lnTo>
                  <a:pt x="3741" y="774"/>
                </a:lnTo>
                <a:lnTo>
                  <a:pt x="3744" y="767"/>
                </a:lnTo>
                <a:lnTo>
                  <a:pt x="3746" y="760"/>
                </a:lnTo>
                <a:lnTo>
                  <a:pt x="3748" y="752"/>
                </a:lnTo>
                <a:lnTo>
                  <a:pt x="3749" y="744"/>
                </a:lnTo>
                <a:lnTo>
                  <a:pt x="3750" y="736"/>
                </a:lnTo>
                <a:lnTo>
                  <a:pt x="3749" y="727"/>
                </a:lnTo>
                <a:lnTo>
                  <a:pt x="3748" y="719"/>
                </a:lnTo>
                <a:lnTo>
                  <a:pt x="3746" y="711"/>
                </a:lnTo>
                <a:lnTo>
                  <a:pt x="3744" y="704"/>
                </a:lnTo>
                <a:lnTo>
                  <a:pt x="3741" y="697"/>
                </a:lnTo>
                <a:lnTo>
                  <a:pt x="3737" y="690"/>
                </a:lnTo>
                <a:lnTo>
                  <a:pt x="3732" y="684"/>
                </a:lnTo>
                <a:lnTo>
                  <a:pt x="3727" y="679"/>
                </a:lnTo>
                <a:lnTo>
                  <a:pt x="3722" y="674"/>
                </a:lnTo>
                <a:lnTo>
                  <a:pt x="3716" y="669"/>
                </a:lnTo>
                <a:lnTo>
                  <a:pt x="3709" y="666"/>
                </a:lnTo>
                <a:lnTo>
                  <a:pt x="3705" y="664"/>
                </a:lnTo>
                <a:lnTo>
                  <a:pt x="3702" y="663"/>
                </a:lnTo>
                <a:lnTo>
                  <a:pt x="3694" y="660"/>
                </a:lnTo>
                <a:lnTo>
                  <a:pt x="3686" y="658"/>
                </a:lnTo>
                <a:lnTo>
                  <a:pt x="3677" y="657"/>
                </a:lnTo>
                <a:lnTo>
                  <a:pt x="3668" y="657"/>
                </a:lnTo>
                <a:lnTo>
                  <a:pt x="3565" y="657"/>
                </a:lnTo>
                <a:lnTo>
                  <a:pt x="3565" y="815"/>
                </a:lnTo>
                <a:lnTo>
                  <a:pt x="3668" y="815"/>
                </a:lnTo>
                <a:close/>
                <a:moveTo>
                  <a:pt x="4003" y="1003"/>
                </a:moveTo>
                <a:lnTo>
                  <a:pt x="3994" y="1002"/>
                </a:lnTo>
                <a:lnTo>
                  <a:pt x="3986" y="1002"/>
                </a:lnTo>
                <a:lnTo>
                  <a:pt x="3970" y="1000"/>
                </a:lnTo>
                <a:lnTo>
                  <a:pt x="3962" y="998"/>
                </a:lnTo>
                <a:lnTo>
                  <a:pt x="3955" y="997"/>
                </a:lnTo>
                <a:lnTo>
                  <a:pt x="3947" y="995"/>
                </a:lnTo>
                <a:lnTo>
                  <a:pt x="3941" y="992"/>
                </a:lnTo>
                <a:lnTo>
                  <a:pt x="3928" y="987"/>
                </a:lnTo>
                <a:lnTo>
                  <a:pt x="3922" y="983"/>
                </a:lnTo>
                <a:lnTo>
                  <a:pt x="3916" y="980"/>
                </a:lnTo>
                <a:lnTo>
                  <a:pt x="3905" y="972"/>
                </a:lnTo>
                <a:lnTo>
                  <a:pt x="3900" y="967"/>
                </a:lnTo>
                <a:lnTo>
                  <a:pt x="3896" y="963"/>
                </a:lnTo>
                <a:lnTo>
                  <a:pt x="3887" y="952"/>
                </a:lnTo>
                <a:lnTo>
                  <a:pt x="3883" y="947"/>
                </a:lnTo>
                <a:lnTo>
                  <a:pt x="3880" y="941"/>
                </a:lnTo>
                <a:lnTo>
                  <a:pt x="3874" y="929"/>
                </a:lnTo>
                <a:lnTo>
                  <a:pt x="3871" y="923"/>
                </a:lnTo>
                <a:lnTo>
                  <a:pt x="3869" y="916"/>
                </a:lnTo>
                <a:lnTo>
                  <a:pt x="3865" y="902"/>
                </a:lnTo>
                <a:lnTo>
                  <a:pt x="3863" y="895"/>
                </a:lnTo>
                <a:lnTo>
                  <a:pt x="3862" y="887"/>
                </a:lnTo>
                <a:lnTo>
                  <a:pt x="3860" y="872"/>
                </a:lnTo>
                <a:lnTo>
                  <a:pt x="3860" y="863"/>
                </a:lnTo>
                <a:lnTo>
                  <a:pt x="3859" y="855"/>
                </a:lnTo>
                <a:lnTo>
                  <a:pt x="3859" y="628"/>
                </a:lnTo>
                <a:lnTo>
                  <a:pt x="3891" y="628"/>
                </a:lnTo>
                <a:lnTo>
                  <a:pt x="3891" y="854"/>
                </a:lnTo>
                <a:lnTo>
                  <a:pt x="3892" y="868"/>
                </a:lnTo>
                <a:lnTo>
                  <a:pt x="3893" y="881"/>
                </a:lnTo>
                <a:lnTo>
                  <a:pt x="3894" y="887"/>
                </a:lnTo>
                <a:lnTo>
                  <a:pt x="3895" y="893"/>
                </a:lnTo>
                <a:lnTo>
                  <a:pt x="3899" y="904"/>
                </a:lnTo>
                <a:lnTo>
                  <a:pt x="3903" y="915"/>
                </a:lnTo>
                <a:lnTo>
                  <a:pt x="3905" y="920"/>
                </a:lnTo>
                <a:lnTo>
                  <a:pt x="3908" y="925"/>
                </a:lnTo>
                <a:lnTo>
                  <a:pt x="3913" y="934"/>
                </a:lnTo>
                <a:lnTo>
                  <a:pt x="3917" y="938"/>
                </a:lnTo>
                <a:lnTo>
                  <a:pt x="3920" y="942"/>
                </a:lnTo>
                <a:lnTo>
                  <a:pt x="3924" y="946"/>
                </a:lnTo>
                <a:lnTo>
                  <a:pt x="3927" y="949"/>
                </a:lnTo>
                <a:lnTo>
                  <a:pt x="3936" y="956"/>
                </a:lnTo>
                <a:lnTo>
                  <a:pt x="3945" y="961"/>
                </a:lnTo>
                <a:lnTo>
                  <a:pt x="3950" y="964"/>
                </a:lnTo>
                <a:lnTo>
                  <a:pt x="3955" y="966"/>
                </a:lnTo>
                <a:lnTo>
                  <a:pt x="3966" y="969"/>
                </a:lnTo>
                <a:lnTo>
                  <a:pt x="3977" y="972"/>
                </a:lnTo>
                <a:lnTo>
                  <a:pt x="3983" y="973"/>
                </a:lnTo>
                <a:lnTo>
                  <a:pt x="3990" y="973"/>
                </a:lnTo>
                <a:lnTo>
                  <a:pt x="4003" y="974"/>
                </a:lnTo>
                <a:lnTo>
                  <a:pt x="4016" y="973"/>
                </a:lnTo>
                <a:lnTo>
                  <a:pt x="4028" y="972"/>
                </a:lnTo>
                <a:lnTo>
                  <a:pt x="4040" y="969"/>
                </a:lnTo>
                <a:lnTo>
                  <a:pt x="4051" y="966"/>
                </a:lnTo>
                <a:lnTo>
                  <a:pt x="4056" y="964"/>
                </a:lnTo>
                <a:lnTo>
                  <a:pt x="4061" y="961"/>
                </a:lnTo>
                <a:lnTo>
                  <a:pt x="4070" y="956"/>
                </a:lnTo>
                <a:lnTo>
                  <a:pt x="4074" y="953"/>
                </a:lnTo>
                <a:lnTo>
                  <a:pt x="4078" y="949"/>
                </a:lnTo>
                <a:lnTo>
                  <a:pt x="4082" y="946"/>
                </a:lnTo>
                <a:lnTo>
                  <a:pt x="4086" y="942"/>
                </a:lnTo>
                <a:lnTo>
                  <a:pt x="4092" y="934"/>
                </a:lnTo>
                <a:lnTo>
                  <a:pt x="4098" y="925"/>
                </a:lnTo>
                <a:lnTo>
                  <a:pt x="4103" y="915"/>
                </a:lnTo>
                <a:lnTo>
                  <a:pt x="4107" y="904"/>
                </a:lnTo>
                <a:lnTo>
                  <a:pt x="4110" y="893"/>
                </a:lnTo>
                <a:lnTo>
                  <a:pt x="4111" y="887"/>
                </a:lnTo>
                <a:lnTo>
                  <a:pt x="4112" y="881"/>
                </a:lnTo>
                <a:lnTo>
                  <a:pt x="4114" y="868"/>
                </a:lnTo>
                <a:lnTo>
                  <a:pt x="4114" y="854"/>
                </a:lnTo>
                <a:lnTo>
                  <a:pt x="4114" y="628"/>
                </a:lnTo>
                <a:lnTo>
                  <a:pt x="4146" y="628"/>
                </a:lnTo>
                <a:lnTo>
                  <a:pt x="4146" y="855"/>
                </a:lnTo>
                <a:lnTo>
                  <a:pt x="4146" y="872"/>
                </a:lnTo>
                <a:lnTo>
                  <a:pt x="4144" y="887"/>
                </a:lnTo>
                <a:lnTo>
                  <a:pt x="4141" y="902"/>
                </a:lnTo>
                <a:lnTo>
                  <a:pt x="4137" y="916"/>
                </a:lnTo>
                <a:lnTo>
                  <a:pt x="4132" y="929"/>
                </a:lnTo>
                <a:lnTo>
                  <a:pt x="4126" y="941"/>
                </a:lnTo>
                <a:lnTo>
                  <a:pt x="4119" y="953"/>
                </a:lnTo>
                <a:lnTo>
                  <a:pt x="4110" y="963"/>
                </a:lnTo>
                <a:lnTo>
                  <a:pt x="4100" y="972"/>
                </a:lnTo>
                <a:lnTo>
                  <a:pt x="4090" y="980"/>
                </a:lnTo>
                <a:lnTo>
                  <a:pt x="4084" y="983"/>
                </a:lnTo>
                <a:lnTo>
                  <a:pt x="4078" y="987"/>
                </a:lnTo>
                <a:lnTo>
                  <a:pt x="4072" y="990"/>
                </a:lnTo>
                <a:lnTo>
                  <a:pt x="4065" y="992"/>
                </a:lnTo>
                <a:lnTo>
                  <a:pt x="4058" y="995"/>
                </a:lnTo>
                <a:lnTo>
                  <a:pt x="4051" y="997"/>
                </a:lnTo>
                <a:lnTo>
                  <a:pt x="4036" y="1000"/>
                </a:lnTo>
                <a:lnTo>
                  <a:pt x="4020" y="1002"/>
                </a:lnTo>
                <a:lnTo>
                  <a:pt x="4012" y="1002"/>
                </a:lnTo>
                <a:lnTo>
                  <a:pt x="4003" y="1003"/>
                </a:lnTo>
                <a:close/>
                <a:moveTo>
                  <a:pt x="4545" y="996"/>
                </a:moveTo>
                <a:lnTo>
                  <a:pt x="4513" y="996"/>
                </a:lnTo>
                <a:lnTo>
                  <a:pt x="4513" y="821"/>
                </a:lnTo>
                <a:lnTo>
                  <a:pt x="4280" y="821"/>
                </a:lnTo>
                <a:lnTo>
                  <a:pt x="4280" y="996"/>
                </a:lnTo>
                <a:lnTo>
                  <a:pt x="4249" y="996"/>
                </a:lnTo>
                <a:lnTo>
                  <a:pt x="4249" y="628"/>
                </a:lnTo>
                <a:lnTo>
                  <a:pt x="4280" y="628"/>
                </a:lnTo>
                <a:lnTo>
                  <a:pt x="4280" y="793"/>
                </a:lnTo>
                <a:lnTo>
                  <a:pt x="4513" y="793"/>
                </a:lnTo>
                <a:lnTo>
                  <a:pt x="4513" y="628"/>
                </a:lnTo>
                <a:lnTo>
                  <a:pt x="4545" y="628"/>
                </a:lnTo>
                <a:lnTo>
                  <a:pt x="4545" y="996"/>
                </a:lnTo>
                <a:close/>
                <a:moveTo>
                  <a:pt x="4773" y="996"/>
                </a:moveTo>
                <a:lnTo>
                  <a:pt x="4741" y="996"/>
                </a:lnTo>
                <a:lnTo>
                  <a:pt x="4741" y="657"/>
                </a:lnTo>
                <a:lnTo>
                  <a:pt x="4621" y="657"/>
                </a:lnTo>
                <a:lnTo>
                  <a:pt x="4621" y="628"/>
                </a:lnTo>
                <a:lnTo>
                  <a:pt x="4893" y="628"/>
                </a:lnTo>
                <a:lnTo>
                  <a:pt x="4893" y="657"/>
                </a:lnTo>
                <a:lnTo>
                  <a:pt x="4773" y="657"/>
                </a:lnTo>
                <a:lnTo>
                  <a:pt x="4773" y="996"/>
                </a:lnTo>
                <a:close/>
                <a:moveTo>
                  <a:pt x="5235" y="996"/>
                </a:moveTo>
                <a:lnTo>
                  <a:pt x="5199" y="996"/>
                </a:lnTo>
                <a:lnTo>
                  <a:pt x="5162" y="906"/>
                </a:lnTo>
                <a:lnTo>
                  <a:pt x="4967" y="906"/>
                </a:lnTo>
                <a:lnTo>
                  <a:pt x="4931" y="996"/>
                </a:lnTo>
                <a:lnTo>
                  <a:pt x="4895" y="996"/>
                </a:lnTo>
                <a:lnTo>
                  <a:pt x="5045" y="628"/>
                </a:lnTo>
                <a:lnTo>
                  <a:pt x="5084" y="628"/>
                </a:lnTo>
                <a:lnTo>
                  <a:pt x="5235" y="996"/>
                </a:lnTo>
                <a:close/>
                <a:moveTo>
                  <a:pt x="5152" y="877"/>
                </a:moveTo>
                <a:lnTo>
                  <a:pt x="5065" y="662"/>
                </a:lnTo>
                <a:lnTo>
                  <a:pt x="4978" y="877"/>
                </a:lnTo>
                <a:lnTo>
                  <a:pt x="5152" y="877"/>
                </a:lnTo>
                <a:close/>
                <a:moveTo>
                  <a:pt x="5604" y="996"/>
                </a:moveTo>
                <a:lnTo>
                  <a:pt x="5567" y="996"/>
                </a:lnTo>
                <a:lnTo>
                  <a:pt x="5531" y="906"/>
                </a:lnTo>
                <a:lnTo>
                  <a:pt x="5335" y="906"/>
                </a:lnTo>
                <a:lnTo>
                  <a:pt x="5299" y="996"/>
                </a:lnTo>
                <a:lnTo>
                  <a:pt x="5262" y="996"/>
                </a:lnTo>
                <a:lnTo>
                  <a:pt x="5414" y="628"/>
                </a:lnTo>
                <a:lnTo>
                  <a:pt x="5453" y="628"/>
                </a:lnTo>
                <a:lnTo>
                  <a:pt x="5604" y="996"/>
                </a:lnTo>
                <a:close/>
                <a:moveTo>
                  <a:pt x="5520" y="877"/>
                </a:moveTo>
                <a:lnTo>
                  <a:pt x="5434" y="662"/>
                </a:lnTo>
                <a:lnTo>
                  <a:pt x="5346" y="877"/>
                </a:lnTo>
                <a:lnTo>
                  <a:pt x="5520" y="877"/>
                </a:lnTo>
                <a:close/>
                <a:moveTo>
                  <a:pt x="6012" y="996"/>
                </a:moveTo>
                <a:lnTo>
                  <a:pt x="5981" y="996"/>
                </a:lnTo>
                <a:lnTo>
                  <a:pt x="5981" y="668"/>
                </a:lnTo>
                <a:lnTo>
                  <a:pt x="5846" y="996"/>
                </a:lnTo>
                <a:lnTo>
                  <a:pt x="5834" y="996"/>
                </a:lnTo>
                <a:lnTo>
                  <a:pt x="5700" y="668"/>
                </a:lnTo>
                <a:lnTo>
                  <a:pt x="5700" y="996"/>
                </a:lnTo>
                <a:lnTo>
                  <a:pt x="5668" y="996"/>
                </a:lnTo>
                <a:lnTo>
                  <a:pt x="5668" y="628"/>
                </a:lnTo>
                <a:lnTo>
                  <a:pt x="5715" y="628"/>
                </a:lnTo>
                <a:lnTo>
                  <a:pt x="5840" y="934"/>
                </a:lnTo>
                <a:lnTo>
                  <a:pt x="5965" y="628"/>
                </a:lnTo>
                <a:lnTo>
                  <a:pt x="6012" y="628"/>
                </a:lnTo>
                <a:lnTo>
                  <a:pt x="6012" y="996"/>
                </a:lnTo>
                <a:close/>
                <a:moveTo>
                  <a:pt x="6459" y="996"/>
                </a:moveTo>
                <a:lnTo>
                  <a:pt x="6427" y="996"/>
                </a:lnTo>
                <a:lnTo>
                  <a:pt x="6427" y="668"/>
                </a:lnTo>
                <a:lnTo>
                  <a:pt x="6293" y="996"/>
                </a:lnTo>
                <a:lnTo>
                  <a:pt x="6281" y="996"/>
                </a:lnTo>
                <a:lnTo>
                  <a:pt x="6146" y="668"/>
                </a:lnTo>
                <a:lnTo>
                  <a:pt x="6146" y="996"/>
                </a:lnTo>
                <a:lnTo>
                  <a:pt x="6115" y="996"/>
                </a:lnTo>
                <a:lnTo>
                  <a:pt x="6115" y="628"/>
                </a:lnTo>
                <a:lnTo>
                  <a:pt x="6161" y="628"/>
                </a:lnTo>
                <a:lnTo>
                  <a:pt x="6287" y="934"/>
                </a:lnTo>
                <a:lnTo>
                  <a:pt x="6411" y="628"/>
                </a:lnTo>
                <a:lnTo>
                  <a:pt x="6459" y="628"/>
                </a:lnTo>
                <a:lnTo>
                  <a:pt x="6459" y="996"/>
                </a:lnTo>
                <a:close/>
                <a:moveTo>
                  <a:pt x="6864" y="996"/>
                </a:moveTo>
                <a:lnTo>
                  <a:pt x="6827" y="996"/>
                </a:lnTo>
                <a:lnTo>
                  <a:pt x="6791" y="906"/>
                </a:lnTo>
                <a:lnTo>
                  <a:pt x="6596" y="906"/>
                </a:lnTo>
                <a:lnTo>
                  <a:pt x="6560" y="996"/>
                </a:lnTo>
                <a:lnTo>
                  <a:pt x="6523" y="996"/>
                </a:lnTo>
                <a:lnTo>
                  <a:pt x="6674" y="628"/>
                </a:lnTo>
                <a:lnTo>
                  <a:pt x="6713" y="628"/>
                </a:lnTo>
                <a:lnTo>
                  <a:pt x="6864" y="996"/>
                </a:lnTo>
                <a:close/>
                <a:moveTo>
                  <a:pt x="6780" y="877"/>
                </a:moveTo>
                <a:lnTo>
                  <a:pt x="6694" y="662"/>
                </a:lnTo>
                <a:lnTo>
                  <a:pt x="6607" y="877"/>
                </a:lnTo>
                <a:lnTo>
                  <a:pt x="6780" y="877"/>
                </a:lnTo>
                <a:close/>
                <a:moveTo>
                  <a:pt x="7222" y="996"/>
                </a:moveTo>
                <a:lnTo>
                  <a:pt x="7191" y="996"/>
                </a:lnTo>
                <a:lnTo>
                  <a:pt x="6960" y="680"/>
                </a:lnTo>
                <a:lnTo>
                  <a:pt x="6960" y="996"/>
                </a:lnTo>
                <a:lnTo>
                  <a:pt x="6928" y="996"/>
                </a:lnTo>
                <a:lnTo>
                  <a:pt x="6928" y="628"/>
                </a:lnTo>
                <a:lnTo>
                  <a:pt x="6960" y="628"/>
                </a:lnTo>
                <a:lnTo>
                  <a:pt x="7191" y="940"/>
                </a:lnTo>
                <a:lnTo>
                  <a:pt x="7191" y="628"/>
                </a:lnTo>
                <a:lnTo>
                  <a:pt x="7222" y="628"/>
                </a:lnTo>
                <a:lnTo>
                  <a:pt x="7222" y="996"/>
                </a:lnTo>
                <a:close/>
                <a:moveTo>
                  <a:pt x="838" y="444"/>
                </a:moveTo>
                <a:lnTo>
                  <a:pt x="802" y="444"/>
                </a:lnTo>
                <a:lnTo>
                  <a:pt x="765" y="354"/>
                </a:lnTo>
                <a:lnTo>
                  <a:pt x="571" y="354"/>
                </a:lnTo>
                <a:lnTo>
                  <a:pt x="534" y="444"/>
                </a:lnTo>
                <a:lnTo>
                  <a:pt x="498" y="444"/>
                </a:lnTo>
                <a:lnTo>
                  <a:pt x="648" y="77"/>
                </a:lnTo>
                <a:lnTo>
                  <a:pt x="688" y="77"/>
                </a:lnTo>
                <a:lnTo>
                  <a:pt x="838" y="444"/>
                </a:lnTo>
                <a:close/>
                <a:moveTo>
                  <a:pt x="755" y="325"/>
                </a:moveTo>
                <a:lnTo>
                  <a:pt x="668" y="110"/>
                </a:lnTo>
                <a:lnTo>
                  <a:pt x="581" y="325"/>
                </a:lnTo>
                <a:lnTo>
                  <a:pt x="755" y="325"/>
                </a:lnTo>
                <a:close/>
                <a:moveTo>
                  <a:pt x="1007" y="451"/>
                </a:moveTo>
                <a:lnTo>
                  <a:pt x="996" y="451"/>
                </a:lnTo>
                <a:lnTo>
                  <a:pt x="985" y="450"/>
                </a:lnTo>
                <a:lnTo>
                  <a:pt x="975" y="448"/>
                </a:lnTo>
                <a:lnTo>
                  <a:pt x="965" y="447"/>
                </a:lnTo>
                <a:lnTo>
                  <a:pt x="955" y="444"/>
                </a:lnTo>
                <a:lnTo>
                  <a:pt x="945" y="442"/>
                </a:lnTo>
                <a:lnTo>
                  <a:pt x="936" y="438"/>
                </a:lnTo>
                <a:lnTo>
                  <a:pt x="928" y="434"/>
                </a:lnTo>
                <a:lnTo>
                  <a:pt x="919" y="430"/>
                </a:lnTo>
                <a:lnTo>
                  <a:pt x="912" y="426"/>
                </a:lnTo>
                <a:lnTo>
                  <a:pt x="904" y="421"/>
                </a:lnTo>
                <a:lnTo>
                  <a:pt x="897" y="416"/>
                </a:lnTo>
                <a:lnTo>
                  <a:pt x="890" y="411"/>
                </a:lnTo>
                <a:lnTo>
                  <a:pt x="884" y="405"/>
                </a:lnTo>
                <a:lnTo>
                  <a:pt x="878" y="399"/>
                </a:lnTo>
                <a:lnTo>
                  <a:pt x="873" y="393"/>
                </a:lnTo>
                <a:lnTo>
                  <a:pt x="893" y="369"/>
                </a:lnTo>
                <a:lnTo>
                  <a:pt x="903" y="379"/>
                </a:lnTo>
                <a:lnTo>
                  <a:pt x="908" y="384"/>
                </a:lnTo>
                <a:lnTo>
                  <a:pt x="914" y="389"/>
                </a:lnTo>
                <a:lnTo>
                  <a:pt x="926" y="398"/>
                </a:lnTo>
                <a:lnTo>
                  <a:pt x="940" y="406"/>
                </a:lnTo>
                <a:lnTo>
                  <a:pt x="947" y="410"/>
                </a:lnTo>
                <a:lnTo>
                  <a:pt x="955" y="413"/>
                </a:lnTo>
                <a:lnTo>
                  <a:pt x="963" y="416"/>
                </a:lnTo>
                <a:lnTo>
                  <a:pt x="971" y="418"/>
                </a:lnTo>
                <a:lnTo>
                  <a:pt x="980" y="420"/>
                </a:lnTo>
                <a:lnTo>
                  <a:pt x="989" y="421"/>
                </a:lnTo>
                <a:lnTo>
                  <a:pt x="999" y="422"/>
                </a:lnTo>
                <a:lnTo>
                  <a:pt x="1008" y="422"/>
                </a:lnTo>
                <a:lnTo>
                  <a:pt x="1017" y="422"/>
                </a:lnTo>
                <a:lnTo>
                  <a:pt x="1026" y="422"/>
                </a:lnTo>
                <a:lnTo>
                  <a:pt x="1034" y="421"/>
                </a:lnTo>
                <a:lnTo>
                  <a:pt x="1041" y="419"/>
                </a:lnTo>
                <a:lnTo>
                  <a:pt x="1049" y="418"/>
                </a:lnTo>
                <a:lnTo>
                  <a:pt x="1055" y="415"/>
                </a:lnTo>
                <a:lnTo>
                  <a:pt x="1061" y="413"/>
                </a:lnTo>
                <a:lnTo>
                  <a:pt x="1067" y="410"/>
                </a:lnTo>
                <a:lnTo>
                  <a:pt x="1076" y="404"/>
                </a:lnTo>
                <a:lnTo>
                  <a:pt x="1085" y="398"/>
                </a:lnTo>
                <a:lnTo>
                  <a:pt x="1088" y="394"/>
                </a:lnTo>
                <a:lnTo>
                  <a:pt x="1091" y="390"/>
                </a:lnTo>
                <a:lnTo>
                  <a:pt x="1094" y="386"/>
                </a:lnTo>
                <a:lnTo>
                  <a:pt x="1096" y="382"/>
                </a:lnTo>
                <a:lnTo>
                  <a:pt x="1100" y="374"/>
                </a:lnTo>
                <a:lnTo>
                  <a:pt x="1103" y="365"/>
                </a:lnTo>
                <a:lnTo>
                  <a:pt x="1104" y="357"/>
                </a:lnTo>
                <a:lnTo>
                  <a:pt x="1105" y="349"/>
                </a:lnTo>
                <a:lnTo>
                  <a:pt x="1104" y="341"/>
                </a:lnTo>
                <a:lnTo>
                  <a:pt x="1103" y="334"/>
                </a:lnTo>
                <a:lnTo>
                  <a:pt x="1101" y="327"/>
                </a:lnTo>
                <a:lnTo>
                  <a:pt x="1099" y="321"/>
                </a:lnTo>
                <a:lnTo>
                  <a:pt x="1095" y="315"/>
                </a:lnTo>
                <a:lnTo>
                  <a:pt x="1092" y="310"/>
                </a:lnTo>
                <a:lnTo>
                  <a:pt x="1087" y="305"/>
                </a:lnTo>
                <a:lnTo>
                  <a:pt x="1085" y="303"/>
                </a:lnTo>
                <a:lnTo>
                  <a:pt x="1082" y="301"/>
                </a:lnTo>
                <a:lnTo>
                  <a:pt x="1070" y="293"/>
                </a:lnTo>
                <a:lnTo>
                  <a:pt x="1064" y="290"/>
                </a:lnTo>
                <a:lnTo>
                  <a:pt x="1057" y="287"/>
                </a:lnTo>
                <a:lnTo>
                  <a:pt x="1043" y="281"/>
                </a:lnTo>
                <a:lnTo>
                  <a:pt x="1027" y="276"/>
                </a:lnTo>
                <a:lnTo>
                  <a:pt x="995" y="267"/>
                </a:lnTo>
                <a:lnTo>
                  <a:pt x="962" y="257"/>
                </a:lnTo>
                <a:lnTo>
                  <a:pt x="954" y="254"/>
                </a:lnTo>
                <a:lnTo>
                  <a:pt x="946" y="251"/>
                </a:lnTo>
                <a:lnTo>
                  <a:pt x="939" y="248"/>
                </a:lnTo>
                <a:lnTo>
                  <a:pt x="932" y="244"/>
                </a:lnTo>
                <a:lnTo>
                  <a:pt x="925" y="240"/>
                </a:lnTo>
                <a:lnTo>
                  <a:pt x="919" y="236"/>
                </a:lnTo>
                <a:lnTo>
                  <a:pt x="907" y="226"/>
                </a:lnTo>
                <a:lnTo>
                  <a:pt x="902" y="221"/>
                </a:lnTo>
                <a:lnTo>
                  <a:pt x="897" y="215"/>
                </a:lnTo>
                <a:lnTo>
                  <a:pt x="894" y="209"/>
                </a:lnTo>
                <a:lnTo>
                  <a:pt x="890" y="202"/>
                </a:lnTo>
                <a:lnTo>
                  <a:pt x="888" y="195"/>
                </a:lnTo>
                <a:lnTo>
                  <a:pt x="886" y="186"/>
                </a:lnTo>
                <a:lnTo>
                  <a:pt x="885" y="178"/>
                </a:lnTo>
                <a:lnTo>
                  <a:pt x="884" y="169"/>
                </a:lnTo>
                <a:lnTo>
                  <a:pt x="885" y="158"/>
                </a:lnTo>
                <a:lnTo>
                  <a:pt x="887" y="147"/>
                </a:lnTo>
                <a:lnTo>
                  <a:pt x="888" y="142"/>
                </a:lnTo>
                <a:lnTo>
                  <a:pt x="890" y="137"/>
                </a:lnTo>
                <a:lnTo>
                  <a:pt x="894" y="128"/>
                </a:lnTo>
                <a:lnTo>
                  <a:pt x="899" y="119"/>
                </a:lnTo>
                <a:lnTo>
                  <a:pt x="901" y="115"/>
                </a:lnTo>
                <a:lnTo>
                  <a:pt x="905" y="111"/>
                </a:lnTo>
                <a:lnTo>
                  <a:pt x="912" y="104"/>
                </a:lnTo>
                <a:lnTo>
                  <a:pt x="920" y="97"/>
                </a:lnTo>
                <a:lnTo>
                  <a:pt x="924" y="94"/>
                </a:lnTo>
                <a:lnTo>
                  <a:pt x="928" y="91"/>
                </a:lnTo>
                <a:lnTo>
                  <a:pt x="938" y="86"/>
                </a:lnTo>
                <a:lnTo>
                  <a:pt x="948" y="81"/>
                </a:lnTo>
                <a:lnTo>
                  <a:pt x="958" y="77"/>
                </a:lnTo>
                <a:lnTo>
                  <a:pt x="969" y="75"/>
                </a:lnTo>
                <a:lnTo>
                  <a:pt x="980" y="72"/>
                </a:lnTo>
                <a:lnTo>
                  <a:pt x="992" y="71"/>
                </a:lnTo>
                <a:lnTo>
                  <a:pt x="1005" y="71"/>
                </a:lnTo>
                <a:lnTo>
                  <a:pt x="1015" y="71"/>
                </a:lnTo>
                <a:lnTo>
                  <a:pt x="1025" y="71"/>
                </a:lnTo>
                <a:lnTo>
                  <a:pt x="1034" y="73"/>
                </a:lnTo>
                <a:lnTo>
                  <a:pt x="1044" y="74"/>
                </a:lnTo>
                <a:lnTo>
                  <a:pt x="1052" y="76"/>
                </a:lnTo>
                <a:lnTo>
                  <a:pt x="1061" y="78"/>
                </a:lnTo>
                <a:lnTo>
                  <a:pt x="1069" y="81"/>
                </a:lnTo>
                <a:lnTo>
                  <a:pt x="1077" y="84"/>
                </a:lnTo>
                <a:lnTo>
                  <a:pt x="1085" y="88"/>
                </a:lnTo>
                <a:lnTo>
                  <a:pt x="1092" y="92"/>
                </a:lnTo>
                <a:lnTo>
                  <a:pt x="1106" y="101"/>
                </a:lnTo>
                <a:lnTo>
                  <a:pt x="1112" y="105"/>
                </a:lnTo>
                <a:lnTo>
                  <a:pt x="1118" y="111"/>
                </a:lnTo>
                <a:lnTo>
                  <a:pt x="1124" y="116"/>
                </a:lnTo>
                <a:lnTo>
                  <a:pt x="1130" y="122"/>
                </a:lnTo>
                <a:lnTo>
                  <a:pt x="1109" y="146"/>
                </a:lnTo>
                <a:lnTo>
                  <a:pt x="1104" y="140"/>
                </a:lnTo>
                <a:lnTo>
                  <a:pt x="1098" y="134"/>
                </a:lnTo>
                <a:lnTo>
                  <a:pt x="1093" y="129"/>
                </a:lnTo>
                <a:lnTo>
                  <a:pt x="1087" y="125"/>
                </a:lnTo>
                <a:lnTo>
                  <a:pt x="1081" y="121"/>
                </a:lnTo>
                <a:lnTo>
                  <a:pt x="1075" y="117"/>
                </a:lnTo>
                <a:lnTo>
                  <a:pt x="1068" y="113"/>
                </a:lnTo>
                <a:lnTo>
                  <a:pt x="1062" y="110"/>
                </a:lnTo>
                <a:lnTo>
                  <a:pt x="1055" y="108"/>
                </a:lnTo>
                <a:lnTo>
                  <a:pt x="1048" y="105"/>
                </a:lnTo>
                <a:lnTo>
                  <a:pt x="1041" y="103"/>
                </a:lnTo>
                <a:lnTo>
                  <a:pt x="1034" y="102"/>
                </a:lnTo>
                <a:lnTo>
                  <a:pt x="1026" y="101"/>
                </a:lnTo>
                <a:lnTo>
                  <a:pt x="1019" y="100"/>
                </a:lnTo>
                <a:lnTo>
                  <a:pt x="1003" y="99"/>
                </a:lnTo>
                <a:lnTo>
                  <a:pt x="994" y="100"/>
                </a:lnTo>
                <a:lnTo>
                  <a:pt x="985" y="101"/>
                </a:lnTo>
                <a:lnTo>
                  <a:pt x="977" y="102"/>
                </a:lnTo>
                <a:lnTo>
                  <a:pt x="969" y="104"/>
                </a:lnTo>
                <a:lnTo>
                  <a:pt x="962" y="107"/>
                </a:lnTo>
                <a:lnTo>
                  <a:pt x="955" y="110"/>
                </a:lnTo>
                <a:lnTo>
                  <a:pt x="948" y="114"/>
                </a:lnTo>
                <a:lnTo>
                  <a:pt x="942" y="118"/>
                </a:lnTo>
                <a:lnTo>
                  <a:pt x="936" y="123"/>
                </a:lnTo>
                <a:lnTo>
                  <a:pt x="931" y="128"/>
                </a:lnTo>
                <a:lnTo>
                  <a:pt x="927" y="134"/>
                </a:lnTo>
                <a:lnTo>
                  <a:pt x="924" y="140"/>
                </a:lnTo>
                <a:lnTo>
                  <a:pt x="921" y="146"/>
                </a:lnTo>
                <a:lnTo>
                  <a:pt x="919" y="153"/>
                </a:lnTo>
                <a:lnTo>
                  <a:pt x="918" y="160"/>
                </a:lnTo>
                <a:lnTo>
                  <a:pt x="917" y="167"/>
                </a:lnTo>
                <a:lnTo>
                  <a:pt x="918" y="174"/>
                </a:lnTo>
                <a:lnTo>
                  <a:pt x="919" y="180"/>
                </a:lnTo>
                <a:lnTo>
                  <a:pt x="921" y="186"/>
                </a:lnTo>
                <a:lnTo>
                  <a:pt x="923" y="191"/>
                </a:lnTo>
                <a:lnTo>
                  <a:pt x="927" y="196"/>
                </a:lnTo>
                <a:lnTo>
                  <a:pt x="930" y="201"/>
                </a:lnTo>
                <a:lnTo>
                  <a:pt x="935" y="205"/>
                </a:lnTo>
                <a:lnTo>
                  <a:pt x="940" y="209"/>
                </a:lnTo>
                <a:lnTo>
                  <a:pt x="952" y="215"/>
                </a:lnTo>
                <a:lnTo>
                  <a:pt x="958" y="219"/>
                </a:lnTo>
                <a:lnTo>
                  <a:pt x="965" y="222"/>
                </a:lnTo>
                <a:lnTo>
                  <a:pt x="972" y="224"/>
                </a:lnTo>
                <a:lnTo>
                  <a:pt x="979" y="227"/>
                </a:lnTo>
                <a:lnTo>
                  <a:pt x="995" y="232"/>
                </a:lnTo>
                <a:lnTo>
                  <a:pt x="1028" y="241"/>
                </a:lnTo>
                <a:lnTo>
                  <a:pt x="1060" y="251"/>
                </a:lnTo>
                <a:lnTo>
                  <a:pt x="1068" y="254"/>
                </a:lnTo>
                <a:lnTo>
                  <a:pt x="1076" y="258"/>
                </a:lnTo>
                <a:lnTo>
                  <a:pt x="1080" y="259"/>
                </a:lnTo>
                <a:lnTo>
                  <a:pt x="1083" y="261"/>
                </a:lnTo>
                <a:lnTo>
                  <a:pt x="1090" y="265"/>
                </a:lnTo>
                <a:lnTo>
                  <a:pt x="1097" y="270"/>
                </a:lnTo>
                <a:lnTo>
                  <a:pt x="1103" y="274"/>
                </a:lnTo>
                <a:lnTo>
                  <a:pt x="1109" y="279"/>
                </a:lnTo>
                <a:lnTo>
                  <a:pt x="1115" y="284"/>
                </a:lnTo>
                <a:lnTo>
                  <a:pt x="1120" y="290"/>
                </a:lnTo>
                <a:lnTo>
                  <a:pt x="1125" y="297"/>
                </a:lnTo>
                <a:lnTo>
                  <a:pt x="1127" y="300"/>
                </a:lnTo>
                <a:lnTo>
                  <a:pt x="1128" y="303"/>
                </a:lnTo>
                <a:lnTo>
                  <a:pt x="1132" y="311"/>
                </a:lnTo>
                <a:lnTo>
                  <a:pt x="1134" y="319"/>
                </a:lnTo>
                <a:lnTo>
                  <a:pt x="1136" y="328"/>
                </a:lnTo>
                <a:lnTo>
                  <a:pt x="1137" y="337"/>
                </a:lnTo>
                <a:lnTo>
                  <a:pt x="1138" y="347"/>
                </a:lnTo>
                <a:lnTo>
                  <a:pt x="1137" y="359"/>
                </a:lnTo>
                <a:lnTo>
                  <a:pt x="1135" y="371"/>
                </a:lnTo>
                <a:lnTo>
                  <a:pt x="1131" y="383"/>
                </a:lnTo>
                <a:lnTo>
                  <a:pt x="1126" y="395"/>
                </a:lnTo>
                <a:lnTo>
                  <a:pt x="1123" y="401"/>
                </a:lnTo>
                <a:lnTo>
                  <a:pt x="1119" y="406"/>
                </a:lnTo>
                <a:lnTo>
                  <a:pt x="1115" y="412"/>
                </a:lnTo>
                <a:lnTo>
                  <a:pt x="1110" y="417"/>
                </a:lnTo>
                <a:lnTo>
                  <a:pt x="1104" y="422"/>
                </a:lnTo>
                <a:lnTo>
                  <a:pt x="1099" y="426"/>
                </a:lnTo>
                <a:lnTo>
                  <a:pt x="1092" y="430"/>
                </a:lnTo>
                <a:lnTo>
                  <a:pt x="1085" y="435"/>
                </a:lnTo>
                <a:lnTo>
                  <a:pt x="1078" y="438"/>
                </a:lnTo>
                <a:lnTo>
                  <a:pt x="1070" y="442"/>
                </a:lnTo>
                <a:lnTo>
                  <a:pt x="1061" y="444"/>
                </a:lnTo>
                <a:lnTo>
                  <a:pt x="1051" y="447"/>
                </a:lnTo>
                <a:lnTo>
                  <a:pt x="1041" y="448"/>
                </a:lnTo>
                <a:lnTo>
                  <a:pt x="1031" y="450"/>
                </a:lnTo>
                <a:lnTo>
                  <a:pt x="1019" y="451"/>
                </a:lnTo>
                <a:lnTo>
                  <a:pt x="1007" y="451"/>
                </a:lnTo>
                <a:close/>
                <a:moveTo>
                  <a:pt x="1255" y="444"/>
                </a:moveTo>
                <a:lnTo>
                  <a:pt x="1224" y="444"/>
                </a:lnTo>
                <a:lnTo>
                  <a:pt x="1224" y="77"/>
                </a:lnTo>
                <a:lnTo>
                  <a:pt x="1255" y="77"/>
                </a:lnTo>
                <a:lnTo>
                  <a:pt x="1255" y="444"/>
                </a:lnTo>
                <a:close/>
                <a:moveTo>
                  <a:pt x="1661" y="444"/>
                </a:moveTo>
                <a:lnTo>
                  <a:pt x="1624" y="444"/>
                </a:lnTo>
                <a:lnTo>
                  <a:pt x="1588" y="354"/>
                </a:lnTo>
                <a:lnTo>
                  <a:pt x="1393" y="354"/>
                </a:lnTo>
                <a:lnTo>
                  <a:pt x="1357" y="444"/>
                </a:lnTo>
                <a:lnTo>
                  <a:pt x="1320" y="444"/>
                </a:lnTo>
                <a:lnTo>
                  <a:pt x="1471" y="77"/>
                </a:lnTo>
                <a:lnTo>
                  <a:pt x="1510" y="77"/>
                </a:lnTo>
                <a:lnTo>
                  <a:pt x="1661" y="444"/>
                </a:lnTo>
                <a:close/>
                <a:moveTo>
                  <a:pt x="1577" y="325"/>
                </a:moveTo>
                <a:lnTo>
                  <a:pt x="1491" y="110"/>
                </a:lnTo>
                <a:lnTo>
                  <a:pt x="1404" y="325"/>
                </a:lnTo>
                <a:lnTo>
                  <a:pt x="1577" y="325"/>
                </a:lnTo>
                <a:close/>
                <a:moveTo>
                  <a:pt x="1991" y="444"/>
                </a:moveTo>
                <a:lnTo>
                  <a:pt x="1950" y="444"/>
                </a:lnTo>
                <a:lnTo>
                  <a:pt x="1798" y="271"/>
                </a:lnTo>
                <a:lnTo>
                  <a:pt x="1757" y="316"/>
                </a:lnTo>
                <a:lnTo>
                  <a:pt x="1757" y="444"/>
                </a:lnTo>
                <a:lnTo>
                  <a:pt x="1725" y="444"/>
                </a:lnTo>
                <a:lnTo>
                  <a:pt x="1725" y="77"/>
                </a:lnTo>
                <a:lnTo>
                  <a:pt x="1757" y="77"/>
                </a:lnTo>
                <a:lnTo>
                  <a:pt x="1757" y="278"/>
                </a:lnTo>
                <a:lnTo>
                  <a:pt x="1935" y="77"/>
                </a:lnTo>
                <a:lnTo>
                  <a:pt x="1976" y="77"/>
                </a:lnTo>
                <a:lnTo>
                  <a:pt x="1819" y="252"/>
                </a:lnTo>
                <a:lnTo>
                  <a:pt x="1991" y="444"/>
                </a:lnTo>
                <a:close/>
                <a:moveTo>
                  <a:pt x="2325" y="444"/>
                </a:moveTo>
                <a:lnTo>
                  <a:pt x="2284" y="444"/>
                </a:lnTo>
                <a:lnTo>
                  <a:pt x="2133" y="271"/>
                </a:lnTo>
                <a:lnTo>
                  <a:pt x="2092" y="316"/>
                </a:lnTo>
                <a:lnTo>
                  <a:pt x="2092" y="444"/>
                </a:lnTo>
                <a:lnTo>
                  <a:pt x="2061" y="444"/>
                </a:lnTo>
                <a:lnTo>
                  <a:pt x="2061" y="77"/>
                </a:lnTo>
                <a:lnTo>
                  <a:pt x="2092" y="77"/>
                </a:lnTo>
                <a:lnTo>
                  <a:pt x="2092" y="278"/>
                </a:lnTo>
                <a:lnTo>
                  <a:pt x="2270" y="77"/>
                </a:lnTo>
                <a:lnTo>
                  <a:pt x="2310" y="77"/>
                </a:lnTo>
                <a:lnTo>
                  <a:pt x="2153" y="252"/>
                </a:lnTo>
                <a:lnTo>
                  <a:pt x="2325" y="444"/>
                </a:lnTo>
                <a:close/>
                <a:moveTo>
                  <a:pt x="2698" y="444"/>
                </a:moveTo>
                <a:lnTo>
                  <a:pt x="2661" y="444"/>
                </a:lnTo>
                <a:lnTo>
                  <a:pt x="2625" y="354"/>
                </a:lnTo>
                <a:lnTo>
                  <a:pt x="2430" y="354"/>
                </a:lnTo>
                <a:lnTo>
                  <a:pt x="2394" y="444"/>
                </a:lnTo>
                <a:lnTo>
                  <a:pt x="2357" y="444"/>
                </a:lnTo>
                <a:lnTo>
                  <a:pt x="2508" y="77"/>
                </a:lnTo>
                <a:lnTo>
                  <a:pt x="2547" y="77"/>
                </a:lnTo>
                <a:lnTo>
                  <a:pt x="2698" y="444"/>
                </a:lnTo>
                <a:close/>
                <a:moveTo>
                  <a:pt x="2614" y="325"/>
                </a:moveTo>
                <a:lnTo>
                  <a:pt x="2528" y="110"/>
                </a:lnTo>
                <a:lnTo>
                  <a:pt x="2441" y="325"/>
                </a:lnTo>
                <a:lnTo>
                  <a:pt x="2614" y="325"/>
                </a:lnTo>
                <a:close/>
                <a:moveTo>
                  <a:pt x="3065" y="444"/>
                </a:moveTo>
                <a:lnTo>
                  <a:pt x="3029" y="444"/>
                </a:lnTo>
                <a:lnTo>
                  <a:pt x="2992" y="354"/>
                </a:lnTo>
                <a:lnTo>
                  <a:pt x="2798" y="354"/>
                </a:lnTo>
                <a:lnTo>
                  <a:pt x="2761" y="444"/>
                </a:lnTo>
                <a:lnTo>
                  <a:pt x="2725" y="444"/>
                </a:lnTo>
                <a:lnTo>
                  <a:pt x="2875" y="77"/>
                </a:lnTo>
                <a:lnTo>
                  <a:pt x="2915" y="77"/>
                </a:lnTo>
                <a:lnTo>
                  <a:pt x="3065" y="444"/>
                </a:lnTo>
                <a:close/>
                <a:moveTo>
                  <a:pt x="2982" y="325"/>
                </a:moveTo>
                <a:lnTo>
                  <a:pt x="2895" y="110"/>
                </a:lnTo>
                <a:lnTo>
                  <a:pt x="2808" y="325"/>
                </a:lnTo>
                <a:lnTo>
                  <a:pt x="2982" y="325"/>
                </a:lnTo>
                <a:close/>
                <a:moveTo>
                  <a:pt x="3474" y="444"/>
                </a:moveTo>
                <a:lnTo>
                  <a:pt x="3442" y="444"/>
                </a:lnTo>
                <a:lnTo>
                  <a:pt x="3442" y="116"/>
                </a:lnTo>
                <a:lnTo>
                  <a:pt x="3308" y="444"/>
                </a:lnTo>
                <a:lnTo>
                  <a:pt x="3296" y="444"/>
                </a:lnTo>
                <a:lnTo>
                  <a:pt x="3161" y="116"/>
                </a:lnTo>
                <a:lnTo>
                  <a:pt x="3161" y="444"/>
                </a:lnTo>
                <a:lnTo>
                  <a:pt x="3130" y="444"/>
                </a:lnTo>
                <a:lnTo>
                  <a:pt x="3130" y="77"/>
                </a:lnTo>
                <a:lnTo>
                  <a:pt x="3177" y="77"/>
                </a:lnTo>
                <a:lnTo>
                  <a:pt x="3302" y="383"/>
                </a:lnTo>
                <a:lnTo>
                  <a:pt x="3427" y="77"/>
                </a:lnTo>
                <a:lnTo>
                  <a:pt x="3474" y="77"/>
                </a:lnTo>
                <a:lnTo>
                  <a:pt x="3474" y="444"/>
                </a:lnTo>
                <a:close/>
                <a:moveTo>
                  <a:pt x="3920" y="444"/>
                </a:moveTo>
                <a:lnTo>
                  <a:pt x="3888" y="444"/>
                </a:lnTo>
                <a:lnTo>
                  <a:pt x="3888" y="116"/>
                </a:lnTo>
                <a:lnTo>
                  <a:pt x="3754" y="444"/>
                </a:lnTo>
                <a:lnTo>
                  <a:pt x="3742" y="444"/>
                </a:lnTo>
                <a:lnTo>
                  <a:pt x="3608" y="116"/>
                </a:lnTo>
                <a:lnTo>
                  <a:pt x="3608" y="444"/>
                </a:lnTo>
                <a:lnTo>
                  <a:pt x="3576" y="444"/>
                </a:lnTo>
                <a:lnTo>
                  <a:pt x="3576" y="77"/>
                </a:lnTo>
                <a:lnTo>
                  <a:pt x="3623" y="77"/>
                </a:lnTo>
                <a:lnTo>
                  <a:pt x="3748" y="383"/>
                </a:lnTo>
                <a:lnTo>
                  <a:pt x="3873" y="77"/>
                </a:lnTo>
                <a:lnTo>
                  <a:pt x="3920" y="77"/>
                </a:lnTo>
                <a:lnTo>
                  <a:pt x="3920" y="444"/>
                </a:lnTo>
                <a:close/>
                <a:moveTo>
                  <a:pt x="4256" y="444"/>
                </a:moveTo>
                <a:lnTo>
                  <a:pt x="4022" y="444"/>
                </a:lnTo>
                <a:lnTo>
                  <a:pt x="4022" y="77"/>
                </a:lnTo>
                <a:lnTo>
                  <a:pt x="4256" y="77"/>
                </a:lnTo>
                <a:lnTo>
                  <a:pt x="4256" y="105"/>
                </a:lnTo>
                <a:lnTo>
                  <a:pt x="4054" y="105"/>
                </a:lnTo>
                <a:lnTo>
                  <a:pt x="4054" y="242"/>
                </a:lnTo>
                <a:lnTo>
                  <a:pt x="4252" y="242"/>
                </a:lnTo>
                <a:lnTo>
                  <a:pt x="4252" y="270"/>
                </a:lnTo>
                <a:lnTo>
                  <a:pt x="4054" y="270"/>
                </a:lnTo>
                <a:lnTo>
                  <a:pt x="4054" y="416"/>
                </a:lnTo>
                <a:lnTo>
                  <a:pt x="4256" y="416"/>
                </a:lnTo>
                <a:lnTo>
                  <a:pt x="4256" y="444"/>
                </a:lnTo>
                <a:close/>
                <a:moveTo>
                  <a:pt x="4625" y="444"/>
                </a:moveTo>
                <a:lnTo>
                  <a:pt x="4593" y="444"/>
                </a:lnTo>
                <a:lnTo>
                  <a:pt x="4593" y="105"/>
                </a:lnTo>
                <a:lnTo>
                  <a:pt x="4473" y="105"/>
                </a:lnTo>
                <a:lnTo>
                  <a:pt x="4473" y="77"/>
                </a:lnTo>
                <a:lnTo>
                  <a:pt x="4745" y="77"/>
                </a:lnTo>
                <a:lnTo>
                  <a:pt x="4745" y="105"/>
                </a:lnTo>
                <a:lnTo>
                  <a:pt x="4625" y="105"/>
                </a:lnTo>
                <a:lnTo>
                  <a:pt x="4625" y="444"/>
                </a:lnTo>
                <a:close/>
                <a:moveTo>
                  <a:pt x="5055" y="444"/>
                </a:moveTo>
                <a:lnTo>
                  <a:pt x="4821" y="444"/>
                </a:lnTo>
                <a:lnTo>
                  <a:pt x="4821" y="77"/>
                </a:lnTo>
                <a:lnTo>
                  <a:pt x="5055" y="77"/>
                </a:lnTo>
                <a:lnTo>
                  <a:pt x="5055" y="105"/>
                </a:lnTo>
                <a:lnTo>
                  <a:pt x="4853" y="105"/>
                </a:lnTo>
                <a:lnTo>
                  <a:pt x="4853" y="242"/>
                </a:lnTo>
                <a:lnTo>
                  <a:pt x="5051" y="242"/>
                </a:lnTo>
                <a:lnTo>
                  <a:pt x="5051" y="270"/>
                </a:lnTo>
                <a:lnTo>
                  <a:pt x="4853" y="270"/>
                </a:lnTo>
                <a:lnTo>
                  <a:pt x="4853" y="416"/>
                </a:lnTo>
                <a:lnTo>
                  <a:pt x="5055" y="416"/>
                </a:lnTo>
                <a:lnTo>
                  <a:pt x="5055" y="444"/>
                </a:lnTo>
                <a:close/>
                <a:moveTo>
                  <a:pt x="5408" y="444"/>
                </a:moveTo>
                <a:lnTo>
                  <a:pt x="5368" y="444"/>
                </a:lnTo>
                <a:lnTo>
                  <a:pt x="5216" y="271"/>
                </a:lnTo>
                <a:lnTo>
                  <a:pt x="5175" y="316"/>
                </a:lnTo>
                <a:lnTo>
                  <a:pt x="5175" y="444"/>
                </a:lnTo>
                <a:lnTo>
                  <a:pt x="5144" y="444"/>
                </a:lnTo>
                <a:lnTo>
                  <a:pt x="5144" y="77"/>
                </a:lnTo>
                <a:lnTo>
                  <a:pt x="5175" y="77"/>
                </a:lnTo>
                <a:lnTo>
                  <a:pt x="5175" y="278"/>
                </a:lnTo>
                <a:lnTo>
                  <a:pt x="5353" y="77"/>
                </a:lnTo>
                <a:lnTo>
                  <a:pt x="5393" y="77"/>
                </a:lnTo>
                <a:lnTo>
                  <a:pt x="5236" y="252"/>
                </a:lnTo>
                <a:lnTo>
                  <a:pt x="5408" y="444"/>
                </a:lnTo>
                <a:close/>
                <a:moveTo>
                  <a:pt x="5712" y="444"/>
                </a:moveTo>
                <a:lnTo>
                  <a:pt x="5479" y="444"/>
                </a:lnTo>
                <a:lnTo>
                  <a:pt x="5479" y="77"/>
                </a:lnTo>
                <a:lnTo>
                  <a:pt x="5712" y="77"/>
                </a:lnTo>
                <a:lnTo>
                  <a:pt x="5712" y="105"/>
                </a:lnTo>
                <a:lnTo>
                  <a:pt x="5510" y="105"/>
                </a:lnTo>
                <a:lnTo>
                  <a:pt x="5510" y="242"/>
                </a:lnTo>
                <a:lnTo>
                  <a:pt x="5708" y="242"/>
                </a:lnTo>
                <a:lnTo>
                  <a:pt x="5708" y="270"/>
                </a:lnTo>
                <a:lnTo>
                  <a:pt x="5510" y="270"/>
                </a:lnTo>
                <a:lnTo>
                  <a:pt x="5510" y="416"/>
                </a:lnTo>
                <a:lnTo>
                  <a:pt x="5712" y="416"/>
                </a:lnTo>
                <a:lnTo>
                  <a:pt x="5712" y="444"/>
                </a:lnTo>
                <a:close/>
                <a:moveTo>
                  <a:pt x="5953" y="444"/>
                </a:moveTo>
                <a:lnTo>
                  <a:pt x="5914" y="444"/>
                </a:lnTo>
                <a:lnTo>
                  <a:pt x="5764" y="77"/>
                </a:lnTo>
                <a:lnTo>
                  <a:pt x="5800" y="77"/>
                </a:lnTo>
                <a:lnTo>
                  <a:pt x="5934" y="409"/>
                </a:lnTo>
                <a:lnTo>
                  <a:pt x="6068" y="77"/>
                </a:lnTo>
                <a:lnTo>
                  <a:pt x="6104" y="77"/>
                </a:lnTo>
                <a:lnTo>
                  <a:pt x="5953" y="444"/>
                </a:lnTo>
                <a:close/>
                <a:moveTo>
                  <a:pt x="6347" y="20"/>
                </a:moveTo>
                <a:lnTo>
                  <a:pt x="6346" y="24"/>
                </a:lnTo>
                <a:lnTo>
                  <a:pt x="6345" y="28"/>
                </a:lnTo>
                <a:lnTo>
                  <a:pt x="6343" y="32"/>
                </a:lnTo>
                <a:lnTo>
                  <a:pt x="6341" y="35"/>
                </a:lnTo>
                <a:lnTo>
                  <a:pt x="6338" y="37"/>
                </a:lnTo>
                <a:lnTo>
                  <a:pt x="6334" y="39"/>
                </a:lnTo>
                <a:lnTo>
                  <a:pt x="6331" y="40"/>
                </a:lnTo>
                <a:lnTo>
                  <a:pt x="6327" y="41"/>
                </a:lnTo>
                <a:lnTo>
                  <a:pt x="6322" y="40"/>
                </a:lnTo>
                <a:lnTo>
                  <a:pt x="6319" y="39"/>
                </a:lnTo>
                <a:lnTo>
                  <a:pt x="6315" y="37"/>
                </a:lnTo>
                <a:lnTo>
                  <a:pt x="6312" y="35"/>
                </a:lnTo>
                <a:lnTo>
                  <a:pt x="6310" y="32"/>
                </a:lnTo>
                <a:lnTo>
                  <a:pt x="6308" y="28"/>
                </a:lnTo>
                <a:lnTo>
                  <a:pt x="6307" y="24"/>
                </a:lnTo>
                <a:lnTo>
                  <a:pt x="6306" y="20"/>
                </a:lnTo>
                <a:lnTo>
                  <a:pt x="6307" y="16"/>
                </a:lnTo>
                <a:lnTo>
                  <a:pt x="6308" y="13"/>
                </a:lnTo>
                <a:lnTo>
                  <a:pt x="6310" y="9"/>
                </a:lnTo>
                <a:lnTo>
                  <a:pt x="6312" y="6"/>
                </a:lnTo>
                <a:lnTo>
                  <a:pt x="6315" y="3"/>
                </a:lnTo>
                <a:lnTo>
                  <a:pt x="6319" y="2"/>
                </a:lnTo>
                <a:lnTo>
                  <a:pt x="6322" y="0"/>
                </a:lnTo>
                <a:lnTo>
                  <a:pt x="6327" y="0"/>
                </a:lnTo>
                <a:lnTo>
                  <a:pt x="6331" y="0"/>
                </a:lnTo>
                <a:lnTo>
                  <a:pt x="6334" y="2"/>
                </a:lnTo>
                <a:lnTo>
                  <a:pt x="6338" y="3"/>
                </a:lnTo>
                <a:lnTo>
                  <a:pt x="6341" y="6"/>
                </a:lnTo>
                <a:lnTo>
                  <a:pt x="6343" y="9"/>
                </a:lnTo>
                <a:lnTo>
                  <a:pt x="6345" y="13"/>
                </a:lnTo>
                <a:lnTo>
                  <a:pt x="6346" y="16"/>
                </a:lnTo>
                <a:lnTo>
                  <a:pt x="6347" y="20"/>
                </a:lnTo>
                <a:close/>
                <a:moveTo>
                  <a:pt x="6234" y="20"/>
                </a:moveTo>
                <a:lnTo>
                  <a:pt x="6234" y="24"/>
                </a:lnTo>
                <a:lnTo>
                  <a:pt x="6233" y="28"/>
                </a:lnTo>
                <a:lnTo>
                  <a:pt x="6231" y="32"/>
                </a:lnTo>
                <a:lnTo>
                  <a:pt x="6228" y="35"/>
                </a:lnTo>
                <a:lnTo>
                  <a:pt x="6225" y="37"/>
                </a:lnTo>
                <a:lnTo>
                  <a:pt x="6222" y="39"/>
                </a:lnTo>
                <a:lnTo>
                  <a:pt x="6218" y="40"/>
                </a:lnTo>
                <a:lnTo>
                  <a:pt x="6214" y="41"/>
                </a:lnTo>
                <a:lnTo>
                  <a:pt x="6210" y="40"/>
                </a:lnTo>
                <a:lnTo>
                  <a:pt x="6206" y="39"/>
                </a:lnTo>
                <a:lnTo>
                  <a:pt x="6203" y="37"/>
                </a:lnTo>
                <a:lnTo>
                  <a:pt x="6200" y="35"/>
                </a:lnTo>
                <a:lnTo>
                  <a:pt x="6197" y="32"/>
                </a:lnTo>
                <a:lnTo>
                  <a:pt x="6195" y="28"/>
                </a:lnTo>
                <a:lnTo>
                  <a:pt x="6194" y="24"/>
                </a:lnTo>
                <a:lnTo>
                  <a:pt x="6194" y="20"/>
                </a:lnTo>
                <a:lnTo>
                  <a:pt x="6194" y="16"/>
                </a:lnTo>
                <a:lnTo>
                  <a:pt x="6195" y="13"/>
                </a:lnTo>
                <a:lnTo>
                  <a:pt x="6197" y="9"/>
                </a:lnTo>
                <a:lnTo>
                  <a:pt x="6200" y="6"/>
                </a:lnTo>
                <a:lnTo>
                  <a:pt x="6203" y="3"/>
                </a:lnTo>
                <a:lnTo>
                  <a:pt x="6206" y="2"/>
                </a:lnTo>
                <a:lnTo>
                  <a:pt x="6210" y="0"/>
                </a:lnTo>
                <a:lnTo>
                  <a:pt x="6214" y="0"/>
                </a:lnTo>
                <a:lnTo>
                  <a:pt x="6218" y="0"/>
                </a:lnTo>
                <a:lnTo>
                  <a:pt x="6222" y="2"/>
                </a:lnTo>
                <a:lnTo>
                  <a:pt x="6225" y="3"/>
                </a:lnTo>
                <a:lnTo>
                  <a:pt x="6228" y="6"/>
                </a:lnTo>
                <a:lnTo>
                  <a:pt x="6231" y="9"/>
                </a:lnTo>
                <a:lnTo>
                  <a:pt x="6233" y="13"/>
                </a:lnTo>
                <a:lnTo>
                  <a:pt x="6234" y="16"/>
                </a:lnTo>
                <a:lnTo>
                  <a:pt x="6234" y="20"/>
                </a:lnTo>
                <a:close/>
                <a:moveTo>
                  <a:pt x="6440" y="444"/>
                </a:moveTo>
                <a:lnTo>
                  <a:pt x="6404" y="444"/>
                </a:lnTo>
                <a:lnTo>
                  <a:pt x="6367" y="354"/>
                </a:lnTo>
                <a:lnTo>
                  <a:pt x="6173" y="354"/>
                </a:lnTo>
                <a:lnTo>
                  <a:pt x="6136" y="444"/>
                </a:lnTo>
                <a:lnTo>
                  <a:pt x="6100" y="444"/>
                </a:lnTo>
                <a:lnTo>
                  <a:pt x="6250" y="77"/>
                </a:lnTo>
                <a:lnTo>
                  <a:pt x="6290" y="77"/>
                </a:lnTo>
                <a:lnTo>
                  <a:pt x="6440" y="444"/>
                </a:lnTo>
                <a:close/>
                <a:moveTo>
                  <a:pt x="6357" y="325"/>
                </a:moveTo>
                <a:lnTo>
                  <a:pt x="6270" y="110"/>
                </a:lnTo>
                <a:lnTo>
                  <a:pt x="6183" y="325"/>
                </a:lnTo>
                <a:lnTo>
                  <a:pt x="6357" y="3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2" name="Graphic 11">
            <a:extLst>
              <a:ext uri="{FF2B5EF4-FFF2-40B4-BE49-F238E27FC236}">
                <a16:creationId xmlns:a16="http://schemas.microsoft.com/office/drawing/2014/main" id="{22213FD7-BA4E-4048-8E5B-2923BF3755C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403864848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logan Ocean">
    <p:bg>
      <p:bgPr>
        <a:solidFill>
          <a:schemeClr val="accent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71AD5325-261D-40BD-AC29-5050047C7E96}"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6" name="Freeform 6"/>
          <p:cNvSpPr>
            <a:spLocks noChangeAspect="1" noEditPoints="1"/>
          </p:cNvSpPr>
          <p:nvPr userDrawn="1"/>
        </p:nvSpPr>
        <p:spPr bwMode="auto">
          <a:xfrm>
            <a:off x="1910586" y="2565024"/>
            <a:ext cx="8370828" cy="1080000"/>
          </a:xfrm>
          <a:custGeom>
            <a:avLst/>
            <a:gdLst>
              <a:gd name="T0" fmla="*/ 4256 w 5100"/>
              <a:gd name="T1" fmla="*/ 656 h 658"/>
              <a:gd name="T2" fmla="*/ 113 w 5100"/>
              <a:gd name="T3" fmla="*/ 0 h 658"/>
              <a:gd name="T4" fmla="*/ 208 w 5100"/>
              <a:gd name="T5" fmla="*/ 188 h 658"/>
              <a:gd name="T6" fmla="*/ 13 w 5100"/>
              <a:gd name="T7" fmla="*/ 178 h 658"/>
              <a:gd name="T8" fmla="*/ 71 w 5100"/>
              <a:gd name="T9" fmla="*/ 28 h 658"/>
              <a:gd name="T10" fmla="*/ 102 w 5100"/>
              <a:gd name="T11" fmla="*/ 222 h 658"/>
              <a:gd name="T12" fmla="*/ 305 w 5100"/>
              <a:gd name="T13" fmla="*/ 191 h 658"/>
              <a:gd name="T14" fmla="*/ 433 w 5100"/>
              <a:gd name="T15" fmla="*/ 171 h 658"/>
              <a:gd name="T16" fmla="*/ 335 w 5100"/>
              <a:gd name="T17" fmla="*/ 236 h 658"/>
              <a:gd name="T18" fmla="*/ 637 w 5100"/>
              <a:gd name="T19" fmla="*/ 11 h 658"/>
              <a:gd name="T20" fmla="*/ 676 w 5100"/>
              <a:gd name="T21" fmla="*/ 236 h 658"/>
              <a:gd name="T22" fmla="*/ 631 w 5100"/>
              <a:gd name="T23" fmla="*/ 114 h 658"/>
              <a:gd name="T24" fmla="*/ 894 w 5100"/>
              <a:gd name="T25" fmla="*/ 5 h 658"/>
              <a:gd name="T26" fmla="*/ 919 w 5100"/>
              <a:gd name="T27" fmla="*/ 19 h 658"/>
              <a:gd name="T28" fmla="*/ 871 w 5100"/>
              <a:gd name="T29" fmla="*/ 203 h 658"/>
              <a:gd name="T30" fmla="*/ 967 w 5100"/>
              <a:gd name="T31" fmla="*/ 234 h 658"/>
              <a:gd name="T32" fmla="*/ 1049 w 5100"/>
              <a:gd name="T33" fmla="*/ 236 h 658"/>
              <a:gd name="T34" fmla="*/ 1516 w 5100"/>
              <a:gd name="T35" fmla="*/ 236 h 658"/>
              <a:gd name="T36" fmla="*/ 1975 w 5100"/>
              <a:gd name="T37" fmla="*/ 218 h 658"/>
              <a:gd name="T38" fmla="*/ 2038 w 5100"/>
              <a:gd name="T39" fmla="*/ 138 h 658"/>
              <a:gd name="T40" fmla="*/ 1953 w 5100"/>
              <a:gd name="T41" fmla="*/ 13 h 658"/>
              <a:gd name="T42" fmla="*/ 2010 w 5100"/>
              <a:gd name="T43" fmla="*/ 19 h 658"/>
              <a:gd name="T44" fmla="*/ 2029 w 5100"/>
              <a:gd name="T45" fmla="*/ 112 h 658"/>
              <a:gd name="T46" fmla="*/ 2014 w 5100"/>
              <a:gd name="T47" fmla="*/ 240 h 658"/>
              <a:gd name="T48" fmla="*/ 2530 w 5100"/>
              <a:gd name="T49" fmla="*/ 179 h 658"/>
              <a:gd name="T50" fmla="*/ 3088 w 5100"/>
              <a:gd name="T51" fmla="*/ 22 h 658"/>
              <a:gd name="T52" fmla="*/ 3596 w 5100"/>
              <a:gd name="T53" fmla="*/ 108 h 658"/>
              <a:gd name="T54" fmla="*/ 4158 w 5100"/>
              <a:gd name="T55" fmla="*/ 208 h 658"/>
              <a:gd name="T56" fmla="*/ 4396 w 5100"/>
              <a:gd name="T57" fmla="*/ 3 h 658"/>
              <a:gd name="T58" fmla="*/ 4453 w 5100"/>
              <a:gd name="T59" fmla="*/ 206 h 658"/>
              <a:gd name="T60" fmla="*/ 4264 w 5100"/>
              <a:gd name="T61" fmla="*/ 156 h 658"/>
              <a:gd name="T62" fmla="*/ 4318 w 5100"/>
              <a:gd name="T63" fmla="*/ 35 h 658"/>
              <a:gd name="T64" fmla="*/ 4382 w 5100"/>
              <a:gd name="T65" fmla="*/ 222 h 658"/>
              <a:gd name="T66" fmla="*/ 4656 w 5100"/>
              <a:gd name="T67" fmla="*/ 11 h 658"/>
              <a:gd name="T68" fmla="*/ 4695 w 5100"/>
              <a:gd name="T69" fmla="*/ 236 h 658"/>
              <a:gd name="T70" fmla="*/ 4650 w 5100"/>
              <a:gd name="T71" fmla="*/ 114 h 658"/>
              <a:gd name="T72" fmla="*/ 5037 w 5100"/>
              <a:gd name="T73" fmla="*/ 16 h 658"/>
              <a:gd name="T74" fmla="*/ 5061 w 5100"/>
              <a:gd name="T75" fmla="*/ 210 h 658"/>
              <a:gd name="T76" fmla="*/ 5005 w 5100"/>
              <a:gd name="T77" fmla="*/ 24 h 658"/>
              <a:gd name="T78" fmla="*/ 838 w 5100"/>
              <a:gd name="T79" fmla="*/ 489 h 658"/>
              <a:gd name="T80" fmla="*/ 1010 w 5100"/>
              <a:gd name="T81" fmla="*/ 463 h 658"/>
              <a:gd name="T82" fmla="*/ 852 w 5100"/>
              <a:gd name="T83" fmla="*/ 527 h 658"/>
              <a:gd name="T84" fmla="*/ 1010 w 5100"/>
              <a:gd name="T85" fmla="*/ 614 h 658"/>
              <a:gd name="T86" fmla="*/ 864 w 5100"/>
              <a:gd name="T87" fmla="*/ 625 h 658"/>
              <a:gd name="T88" fmla="*/ 1259 w 5100"/>
              <a:gd name="T89" fmla="*/ 636 h 658"/>
              <a:gd name="T90" fmla="*/ 1836 w 5100"/>
              <a:gd name="T91" fmla="*/ 654 h 658"/>
              <a:gd name="T92" fmla="*/ 2244 w 5100"/>
              <a:gd name="T93" fmla="*/ 436 h 658"/>
              <a:gd name="T94" fmla="*/ 2249 w 5100"/>
              <a:gd name="T95" fmla="*/ 490 h 658"/>
              <a:gd name="T96" fmla="*/ 2235 w 5100"/>
              <a:gd name="T97" fmla="*/ 526 h 658"/>
              <a:gd name="T98" fmla="*/ 2644 w 5100"/>
              <a:gd name="T99" fmla="*/ 422 h 658"/>
              <a:gd name="T100" fmla="*/ 3078 w 5100"/>
              <a:gd name="T101" fmla="*/ 504 h 658"/>
              <a:gd name="T102" fmla="*/ 3061 w 5100"/>
              <a:gd name="T103" fmla="*/ 538 h 658"/>
              <a:gd name="T104" fmla="*/ 3023 w 5100"/>
              <a:gd name="T105" fmla="*/ 619 h 658"/>
              <a:gd name="T106" fmla="*/ 3324 w 5100"/>
              <a:gd name="T107" fmla="*/ 637 h 658"/>
              <a:gd name="T108" fmla="*/ 3255 w 5100"/>
              <a:gd name="T109" fmla="*/ 529 h 658"/>
              <a:gd name="T110" fmla="*/ 3299 w 5100"/>
              <a:gd name="T111" fmla="*/ 418 h 658"/>
              <a:gd name="T112" fmla="*/ 3259 w 5100"/>
              <a:gd name="T113" fmla="*/ 448 h 658"/>
              <a:gd name="T114" fmla="*/ 3370 w 5100"/>
              <a:gd name="T115" fmla="*/ 555 h 658"/>
              <a:gd name="T116" fmla="*/ 3231 w 5100"/>
              <a:gd name="T117" fmla="*/ 636 h 658"/>
              <a:gd name="T118" fmla="*/ 3658 w 5100"/>
              <a:gd name="T119" fmla="*/ 654 h 658"/>
              <a:gd name="T120" fmla="*/ 4173 w 5100"/>
              <a:gd name="T121" fmla="*/ 436 h 658"/>
              <a:gd name="T122" fmla="*/ 4177 w 5100"/>
              <a:gd name="T123" fmla="*/ 490 h 658"/>
              <a:gd name="T124" fmla="*/ 4163 w 5100"/>
              <a:gd name="T125" fmla="*/ 526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0" h="658">
                <a:moveTo>
                  <a:pt x="4245" y="642"/>
                </a:moveTo>
                <a:lnTo>
                  <a:pt x="4245" y="639"/>
                </a:lnTo>
                <a:lnTo>
                  <a:pt x="4246" y="636"/>
                </a:lnTo>
                <a:lnTo>
                  <a:pt x="4248" y="634"/>
                </a:lnTo>
                <a:lnTo>
                  <a:pt x="4251" y="631"/>
                </a:lnTo>
                <a:lnTo>
                  <a:pt x="4253" y="629"/>
                </a:lnTo>
                <a:lnTo>
                  <a:pt x="4256" y="628"/>
                </a:lnTo>
                <a:lnTo>
                  <a:pt x="4258" y="627"/>
                </a:lnTo>
                <a:lnTo>
                  <a:pt x="4261" y="627"/>
                </a:lnTo>
                <a:lnTo>
                  <a:pt x="4265" y="627"/>
                </a:lnTo>
                <a:lnTo>
                  <a:pt x="4267" y="628"/>
                </a:lnTo>
                <a:lnTo>
                  <a:pt x="4270" y="629"/>
                </a:lnTo>
                <a:lnTo>
                  <a:pt x="4272" y="631"/>
                </a:lnTo>
                <a:lnTo>
                  <a:pt x="4274" y="634"/>
                </a:lnTo>
                <a:lnTo>
                  <a:pt x="4276" y="636"/>
                </a:lnTo>
                <a:lnTo>
                  <a:pt x="4276" y="639"/>
                </a:lnTo>
                <a:lnTo>
                  <a:pt x="4277" y="642"/>
                </a:lnTo>
                <a:lnTo>
                  <a:pt x="4276" y="645"/>
                </a:lnTo>
                <a:lnTo>
                  <a:pt x="4276" y="648"/>
                </a:lnTo>
                <a:lnTo>
                  <a:pt x="4274" y="650"/>
                </a:lnTo>
                <a:lnTo>
                  <a:pt x="4272" y="653"/>
                </a:lnTo>
                <a:lnTo>
                  <a:pt x="4270" y="654"/>
                </a:lnTo>
                <a:lnTo>
                  <a:pt x="4267" y="656"/>
                </a:lnTo>
                <a:lnTo>
                  <a:pt x="4265" y="657"/>
                </a:lnTo>
                <a:lnTo>
                  <a:pt x="4261" y="657"/>
                </a:lnTo>
                <a:lnTo>
                  <a:pt x="4258" y="657"/>
                </a:lnTo>
                <a:lnTo>
                  <a:pt x="4256" y="656"/>
                </a:lnTo>
                <a:lnTo>
                  <a:pt x="4253" y="654"/>
                </a:lnTo>
                <a:lnTo>
                  <a:pt x="4251" y="653"/>
                </a:lnTo>
                <a:lnTo>
                  <a:pt x="4248" y="650"/>
                </a:lnTo>
                <a:lnTo>
                  <a:pt x="4246" y="648"/>
                </a:lnTo>
                <a:lnTo>
                  <a:pt x="4245" y="645"/>
                </a:lnTo>
                <a:lnTo>
                  <a:pt x="4245" y="642"/>
                </a:lnTo>
                <a:close/>
                <a:moveTo>
                  <a:pt x="0" y="120"/>
                </a:moveTo>
                <a:lnTo>
                  <a:pt x="1" y="108"/>
                </a:lnTo>
                <a:lnTo>
                  <a:pt x="1" y="102"/>
                </a:lnTo>
                <a:lnTo>
                  <a:pt x="2" y="96"/>
                </a:lnTo>
                <a:lnTo>
                  <a:pt x="5" y="84"/>
                </a:lnTo>
                <a:lnTo>
                  <a:pt x="8" y="73"/>
                </a:lnTo>
                <a:lnTo>
                  <a:pt x="13" y="62"/>
                </a:lnTo>
                <a:lnTo>
                  <a:pt x="15" y="57"/>
                </a:lnTo>
                <a:lnTo>
                  <a:pt x="18" y="52"/>
                </a:lnTo>
                <a:lnTo>
                  <a:pt x="24" y="43"/>
                </a:lnTo>
                <a:lnTo>
                  <a:pt x="31" y="35"/>
                </a:lnTo>
                <a:lnTo>
                  <a:pt x="39" y="27"/>
                </a:lnTo>
                <a:lnTo>
                  <a:pt x="43" y="24"/>
                </a:lnTo>
                <a:lnTo>
                  <a:pt x="47" y="20"/>
                </a:lnTo>
                <a:lnTo>
                  <a:pt x="56" y="14"/>
                </a:lnTo>
                <a:lnTo>
                  <a:pt x="66" y="9"/>
                </a:lnTo>
                <a:lnTo>
                  <a:pt x="77" y="6"/>
                </a:lnTo>
                <a:lnTo>
                  <a:pt x="88" y="3"/>
                </a:lnTo>
                <a:lnTo>
                  <a:pt x="100" y="1"/>
                </a:lnTo>
                <a:lnTo>
                  <a:pt x="106" y="0"/>
                </a:lnTo>
                <a:lnTo>
                  <a:pt x="113" y="0"/>
                </a:lnTo>
                <a:lnTo>
                  <a:pt x="125" y="1"/>
                </a:lnTo>
                <a:lnTo>
                  <a:pt x="137" y="3"/>
                </a:lnTo>
                <a:lnTo>
                  <a:pt x="148" y="6"/>
                </a:lnTo>
                <a:lnTo>
                  <a:pt x="159" y="9"/>
                </a:lnTo>
                <a:lnTo>
                  <a:pt x="169" y="14"/>
                </a:lnTo>
                <a:lnTo>
                  <a:pt x="174" y="17"/>
                </a:lnTo>
                <a:lnTo>
                  <a:pt x="178" y="20"/>
                </a:lnTo>
                <a:lnTo>
                  <a:pt x="182" y="24"/>
                </a:lnTo>
                <a:lnTo>
                  <a:pt x="187" y="27"/>
                </a:lnTo>
                <a:lnTo>
                  <a:pt x="194" y="35"/>
                </a:lnTo>
                <a:lnTo>
                  <a:pt x="201" y="43"/>
                </a:lnTo>
                <a:lnTo>
                  <a:pt x="208" y="52"/>
                </a:lnTo>
                <a:lnTo>
                  <a:pt x="210" y="57"/>
                </a:lnTo>
                <a:lnTo>
                  <a:pt x="213" y="62"/>
                </a:lnTo>
                <a:lnTo>
                  <a:pt x="217" y="73"/>
                </a:lnTo>
                <a:lnTo>
                  <a:pt x="221" y="84"/>
                </a:lnTo>
                <a:lnTo>
                  <a:pt x="223" y="96"/>
                </a:lnTo>
                <a:lnTo>
                  <a:pt x="225" y="108"/>
                </a:lnTo>
                <a:lnTo>
                  <a:pt x="225" y="120"/>
                </a:lnTo>
                <a:lnTo>
                  <a:pt x="225" y="133"/>
                </a:lnTo>
                <a:lnTo>
                  <a:pt x="224" y="139"/>
                </a:lnTo>
                <a:lnTo>
                  <a:pt x="223" y="145"/>
                </a:lnTo>
                <a:lnTo>
                  <a:pt x="221" y="156"/>
                </a:lnTo>
                <a:lnTo>
                  <a:pt x="217" y="168"/>
                </a:lnTo>
                <a:lnTo>
                  <a:pt x="213" y="178"/>
                </a:lnTo>
                <a:lnTo>
                  <a:pt x="210" y="183"/>
                </a:lnTo>
                <a:lnTo>
                  <a:pt x="208" y="188"/>
                </a:lnTo>
                <a:lnTo>
                  <a:pt x="201" y="197"/>
                </a:lnTo>
                <a:lnTo>
                  <a:pt x="194" y="206"/>
                </a:lnTo>
                <a:lnTo>
                  <a:pt x="187" y="213"/>
                </a:lnTo>
                <a:lnTo>
                  <a:pt x="182" y="217"/>
                </a:lnTo>
                <a:lnTo>
                  <a:pt x="178" y="220"/>
                </a:lnTo>
                <a:lnTo>
                  <a:pt x="169" y="226"/>
                </a:lnTo>
                <a:lnTo>
                  <a:pt x="159" y="231"/>
                </a:lnTo>
                <a:lnTo>
                  <a:pt x="148" y="235"/>
                </a:lnTo>
                <a:lnTo>
                  <a:pt x="137" y="238"/>
                </a:lnTo>
                <a:lnTo>
                  <a:pt x="125" y="239"/>
                </a:lnTo>
                <a:lnTo>
                  <a:pt x="119" y="240"/>
                </a:lnTo>
                <a:lnTo>
                  <a:pt x="113" y="240"/>
                </a:lnTo>
                <a:lnTo>
                  <a:pt x="100" y="239"/>
                </a:lnTo>
                <a:lnTo>
                  <a:pt x="88" y="238"/>
                </a:lnTo>
                <a:lnTo>
                  <a:pt x="83" y="236"/>
                </a:lnTo>
                <a:lnTo>
                  <a:pt x="77" y="235"/>
                </a:lnTo>
                <a:lnTo>
                  <a:pt x="66" y="231"/>
                </a:lnTo>
                <a:lnTo>
                  <a:pt x="56" y="226"/>
                </a:lnTo>
                <a:lnTo>
                  <a:pt x="52" y="223"/>
                </a:lnTo>
                <a:lnTo>
                  <a:pt x="47" y="220"/>
                </a:lnTo>
                <a:lnTo>
                  <a:pt x="43" y="217"/>
                </a:lnTo>
                <a:lnTo>
                  <a:pt x="39" y="213"/>
                </a:lnTo>
                <a:lnTo>
                  <a:pt x="31" y="206"/>
                </a:lnTo>
                <a:lnTo>
                  <a:pt x="24" y="197"/>
                </a:lnTo>
                <a:lnTo>
                  <a:pt x="18" y="188"/>
                </a:lnTo>
                <a:lnTo>
                  <a:pt x="15" y="183"/>
                </a:lnTo>
                <a:lnTo>
                  <a:pt x="13" y="178"/>
                </a:lnTo>
                <a:lnTo>
                  <a:pt x="8" y="168"/>
                </a:lnTo>
                <a:lnTo>
                  <a:pt x="5" y="156"/>
                </a:lnTo>
                <a:lnTo>
                  <a:pt x="2" y="145"/>
                </a:lnTo>
                <a:lnTo>
                  <a:pt x="1" y="133"/>
                </a:lnTo>
                <a:lnTo>
                  <a:pt x="0" y="120"/>
                </a:lnTo>
                <a:close/>
                <a:moveTo>
                  <a:pt x="204" y="120"/>
                </a:moveTo>
                <a:lnTo>
                  <a:pt x="204" y="109"/>
                </a:lnTo>
                <a:lnTo>
                  <a:pt x="203" y="99"/>
                </a:lnTo>
                <a:lnTo>
                  <a:pt x="201" y="89"/>
                </a:lnTo>
                <a:lnTo>
                  <a:pt x="198" y="79"/>
                </a:lnTo>
                <a:lnTo>
                  <a:pt x="194" y="71"/>
                </a:lnTo>
                <a:lnTo>
                  <a:pt x="190" y="62"/>
                </a:lnTo>
                <a:lnTo>
                  <a:pt x="185" y="54"/>
                </a:lnTo>
                <a:lnTo>
                  <a:pt x="179" y="47"/>
                </a:lnTo>
                <a:lnTo>
                  <a:pt x="173" y="41"/>
                </a:lnTo>
                <a:lnTo>
                  <a:pt x="166" y="35"/>
                </a:lnTo>
                <a:lnTo>
                  <a:pt x="159" y="30"/>
                </a:lnTo>
                <a:lnTo>
                  <a:pt x="151" y="26"/>
                </a:lnTo>
                <a:lnTo>
                  <a:pt x="142" y="23"/>
                </a:lnTo>
                <a:lnTo>
                  <a:pt x="133" y="20"/>
                </a:lnTo>
                <a:lnTo>
                  <a:pt x="123" y="19"/>
                </a:lnTo>
                <a:lnTo>
                  <a:pt x="113" y="18"/>
                </a:lnTo>
                <a:lnTo>
                  <a:pt x="102" y="19"/>
                </a:lnTo>
                <a:lnTo>
                  <a:pt x="93" y="20"/>
                </a:lnTo>
                <a:lnTo>
                  <a:pt x="83" y="23"/>
                </a:lnTo>
                <a:lnTo>
                  <a:pt x="75" y="26"/>
                </a:lnTo>
                <a:lnTo>
                  <a:pt x="71" y="28"/>
                </a:lnTo>
                <a:lnTo>
                  <a:pt x="67" y="30"/>
                </a:lnTo>
                <a:lnTo>
                  <a:pt x="59" y="35"/>
                </a:lnTo>
                <a:lnTo>
                  <a:pt x="52" y="41"/>
                </a:lnTo>
                <a:lnTo>
                  <a:pt x="46" y="47"/>
                </a:lnTo>
                <a:lnTo>
                  <a:pt x="40" y="54"/>
                </a:lnTo>
                <a:lnTo>
                  <a:pt x="35" y="62"/>
                </a:lnTo>
                <a:lnTo>
                  <a:pt x="31" y="71"/>
                </a:lnTo>
                <a:lnTo>
                  <a:pt x="27" y="79"/>
                </a:lnTo>
                <a:lnTo>
                  <a:pt x="25" y="89"/>
                </a:lnTo>
                <a:lnTo>
                  <a:pt x="23" y="99"/>
                </a:lnTo>
                <a:lnTo>
                  <a:pt x="21" y="109"/>
                </a:lnTo>
                <a:lnTo>
                  <a:pt x="21" y="120"/>
                </a:lnTo>
                <a:lnTo>
                  <a:pt x="21" y="131"/>
                </a:lnTo>
                <a:lnTo>
                  <a:pt x="23" y="141"/>
                </a:lnTo>
                <a:lnTo>
                  <a:pt x="25" y="151"/>
                </a:lnTo>
                <a:lnTo>
                  <a:pt x="27" y="161"/>
                </a:lnTo>
                <a:lnTo>
                  <a:pt x="31" y="170"/>
                </a:lnTo>
                <a:lnTo>
                  <a:pt x="35" y="178"/>
                </a:lnTo>
                <a:lnTo>
                  <a:pt x="40" y="186"/>
                </a:lnTo>
                <a:lnTo>
                  <a:pt x="46" y="193"/>
                </a:lnTo>
                <a:lnTo>
                  <a:pt x="52" y="199"/>
                </a:lnTo>
                <a:lnTo>
                  <a:pt x="59" y="205"/>
                </a:lnTo>
                <a:lnTo>
                  <a:pt x="67" y="210"/>
                </a:lnTo>
                <a:lnTo>
                  <a:pt x="75" y="214"/>
                </a:lnTo>
                <a:lnTo>
                  <a:pt x="83" y="218"/>
                </a:lnTo>
                <a:lnTo>
                  <a:pt x="93" y="220"/>
                </a:lnTo>
                <a:lnTo>
                  <a:pt x="102" y="222"/>
                </a:lnTo>
                <a:lnTo>
                  <a:pt x="113" y="222"/>
                </a:lnTo>
                <a:lnTo>
                  <a:pt x="123" y="222"/>
                </a:lnTo>
                <a:lnTo>
                  <a:pt x="133" y="220"/>
                </a:lnTo>
                <a:lnTo>
                  <a:pt x="142" y="218"/>
                </a:lnTo>
                <a:lnTo>
                  <a:pt x="151" y="214"/>
                </a:lnTo>
                <a:lnTo>
                  <a:pt x="159" y="210"/>
                </a:lnTo>
                <a:lnTo>
                  <a:pt x="166" y="205"/>
                </a:lnTo>
                <a:lnTo>
                  <a:pt x="173" y="199"/>
                </a:lnTo>
                <a:lnTo>
                  <a:pt x="179" y="193"/>
                </a:lnTo>
                <a:lnTo>
                  <a:pt x="185" y="186"/>
                </a:lnTo>
                <a:lnTo>
                  <a:pt x="190" y="178"/>
                </a:lnTo>
                <a:lnTo>
                  <a:pt x="194" y="170"/>
                </a:lnTo>
                <a:lnTo>
                  <a:pt x="198" y="161"/>
                </a:lnTo>
                <a:lnTo>
                  <a:pt x="201" y="151"/>
                </a:lnTo>
                <a:lnTo>
                  <a:pt x="203" y="141"/>
                </a:lnTo>
                <a:lnTo>
                  <a:pt x="204" y="131"/>
                </a:lnTo>
                <a:lnTo>
                  <a:pt x="204" y="120"/>
                </a:lnTo>
                <a:close/>
                <a:moveTo>
                  <a:pt x="275" y="147"/>
                </a:moveTo>
                <a:lnTo>
                  <a:pt x="275" y="4"/>
                </a:lnTo>
                <a:lnTo>
                  <a:pt x="295" y="4"/>
                </a:lnTo>
                <a:lnTo>
                  <a:pt x="295" y="147"/>
                </a:lnTo>
                <a:lnTo>
                  <a:pt x="295" y="155"/>
                </a:lnTo>
                <a:lnTo>
                  <a:pt x="296" y="163"/>
                </a:lnTo>
                <a:lnTo>
                  <a:pt x="297" y="171"/>
                </a:lnTo>
                <a:lnTo>
                  <a:pt x="299" y="178"/>
                </a:lnTo>
                <a:lnTo>
                  <a:pt x="302" y="185"/>
                </a:lnTo>
                <a:lnTo>
                  <a:pt x="305" y="191"/>
                </a:lnTo>
                <a:lnTo>
                  <a:pt x="309" y="197"/>
                </a:lnTo>
                <a:lnTo>
                  <a:pt x="313" y="202"/>
                </a:lnTo>
                <a:lnTo>
                  <a:pt x="315" y="204"/>
                </a:lnTo>
                <a:lnTo>
                  <a:pt x="318" y="206"/>
                </a:lnTo>
                <a:lnTo>
                  <a:pt x="323" y="211"/>
                </a:lnTo>
                <a:lnTo>
                  <a:pt x="329" y="214"/>
                </a:lnTo>
                <a:lnTo>
                  <a:pt x="335" y="217"/>
                </a:lnTo>
                <a:lnTo>
                  <a:pt x="342" y="219"/>
                </a:lnTo>
                <a:lnTo>
                  <a:pt x="345" y="220"/>
                </a:lnTo>
                <a:lnTo>
                  <a:pt x="349" y="221"/>
                </a:lnTo>
                <a:lnTo>
                  <a:pt x="357" y="222"/>
                </a:lnTo>
                <a:lnTo>
                  <a:pt x="365" y="222"/>
                </a:lnTo>
                <a:lnTo>
                  <a:pt x="373" y="222"/>
                </a:lnTo>
                <a:lnTo>
                  <a:pt x="381" y="221"/>
                </a:lnTo>
                <a:lnTo>
                  <a:pt x="388" y="219"/>
                </a:lnTo>
                <a:lnTo>
                  <a:pt x="395" y="217"/>
                </a:lnTo>
                <a:lnTo>
                  <a:pt x="401" y="214"/>
                </a:lnTo>
                <a:lnTo>
                  <a:pt x="407" y="211"/>
                </a:lnTo>
                <a:lnTo>
                  <a:pt x="412" y="206"/>
                </a:lnTo>
                <a:lnTo>
                  <a:pt x="417" y="202"/>
                </a:lnTo>
                <a:lnTo>
                  <a:pt x="419" y="199"/>
                </a:lnTo>
                <a:lnTo>
                  <a:pt x="421" y="197"/>
                </a:lnTo>
                <a:lnTo>
                  <a:pt x="425" y="191"/>
                </a:lnTo>
                <a:lnTo>
                  <a:pt x="427" y="188"/>
                </a:lnTo>
                <a:lnTo>
                  <a:pt x="428" y="185"/>
                </a:lnTo>
                <a:lnTo>
                  <a:pt x="431" y="178"/>
                </a:lnTo>
                <a:lnTo>
                  <a:pt x="433" y="171"/>
                </a:lnTo>
                <a:lnTo>
                  <a:pt x="434" y="163"/>
                </a:lnTo>
                <a:lnTo>
                  <a:pt x="435" y="159"/>
                </a:lnTo>
                <a:lnTo>
                  <a:pt x="435" y="155"/>
                </a:lnTo>
                <a:lnTo>
                  <a:pt x="435" y="147"/>
                </a:lnTo>
                <a:lnTo>
                  <a:pt x="435" y="4"/>
                </a:lnTo>
                <a:lnTo>
                  <a:pt x="455" y="4"/>
                </a:lnTo>
                <a:lnTo>
                  <a:pt x="455" y="147"/>
                </a:lnTo>
                <a:lnTo>
                  <a:pt x="455" y="157"/>
                </a:lnTo>
                <a:lnTo>
                  <a:pt x="454" y="167"/>
                </a:lnTo>
                <a:lnTo>
                  <a:pt x="452" y="177"/>
                </a:lnTo>
                <a:lnTo>
                  <a:pt x="450" y="186"/>
                </a:lnTo>
                <a:lnTo>
                  <a:pt x="446" y="194"/>
                </a:lnTo>
                <a:lnTo>
                  <a:pt x="443" y="202"/>
                </a:lnTo>
                <a:lnTo>
                  <a:pt x="438" y="209"/>
                </a:lnTo>
                <a:lnTo>
                  <a:pt x="433" y="215"/>
                </a:lnTo>
                <a:lnTo>
                  <a:pt x="427" y="221"/>
                </a:lnTo>
                <a:lnTo>
                  <a:pt x="423" y="223"/>
                </a:lnTo>
                <a:lnTo>
                  <a:pt x="420" y="226"/>
                </a:lnTo>
                <a:lnTo>
                  <a:pt x="412" y="230"/>
                </a:lnTo>
                <a:lnTo>
                  <a:pt x="404" y="234"/>
                </a:lnTo>
                <a:lnTo>
                  <a:pt x="396" y="236"/>
                </a:lnTo>
                <a:lnTo>
                  <a:pt x="386" y="238"/>
                </a:lnTo>
                <a:lnTo>
                  <a:pt x="376" y="240"/>
                </a:lnTo>
                <a:lnTo>
                  <a:pt x="365" y="240"/>
                </a:lnTo>
                <a:lnTo>
                  <a:pt x="354" y="240"/>
                </a:lnTo>
                <a:lnTo>
                  <a:pt x="344" y="238"/>
                </a:lnTo>
                <a:lnTo>
                  <a:pt x="335" y="236"/>
                </a:lnTo>
                <a:lnTo>
                  <a:pt x="326" y="234"/>
                </a:lnTo>
                <a:lnTo>
                  <a:pt x="318" y="230"/>
                </a:lnTo>
                <a:lnTo>
                  <a:pt x="310" y="226"/>
                </a:lnTo>
                <a:lnTo>
                  <a:pt x="304" y="221"/>
                </a:lnTo>
                <a:lnTo>
                  <a:pt x="301" y="218"/>
                </a:lnTo>
                <a:lnTo>
                  <a:pt x="298" y="215"/>
                </a:lnTo>
                <a:lnTo>
                  <a:pt x="295" y="212"/>
                </a:lnTo>
                <a:lnTo>
                  <a:pt x="292" y="208"/>
                </a:lnTo>
                <a:lnTo>
                  <a:pt x="288" y="201"/>
                </a:lnTo>
                <a:lnTo>
                  <a:pt x="284" y="194"/>
                </a:lnTo>
                <a:lnTo>
                  <a:pt x="280" y="186"/>
                </a:lnTo>
                <a:lnTo>
                  <a:pt x="278" y="177"/>
                </a:lnTo>
                <a:lnTo>
                  <a:pt x="276" y="167"/>
                </a:lnTo>
                <a:lnTo>
                  <a:pt x="275" y="157"/>
                </a:lnTo>
                <a:lnTo>
                  <a:pt x="275" y="147"/>
                </a:lnTo>
                <a:close/>
                <a:moveTo>
                  <a:pt x="652" y="236"/>
                </a:moveTo>
                <a:lnTo>
                  <a:pt x="587" y="140"/>
                </a:lnTo>
                <a:lnTo>
                  <a:pt x="536" y="140"/>
                </a:lnTo>
                <a:lnTo>
                  <a:pt x="536" y="236"/>
                </a:lnTo>
                <a:lnTo>
                  <a:pt x="516" y="236"/>
                </a:lnTo>
                <a:lnTo>
                  <a:pt x="516" y="4"/>
                </a:lnTo>
                <a:lnTo>
                  <a:pt x="603" y="4"/>
                </a:lnTo>
                <a:lnTo>
                  <a:pt x="610" y="4"/>
                </a:lnTo>
                <a:lnTo>
                  <a:pt x="617" y="5"/>
                </a:lnTo>
                <a:lnTo>
                  <a:pt x="624" y="7"/>
                </a:lnTo>
                <a:lnTo>
                  <a:pt x="631" y="9"/>
                </a:lnTo>
                <a:lnTo>
                  <a:pt x="637" y="11"/>
                </a:lnTo>
                <a:lnTo>
                  <a:pt x="643" y="14"/>
                </a:lnTo>
                <a:lnTo>
                  <a:pt x="648" y="18"/>
                </a:lnTo>
                <a:lnTo>
                  <a:pt x="653" y="22"/>
                </a:lnTo>
                <a:lnTo>
                  <a:pt x="658" y="27"/>
                </a:lnTo>
                <a:lnTo>
                  <a:pt x="662" y="32"/>
                </a:lnTo>
                <a:lnTo>
                  <a:pt x="665" y="37"/>
                </a:lnTo>
                <a:lnTo>
                  <a:pt x="668" y="43"/>
                </a:lnTo>
                <a:lnTo>
                  <a:pt x="670" y="50"/>
                </a:lnTo>
                <a:lnTo>
                  <a:pt x="672" y="57"/>
                </a:lnTo>
                <a:lnTo>
                  <a:pt x="673" y="64"/>
                </a:lnTo>
                <a:lnTo>
                  <a:pt x="673" y="72"/>
                </a:lnTo>
                <a:lnTo>
                  <a:pt x="673" y="80"/>
                </a:lnTo>
                <a:lnTo>
                  <a:pt x="672" y="87"/>
                </a:lnTo>
                <a:lnTo>
                  <a:pt x="670" y="94"/>
                </a:lnTo>
                <a:lnTo>
                  <a:pt x="668" y="100"/>
                </a:lnTo>
                <a:lnTo>
                  <a:pt x="665" y="106"/>
                </a:lnTo>
                <a:lnTo>
                  <a:pt x="662" y="111"/>
                </a:lnTo>
                <a:lnTo>
                  <a:pt x="658" y="116"/>
                </a:lnTo>
                <a:lnTo>
                  <a:pt x="654" y="120"/>
                </a:lnTo>
                <a:lnTo>
                  <a:pt x="650" y="124"/>
                </a:lnTo>
                <a:lnTo>
                  <a:pt x="645" y="128"/>
                </a:lnTo>
                <a:lnTo>
                  <a:pt x="639" y="131"/>
                </a:lnTo>
                <a:lnTo>
                  <a:pt x="634" y="133"/>
                </a:lnTo>
                <a:lnTo>
                  <a:pt x="628" y="136"/>
                </a:lnTo>
                <a:lnTo>
                  <a:pt x="622" y="137"/>
                </a:lnTo>
                <a:lnTo>
                  <a:pt x="609" y="139"/>
                </a:lnTo>
                <a:lnTo>
                  <a:pt x="676" y="236"/>
                </a:lnTo>
                <a:lnTo>
                  <a:pt x="652" y="236"/>
                </a:lnTo>
                <a:close/>
                <a:moveTo>
                  <a:pt x="652" y="72"/>
                </a:moveTo>
                <a:lnTo>
                  <a:pt x="652" y="67"/>
                </a:lnTo>
                <a:lnTo>
                  <a:pt x="652" y="61"/>
                </a:lnTo>
                <a:lnTo>
                  <a:pt x="650" y="56"/>
                </a:lnTo>
                <a:lnTo>
                  <a:pt x="649" y="52"/>
                </a:lnTo>
                <a:lnTo>
                  <a:pt x="647" y="47"/>
                </a:lnTo>
                <a:lnTo>
                  <a:pt x="644" y="43"/>
                </a:lnTo>
                <a:lnTo>
                  <a:pt x="642" y="40"/>
                </a:lnTo>
                <a:lnTo>
                  <a:pt x="638" y="36"/>
                </a:lnTo>
                <a:lnTo>
                  <a:pt x="635" y="33"/>
                </a:lnTo>
                <a:lnTo>
                  <a:pt x="631" y="30"/>
                </a:lnTo>
                <a:lnTo>
                  <a:pt x="627" y="28"/>
                </a:lnTo>
                <a:lnTo>
                  <a:pt x="622" y="26"/>
                </a:lnTo>
                <a:lnTo>
                  <a:pt x="617" y="24"/>
                </a:lnTo>
                <a:lnTo>
                  <a:pt x="612" y="23"/>
                </a:lnTo>
                <a:lnTo>
                  <a:pt x="607" y="22"/>
                </a:lnTo>
                <a:lnTo>
                  <a:pt x="601" y="22"/>
                </a:lnTo>
                <a:lnTo>
                  <a:pt x="536" y="22"/>
                </a:lnTo>
                <a:lnTo>
                  <a:pt x="536" y="122"/>
                </a:lnTo>
                <a:lnTo>
                  <a:pt x="601" y="122"/>
                </a:lnTo>
                <a:lnTo>
                  <a:pt x="607" y="122"/>
                </a:lnTo>
                <a:lnTo>
                  <a:pt x="612" y="121"/>
                </a:lnTo>
                <a:lnTo>
                  <a:pt x="617" y="120"/>
                </a:lnTo>
                <a:lnTo>
                  <a:pt x="622" y="118"/>
                </a:lnTo>
                <a:lnTo>
                  <a:pt x="627" y="116"/>
                </a:lnTo>
                <a:lnTo>
                  <a:pt x="631" y="114"/>
                </a:lnTo>
                <a:lnTo>
                  <a:pt x="635" y="111"/>
                </a:lnTo>
                <a:lnTo>
                  <a:pt x="638" y="108"/>
                </a:lnTo>
                <a:lnTo>
                  <a:pt x="642" y="104"/>
                </a:lnTo>
                <a:lnTo>
                  <a:pt x="644" y="101"/>
                </a:lnTo>
                <a:lnTo>
                  <a:pt x="647" y="96"/>
                </a:lnTo>
                <a:lnTo>
                  <a:pt x="649" y="92"/>
                </a:lnTo>
                <a:lnTo>
                  <a:pt x="650" y="90"/>
                </a:lnTo>
                <a:lnTo>
                  <a:pt x="650" y="87"/>
                </a:lnTo>
                <a:lnTo>
                  <a:pt x="652" y="82"/>
                </a:lnTo>
                <a:lnTo>
                  <a:pt x="652" y="77"/>
                </a:lnTo>
                <a:lnTo>
                  <a:pt x="652" y="72"/>
                </a:lnTo>
                <a:close/>
                <a:moveTo>
                  <a:pt x="811" y="120"/>
                </a:moveTo>
                <a:lnTo>
                  <a:pt x="811" y="107"/>
                </a:lnTo>
                <a:lnTo>
                  <a:pt x="813" y="95"/>
                </a:lnTo>
                <a:lnTo>
                  <a:pt x="816" y="83"/>
                </a:lnTo>
                <a:lnTo>
                  <a:pt x="820" y="71"/>
                </a:lnTo>
                <a:lnTo>
                  <a:pt x="822" y="66"/>
                </a:lnTo>
                <a:lnTo>
                  <a:pt x="825" y="61"/>
                </a:lnTo>
                <a:lnTo>
                  <a:pt x="830" y="51"/>
                </a:lnTo>
                <a:lnTo>
                  <a:pt x="834" y="46"/>
                </a:lnTo>
                <a:lnTo>
                  <a:pt x="837" y="42"/>
                </a:lnTo>
                <a:lnTo>
                  <a:pt x="845" y="34"/>
                </a:lnTo>
                <a:lnTo>
                  <a:pt x="854" y="26"/>
                </a:lnTo>
                <a:lnTo>
                  <a:pt x="863" y="19"/>
                </a:lnTo>
                <a:lnTo>
                  <a:pt x="873" y="14"/>
                </a:lnTo>
                <a:lnTo>
                  <a:pt x="883" y="9"/>
                </a:lnTo>
                <a:lnTo>
                  <a:pt x="894" y="5"/>
                </a:lnTo>
                <a:lnTo>
                  <a:pt x="905" y="3"/>
                </a:lnTo>
                <a:lnTo>
                  <a:pt x="917" y="1"/>
                </a:lnTo>
                <a:lnTo>
                  <a:pt x="929" y="0"/>
                </a:lnTo>
                <a:lnTo>
                  <a:pt x="942" y="1"/>
                </a:lnTo>
                <a:lnTo>
                  <a:pt x="949" y="2"/>
                </a:lnTo>
                <a:lnTo>
                  <a:pt x="955" y="3"/>
                </a:lnTo>
                <a:lnTo>
                  <a:pt x="967" y="7"/>
                </a:lnTo>
                <a:lnTo>
                  <a:pt x="978" y="12"/>
                </a:lnTo>
                <a:lnTo>
                  <a:pt x="983" y="14"/>
                </a:lnTo>
                <a:lnTo>
                  <a:pt x="988" y="17"/>
                </a:lnTo>
                <a:lnTo>
                  <a:pt x="997" y="24"/>
                </a:lnTo>
                <a:lnTo>
                  <a:pt x="1006" y="32"/>
                </a:lnTo>
                <a:lnTo>
                  <a:pt x="1013" y="41"/>
                </a:lnTo>
                <a:lnTo>
                  <a:pt x="997" y="52"/>
                </a:lnTo>
                <a:lnTo>
                  <a:pt x="994" y="48"/>
                </a:lnTo>
                <a:lnTo>
                  <a:pt x="991" y="45"/>
                </a:lnTo>
                <a:lnTo>
                  <a:pt x="984" y="38"/>
                </a:lnTo>
                <a:lnTo>
                  <a:pt x="976" y="33"/>
                </a:lnTo>
                <a:lnTo>
                  <a:pt x="968" y="28"/>
                </a:lnTo>
                <a:lnTo>
                  <a:pt x="959" y="24"/>
                </a:lnTo>
                <a:lnTo>
                  <a:pt x="954" y="22"/>
                </a:lnTo>
                <a:lnTo>
                  <a:pt x="949" y="21"/>
                </a:lnTo>
                <a:lnTo>
                  <a:pt x="944" y="20"/>
                </a:lnTo>
                <a:lnTo>
                  <a:pt x="939" y="19"/>
                </a:lnTo>
                <a:lnTo>
                  <a:pt x="934" y="19"/>
                </a:lnTo>
                <a:lnTo>
                  <a:pt x="929" y="18"/>
                </a:lnTo>
                <a:lnTo>
                  <a:pt x="919" y="19"/>
                </a:lnTo>
                <a:lnTo>
                  <a:pt x="909" y="20"/>
                </a:lnTo>
                <a:lnTo>
                  <a:pt x="905" y="21"/>
                </a:lnTo>
                <a:lnTo>
                  <a:pt x="900" y="23"/>
                </a:lnTo>
                <a:lnTo>
                  <a:pt x="891" y="26"/>
                </a:lnTo>
                <a:lnTo>
                  <a:pt x="883" y="30"/>
                </a:lnTo>
                <a:lnTo>
                  <a:pt x="875" y="35"/>
                </a:lnTo>
                <a:lnTo>
                  <a:pt x="867" y="40"/>
                </a:lnTo>
                <a:lnTo>
                  <a:pt x="864" y="43"/>
                </a:lnTo>
                <a:lnTo>
                  <a:pt x="860" y="47"/>
                </a:lnTo>
                <a:lnTo>
                  <a:pt x="854" y="54"/>
                </a:lnTo>
                <a:lnTo>
                  <a:pt x="848" y="61"/>
                </a:lnTo>
                <a:lnTo>
                  <a:pt x="843" y="70"/>
                </a:lnTo>
                <a:lnTo>
                  <a:pt x="839" y="79"/>
                </a:lnTo>
                <a:lnTo>
                  <a:pt x="836" y="88"/>
                </a:lnTo>
                <a:lnTo>
                  <a:pt x="833" y="98"/>
                </a:lnTo>
                <a:lnTo>
                  <a:pt x="832" y="109"/>
                </a:lnTo>
                <a:lnTo>
                  <a:pt x="831" y="120"/>
                </a:lnTo>
                <a:lnTo>
                  <a:pt x="832" y="131"/>
                </a:lnTo>
                <a:lnTo>
                  <a:pt x="833" y="142"/>
                </a:lnTo>
                <a:lnTo>
                  <a:pt x="836" y="152"/>
                </a:lnTo>
                <a:lnTo>
                  <a:pt x="839" y="161"/>
                </a:lnTo>
                <a:lnTo>
                  <a:pt x="843" y="170"/>
                </a:lnTo>
                <a:lnTo>
                  <a:pt x="848" y="179"/>
                </a:lnTo>
                <a:lnTo>
                  <a:pt x="854" y="186"/>
                </a:lnTo>
                <a:lnTo>
                  <a:pt x="860" y="194"/>
                </a:lnTo>
                <a:lnTo>
                  <a:pt x="867" y="200"/>
                </a:lnTo>
                <a:lnTo>
                  <a:pt x="871" y="203"/>
                </a:lnTo>
                <a:lnTo>
                  <a:pt x="875" y="206"/>
                </a:lnTo>
                <a:lnTo>
                  <a:pt x="883" y="210"/>
                </a:lnTo>
                <a:lnTo>
                  <a:pt x="891" y="214"/>
                </a:lnTo>
                <a:lnTo>
                  <a:pt x="900" y="218"/>
                </a:lnTo>
                <a:lnTo>
                  <a:pt x="909" y="220"/>
                </a:lnTo>
                <a:lnTo>
                  <a:pt x="919" y="222"/>
                </a:lnTo>
                <a:lnTo>
                  <a:pt x="929" y="222"/>
                </a:lnTo>
                <a:lnTo>
                  <a:pt x="939" y="221"/>
                </a:lnTo>
                <a:lnTo>
                  <a:pt x="949" y="220"/>
                </a:lnTo>
                <a:lnTo>
                  <a:pt x="954" y="218"/>
                </a:lnTo>
                <a:lnTo>
                  <a:pt x="959" y="217"/>
                </a:lnTo>
                <a:lnTo>
                  <a:pt x="968" y="213"/>
                </a:lnTo>
                <a:lnTo>
                  <a:pt x="972" y="210"/>
                </a:lnTo>
                <a:lnTo>
                  <a:pt x="976" y="208"/>
                </a:lnTo>
                <a:lnTo>
                  <a:pt x="984" y="202"/>
                </a:lnTo>
                <a:lnTo>
                  <a:pt x="991" y="196"/>
                </a:lnTo>
                <a:lnTo>
                  <a:pt x="994" y="192"/>
                </a:lnTo>
                <a:lnTo>
                  <a:pt x="997" y="188"/>
                </a:lnTo>
                <a:lnTo>
                  <a:pt x="1014" y="199"/>
                </a:lnTo>
                <a:lnTo>
                  <a:pt x="1010" y="203"/>
                </a:lnTo>
                <a:lnTo>
                  <a:pt x="1006" y="208"/>
                </a:lnTo>
                <a:lnTo>
                  <a:pt x="997" y="216"/>
                </a:lnTo>
                <a:lnTo>
                  <a:pt x="992" y="220"/>
                </a:lnTo>
                <a:lnTo>
                  <a:pt x="988" y="223"/>
                </a:lnTo>
                <a:lnTo>
                  <a:pt x="977" y="229"/>
                </a:lnTo>
                <a:lnTo>
                  <a:pt x="972" y="231"/>
                </a:lnTo>
                <a:lnTo>
                  <a:pt x="967" y="234"/>
                </a:lnTo>
                <a:lnTo>
                  <a:pt x="961" y="236"/>
                </a:lnTo>
                <a:lnTo>
                  <a:pt x="955" y="237"/>
                </a:lnTo>
                <a:lnTo>
                  <a:pt x="949" y="238"/>
                </a:lnTo>
                <a:lnTo>
                  <a:pt x="942" y="239"/>
                </a:lnTo>
                <a:lnTo>
                  <a:pt x="929" y="240"/>
                </a:lnTo>
                <a:lnTo>
                  <a:pt x="917" y="240"/>
                </a:lnTo>
                <a:lnTo>
                  <a:pt x="911" y="239"/>
                </a:lnTo>
                <a:lnTo>
                  <a:pt x="905" y="238"/>
                </a:lnTo>
                <a:lnTo>
                  <a:pt x="894" y="235"/>
                </a:lnTo>
                <a:lnTo>
                  <a:pt x="888" y="233"/>
                </a:lnTo>
                <a:lnTo>
                  <a:pt x="883" y="231"/>
                </a:lnTo>
                <a:lnTo>
                  <a:pt x="873" y="227"/>
                </a:lnTo>
                <a:lnTo>
                  <a:pt x="863" y="221"/>
                </a:lnTo>
                <a:lnTo>
                  <a:pt x="854" y="214"/>
                </a:lnTo>
                <a:lnTo>
                  <a:pt x="849" y="211"/>
                </a:lnTo>
                <a:lnTo>
                  <a:pt x="845" y="207"/>
                </a:lnTo>
                <a:lnTo>
                  <a:pt x="837" y="199"/>
                </a:lnTo>
                <a:lnTo>
                  <a:pt x="830" y="189"/>
                </a:lnTo>
                <a:lnTo>
                  <a:pt x="825" y="180"/>
                </a:lnTo>
                <a:lnTo>
                  <a:pt x="820" y="169"/>
                </a:lnTo>
                <a:lnTo>
                  <a:pt x="816" y="158"/>
                </a:lnTo>
                <a:lnTo>
                  <a:pt x="814" y="152"/>
                </a:lnTo>
                <a:lnTo>
                  <a:pt x="813" y="146"/>
                </a:lnTo>
                <a:lnTo>
                  <a:pt x="811" y="133"/>
                </a:lnTo>
                <a:lnTo>
                  <a:pt x="811" y="127"/>
                </a:lnTo>
                <a:lnTo>
                  <a:pt x="811" y="120"/>
                </a:lnTo>
                <a:close/>
                <a:moveTo>
                  <a:pt x="1049" y="236"/>
                </a:moveTo>
                <a:lnTo>
                  <a:pt x="1049" y="4"/>
                </a:lnTo>
                <a:lnTo>
                  <a:pt x="1069" y="4"/>
                </a:lnTo>
                <a:lnTo>
                  <a:pt x="1069" y="218"/>
                </a:lnTo>
                <a:lnTo>
                  <a:pt x="1181" y="218"/>
                </a:lnTo>
                <a:lnTo>
                  <a:pt x="1181" y="236"/>
                </a:lnTo>
                <a:lnTo>
                  <a:pt x="1049" y="236"/>
                </a:lnTo>
                <a:close/>
                <a:moveTo>
                  <a:pt x="1220" y="236"/>
                </a:moveTo>
                <a:lnTo>
                  <a:pt x="1220" y="4"/>
                </a:lnTo>
                <a:lnTo>
                  <a:pt x="1240" y="4"/>
                </a:lnTo>
                <a:lnTo>
                  <a:pt x="1240" y="236"/>
                </a:lnTo>
                <a:lnTo>
                  <a:pt x="1220" y="236"/>
                </a:lnTo>
                <a:close/>
                <a:moveTo>
                  <a:pt x="1301" y="236"/>
                </a:moveTo>
                <a:lnTo>
                  <a:pt x="1301" y="4"/>
                </a:lnTo>
                <a:lnTo>
                  <a:pt x="1448" y="4"/>
                </a:lnTo>
                <a:lnTo>
                  <a:pt x="1448" y="22"/>
                </a:lnTo>
                <a:lnTo>
                  <a:pt x="1320" y="22"/>
                </a:lnTo>
                <a:lnTo>
                  <a:pt x="1320" y="108"/>
                </a:lnTo>
                <a:lnTo>
                  <a:pt x="1445" y="108"/>
                </a:lnTo>
                <a:lnTo>
                  <a:pt x="1445" y="126"/>
                </a:lnTo>
                <a:lnTo>
                  <a:pt x="1320" y="126"/>
                </a:lnTo>
                <a:lnTo>
                  <a:pt x="1320" y="218"/>
                </a:lnTo>
                <a:lnTo>
                  <a:pt x="1448" y="218"/>
                </a:lnTo>
                <a:lnTo>
                  <a:pt x="1448" y="236"/>
                </a:lnTo>
                <a:lnTo>
                  <a:pt x="1301" y="236"/>
                </a:lnTo>
                <a:close/>
                <a:moveTo>
                  <a:pt x="1662" y="236"/>
                </a:moveTo>
                <a:lnTo>
                  <a:pt x="1516" y="37"/>
                </a:lnTo>
                <a:lnTo>
                  <a:pt x="1516" y="236"/>
                </a:lnTo>
                <a:lnTo>
                  <a:pt x="1496" y="236"/>
                </a:lnTo>
                <a:lnTo>
                  <a:pt x="1496" y="4"/>
                </a:lnTo>
                <a:lnTo>
                  <a:pt x="1516" y="4"/>
                </a:lnTo>
                <a:lnTo>
                  <a:pt x="1662" y="200"/>
                </a:lnTo>
                <a:lnTo>
                  <a:pt x="1662" y="4"/>
                </a:lnTo>
                <a:lnTo>
                  <a:pt x="1681" y="4"/>
                </a:lnTo>
                <a:lnTo>
                  <a:pt x="1681" y="236"/>
                </a:lnTo>
                <a:lnTo>
                  <a:pt x="1662" y="236"/>
                </a:lnTo>
                <a:close/>
                <a:moveTo>
                  <a:pt x="1798" y="236"/>
                </a:moveTo>
                <a:lnTo>
                  <a:pt x="1798" y="22"/>
                </a:lnTo>
                <a:lnTo>
                  <a:pt x="1722" y="22"/>
                </a:lnTo>
                <a:lnTo>
                  <a:pt x="1722" y="4"/>
                </a:lnTo>
                <a:lnTo>
                  <a:pt x="1893" y="4"/>
                </a:lnTo>
                <a:lnTo>
                  <a:pt x="1893" y="22"/>
                </a:lnTo>
                <a:lnTo>
                  <a:pt x="1818" y="22"/>
                </a:lnTo>
                <a:lnTo>
                  <a:pt x="1818" y="236"/>
                </a:lnTo>
                <a:lnTo>
                  <a:pt x="1798" y="236"/>
                </a:lnTo>
                <a:close/>
                <a:moveTo>
                  <a:pt x="1918" y="203"/>
                </a:moveTo>
                <a:lnTo>
                  <a:pt x="1931" y="188"/>
                </a:lnTo>
                <a:lnTo>
                  <a:pt x="1934" y="191"/>
                </a:lnTo>
                <a:lnTo>
                  <a:pt x="1937" y="195"/>
                </a:lnTo>
                <a:lnTo>
                  <a:pt x="1940" y="198"/>
                </a:lnTo>
                <a:lnTo>
                  <a:pt x="1944" y="201"/>
                </a:lnTo>
                <a:lnTo>
                  <a:pt x="1952" y="206"/>
                </a:lnTo>
                <a:lnTo>
                  <a:pt x="1960" y="212"/>
                </a:lnTo>
                <a:lnTo>
                  <a:pt x="1970" y="216"/>
                </a:lnTo>
                <a:lnTo>
                  <a:pt x="1975" y="218"/>
                </a:lnTo>
                <a:lnTo>
                  <a:pt x="1980" y="219"/>
                </a:lnTo>
                <a:lnTo>
                  <a:pt x="1986" y="220"/>
                </a:lnTo>
                <a:lnTo>
                  <a:pt x="1992" y="221"/>
                </a:lnTo>
                <a:lnTo>
                  <a:pt x="2004" y="222"/>
                </a:lnTo>
                <a:lnTo>
                  <a:pt x="2012" y="222"/>
                </a:lnTo>
                <a:lnTo>
                  <a:pt x="2020" y="221"/>
                </a:lnTo>
                <a:lnTo>
                  <a:pt x="2027" y="219"/>
                </a:lnTo>
                <a:lnTo>
                  <a:pt x="2033" y="218"/>
                </a:lnTo>
                <a:lnTo>
                  <a:pt x="2039" y="215"/>
                </a:lnTo>
                <a:lnTo>
                  <a:pt x="2044" y="213"/>
                </a:lnTo>
                <a:lnTo>
                  <a:pt x="2048" y="210"/>
                </a:lnTo>
                <a:lnTo>
                  <a:pt x="2052" y="206"/>
                </a:lnTo>
                <a:lnTo>
                  <a:pt x="2055" y="203"/>
                </a:lnTo>
                <a:lnTo>
                  <a:pt x="2058" y="199"/>
                </a:lnTo>
                <a:lnTo>
                  <a:pt x="2060" y="195"/>
                </a:lnTo>
                <a:lnTo>
                  <a:pt x="2062" y="191"/>
                </a:lnTo>
                <a:lnTo>
                  <a:pt x="2064" y="183"/>
                </a:lnTo>
                <a:lnTo>
                  <a:pt x="2064" y="176"/>
                </a:lnTo>
                <a:lnTo>
                  <a:pt x="2064" y="170"/>
                </a:lnTo>
                <a:lnTo>
                  <a:pt x="2063" y="164"/>
                </a:lnTo>
                <a:lnTo>
                  <a:pt x="2061" y="159"/>
                </a:lnTo>
                <a:lnTo>
                  <a:pt x="2058" y="155"/>
                </a:lnTo>
                <a:lnTo>
                  <a:pt x="2055" y="151"/>
                </a:lnTo>
                <a:lnTo>
                  <a:pt x="2052" y="147"/>
                </a:lnTo>
                <a:lnTo>
                  <a:pt x="2047" y="144"/>
                </a:lnTo>
                <a:lnTo>
                  <a:pt x="2043" y="141"/>
                </a:lnTo>
                <a:lnTo>
                  <a:pt x="2038" y="138"/>
                </a:lnTo>
                <a:lnTo>
                  <a:pt x="2032" y="136"/>
                </a:lnTo>
                <a:lnTo>
                  <a:pt x="2020" y="131"/>
                </a:lnTo>
                <a:lnTo>
                  <a:pt x="2008" y="127"/>
                </a:lnTo>
                <a:lnTo>
                  <a:pt x="1995" y="124"/>
                </a:lnTo>
                <a:lnTo>
                  <a:pt x="1982" y="120"/>
                </a:lnTo>
                <a:lnTo>
                  <a:pt x="1969" y="116"/>
                </a:lnTo>
                <a:lnTo>
                  <a:pt x="1958" y="111"/>
                </a:lnTo>
                <a:lnTo>
                  <a:pt x="1952" y="108"/>
                </a:lnTo>
                <a:lnTo>
                  <a:pt x="1947" y="104"/>
                </a:lnTo>
                <a:lnTo>
                  <a:pt x="1942" y="101"/>
                </a:lnTo>
                <a:lnTo>
                  <a:pt x="1938" y="97"/>
                </a:lnTo>
                <a:lnTo>
                  <a:pt x="1935" y="92"/>
                </a:lnTo>
                <a:lnTo>
                  <a:pt x="1931" y="87"/>
                </a:lnTo>
                <a:lnTo>
                  <a:pt x="1929" y="82"/>
                </a:lnTo>
                <a:lnTo>
                  <a:pt x="1927" y="76"/>
                </a:lnTo>
                <a:lnTo>
                  <a:pt x="1926" y="69"/>
                </a:lnTo>
                <a:lnTo>
                  <a:pt x="1925" y="62"/>
                </a:lnTo>
                <a:lnTo>
                  <a:pt x="1926" y="55"/>
                </a:lnTo>
                <a:lnTo>
                  <a:pt x="1927" y="49"/>
                </a:lnTo>
                <a:lnTo>
                  <a:pt x="1929" y="42"/>
                </a:lnTo>
                <a:lnTo>
                  <a:pt x="1931" y="36"/>
                </a:lnTo>
                <a:lnTo>
                  <a:pt x="1935" y="31"/>
                </a:lnTo>
                <a:lnTo>
                  <a:pt x="1938" y="26"/>
                </a:lnTo>
                <a:lnTo>
                  <a:pt x="1941" y="24"/>
                </a:lnTo>
                <a:lnTo>
                  <a:pt x="1943" y="21"/>
                </a:lnTo>
                <a:lnTo>
                  <a:pt x="1948" y="17"/>
                </a:lnTo>
                <a:lnTo>
                  <a:pt x="1953" y="13"/>
                </a:lnTo>
                <a:lnTo>
                  <a:pt x="1959" y="10"/>
                </a:lnTo>
                <a:lnTo>
                  <a:pt x="1965" y="7"/>
                </a:lnTo>
                <a:lnTo>
                  <a:pt x="1972" y="5"/>
                </a:lnTo>
                <a:lnTo>
                  <a:pt x="1979" y="3"/>
                </a:lnTo>
                <a:lnTo>
                  <a:pt x="1986" y="1"/>
                </a:lnTo>
                <a:lnTo>
                  <a:pt x="1994" y="1"/>
                </a:lnTo>
                <a:lnTo>
                  <a:pt x="2002" y="0"/>
                </a:lnTo>
                <a:lnTo>
                  <a:pt x="2014" y="1"/>
                </a:lnTo>
                <a:lnTo>
                  <a:pt x="2020" y="2"/>
                </a:lnTo>
                <a:lnTo>
                  <a:pt x="2026" y="2"/>
                </a:lnTo>
                <a:lnTo>
                  <a:pt x="2037" y="5"/>
                </a:lnTo>
                <a:lnTo>
                  <a:pt x="2042" y="7"/>
                </a:lnTo>
                <a:lnTo>
                  <a:pt x="2047" y="9"/>
                </a:lnTo>
                <a:lnTo>
                  <a:pt x="2057" y="14"/>
                </a:lnTo>
                <a:lnTo>
                  <a:pt x="2065" y="19"/>
                </a:lnTo>
                <a:lnTo>
                  <a:pt x="2073" y="26"/>
                </a:lnTo>
                <a:lnTo>
                  <a:pt x="2080" y="33"/>
                </a:lnTo>
                <a:lnTo>
                  <a:pt x="2067" y="48"/>
                </a:lnTo>
                <a:lnTo>
                  <a:pt x="2060" y="41"/>
                </a:lnTo>
                <a:lnTo>
                  <a:pt x="2057" y="37"/>
                </a:lnTo>
                <a:lnTo>
                  <a:pt x="2053" y="34"/>
                </a:lnTo>
                <a:lnTo>
                  <a:pt x="2045" y="29"/>
                </a:lnTo>
                <a:lnTo>
                  <a:pt x="2037" y="25"/>
                </a:lnTo>
                <a:lnTo>
                  <a:pt x="2033" y="24"/>
                </a:lnTo>
                <a:lnTo>
                  <a:pt x="2029" y="22"/>
                </a:lnTo>
                <a:lnTo>
                  <a:pt x="2020" y="20"/>
                </a:lnTo>
                <a:lnTo>
                  <a:pt x="2010" y="19"/>
                </a:lnTo>
                <a:lnTo>
                  <a:pt x="2000" y="18"/>
                </a:lnTo>
                <a:lnTo>
                  <a:pt x="1989" y="19"/>
                </a:lnTo>
                <a:lnTo>
                  <a:pt x="1984" y="20"/>
                </a:lnTo>
                <a:lnTo>
                  <a:pt x="1979" y="22"/>
                </a:lnTo>
                <a:lnTo>
                  <a:pt x="1974" y="23"/>
                </a:lnTo>
                <a:lnTo>
                  <a:pt x="1970" y="25"/>
                </a:lnTo>
                <a:lnTo>
                  <a:pt x="1962" y="30"/>
                </a:lnTo>
                <a:lnTo>
                  <a:pt x="1958" y="33"/>
                </a:lnTo>
                <a:lnTo>
                  <a:pt x="1955" y="37"/>
                </a:lnTo>
                <a:lnTo>
                  <a:pt x="1953" y="40"/>
                </a:lnTo>
                <a:lnTo>
                  <a:pt x="1950" y="44"/>
                </a:lnTo>
                <a:lnTo>
                  <a:pt x="1949" y="48"/>
                </a:lnTo>
                <a:lnTo>
                  <a:pt x="1947" y="52"/>
                </a:lnTo>
                <a:lnTo>
                  <a:pt x="1947" y="56"/>
                </a:lnTo>
                <a:lnTo>
                  <a:pt x="1946" y="61"/>
                </a:lnTo>
                <a:lnTo>
                  <a:pt x="1947" y="66"/>
                </a:lnTo>
                <a:lnTo>
                  <a:pt x="1948" y="71"/>
                </a:lnTo>
                <a:lnTo>
                  <a:pt x="1950" y="76"/>
                </a:lnTo>
                <a:lnTo>
                  <a:pt x="1952" y="79"/>
                </a:lnTo>
                <a:lnTo>
                  <a:pt x="1955" y="83"/>
                </a:lnTo>
                <a:lnTo>
                  <a:pt x="1959" y="86"/>
                </a:lnTo>
                <a:lnTo>
                  <a:pt x="1968" y="92"/>
                </a:lnTo>
                <a:lnTo>
                  <a:pt x="1973" y="94"/>
                </a:lnTo>
                <a:lnTo>
                  <a:pt x="1979" y="96"/>
                </a:lnTo>
                <a:lnTo>
                  <a:pt x="1990" y="100"/>
                </a:lnTo>
                <a:lnTo>
                  <a:pt x="2016" y="108"/>
                </a:lnTo>
                <a:lnTo>
                  <a:pt x="2029" y="112"/>
                </a:lnTo>
                <a:lnTo>
                  <a:pt x="2041" y="116"/>
                </a:lnTo>
                <a:lnTo>
                  <a:pt x="2053" y="122"/>
                </a:lnTo>
                <a:lnTo>
                  <a:pt x="2058" y="125"/>
                </a:lnTo>
                <a:lnTo>
                  <a:pt x="2064" y="129"/>
                </a:lnTo>
                <a:lnTo>
                  <a:pt x="2068" y="133"/>
                </a:lnTo>
                <a:lnTo>
                  <a:pt x="2070" y="135"/>
                </a:lnTo>
                <a:lnTo>
                  <a:pt x="2072" y="137"/>
                </a:lnTo>
                <a:lnTo>
                  <a:pt x="2076" y="142"/>
                </a:lnTo>
                <a:lnTo>
                  <a:pt x="2079" y="147"/>
                </a:lnTo>
                <a:lnTo>
                  <a:pt x="2082" y="153"/>
                </a:lnTo>
                <a:lnTo>
                  <a:pt x="2084" y="160"/>
                </a:lnTo>
                <a:lnTo>
                  <a:pt x="2085" y="167"/>
                </a:lnTo>
                <a:lnTo>
                  <a:pt x="2085" y="174"/>
                </a:lnTo>
                <a:lnTo>
                  <a:pt x="2085" y="180"/>
                </a:lnTo>
                <a:lnTo>
                  <a:pt x="2084" y="186"/>
                </a:lnTo>
                <a:lnTo>
                  <a:pt x="2081" y="197"/>
                </a:lnTo>
                <a:lnTo>
                  <a:pt x="2079" y="203"/>
                </a:lnTo>
                <a:lnTo>
                  <a:pt x="2076" y="208"/>
                </a:lnTo>
                <a:lnTo>
                  <a:pt x="2072" y="214"/>
                </a:lnTo>
                <a:lnTo>
                  <a:pt x="2068" y="218"/>
                </a:lnTo>
                <a:lnTo>
                  <a:pt x="2062" y="223"/>
                </a:lnTo>
                <a:lnTo>
                  <a:pt x="2056" y="227"/>
                </a:lnTo>
                <a:lnTo>
                  <a:pt x="2050" y="231"/>
                </a:lnTo>
                <a:lnTo>
                  <a:pt x="2042" y="234"/>
                </a:lnTo>
                <a:lnTo>
                  <a:pt x="2034" y="237"/>
                </a:lnTo>
                <a:lnTo>
                  <a:pt x="2024" y="238"/>
                </a:lnTo>
                <a:lnTo>
                  <a:pt x="2014" y="240"/>
                </a:lnTo>
                <a:lnTo>
                  <a:pt x="2003" y="240"/>
                </a:lnTo>
                <a:lnTo>
                  <a:pt x="1989" y="239"/>
                </a:lnTo>
                <a:lnTo>
                  <a:pt x="1976" y="237"/>
                </a:lnTo>
                <a:lnTo>
                  <a:pt x="1964" y="234"/>
                </a:lnTo>
                <a:lnTo>
                  <a:pt x="1953" y="230"/>
                </a:lnTo>
                <a:lnTo>
                  <a:pt x="1943" y="224"/>
                </a:lnTo>
                <a:lnTo>
                  <a:pt x="1933" y="218"/>
                </a:lnTo>
                <a:lnTo>
                  <a:pt x="1929" y="215"/>
                </a:lnTo>
                <a:lnTo>
                  <a:pt x="1925" y="211"/>
                </a:lnTo>
                <a:lnTo>
                  <a:pt x="1918" y="203"/>
                </a:lnTo>
                <a:close/>
                <a:moveTo>
                  <a:pt x="2427" y="236"/>
                </a:moveTo>
                <a:lnTo>
                  <a:pt x="2427" y="29"/>
                </a:lnTo>
                <a:lnTo>
                  <a:pt x="2342" y="236"/>
                </a:lnTo>
                <a:lnTo>
                  <a:pt x="2334" y="236"/>
                </a:lnTo>
                <a:lnTo>
                  <a:pt x="2250" y="29"/>
                </a:lnTo>
                <a:lnTo>
                  <a:pt x="2250" y="236"/>
                </a:lnTo>
                <a:lnTo>
                  <a:pt x="2230" y="236"/>
                </a:lnTo>
                <a:lnTo>
                  <a:pt x="2230" y="4"/>
                </a:lnTo>
                <a:lnTo>
                  <a:pt x="2259" y="4"/>
                </a:lnTo>
                <a:lnTo>
                  <a:pt x="2338" y="197"/>
                </a:lnTo>
                <a:lnTo>
                  <a:pt x="2417" y="4"/>
                </a:lnTo>
                <a:lnTo>
                  <a:pt x="2447" y="4"/>
                </a:lnTo>
                <a:lnTo>
                  <a:pt x="2447" y="236"/>
                </a:lnTo>
                <a:lnTo>
                  <a:pt x="2427" y="236"/>
                </a:lnTo>
                <a:close/>
                <a:moveTo>
                  <a:pt x="2676" y="236"/>
                </a:moveTo>
                <a:lnTo>
                  <a:pt x="2653" y="179"/>
                </a:lnTo>
                <a:lnTo>
                  <a:pt x="2530" y="179"/>
                </a:lnTo>
                <a:lnTo>
                  <a:pt x="2507" y="236"/>
                </a:lnTo>
                <a:lnTo>
                  <a:pt x="2484" y="236"/>
                </a:lnTo>
                <a:lnTo>
                  <a:pt x="2580" y="4"/>
                </a:lnTo>
                <a:lnTo>
                  <a:pt x="2604" y="4"/>
                </a:lnTo>
                <a:lnTo>
                  <a:pt x="2699" y="236"/>
                </a:lnTo>
                <a:lnTo>
                  <a:pt x="2676" y="236"/>
                </a:lnTo>
                <a:close/>
                <a:moveTo>
                  <a:pt x="2592" y="25"/>
                </a:moveTo>
                <a:lnTo>
                  <a:pt x="2536" y="161"/>
                </a:lnTo>
                <a:lnTo>
                  <a:pt x="2647" y="161"/>
                </a:lnTo>
                <a:lnTo>
                  <a:pt x="2592" y="25"/>
                </a:lnTo>
                <a:close/>
                <a:moveTo>
                  <a:pt x="2877" y="236"/>
                </a:moveTo>
                <a:lnTo>
                  <a:pt x="2782" y="127"/>
                </a:lnTo>
                <a:lnTo>
                  <a:pt x="2756" y="155"/>
                </a:lnTo>
                <a:lnTo>
                  <a:pt x="2756" y="236"/>
                </a:lnTo>
                <a:lnTo>
                  <a:pt x="2736" y="236"/>
                </a:lnTo>
                <a:lnTo>
                  <a:pt x="2736" y="4"/>
                </a:lnTo>
                <a:lnTo>
                  <a:pt x="2756" y="4"/>
                </a:lnTo>
                <a:lnTo>
                  <a:pt x="2756" y="131"/>
                </a:lnTo>
                <a:lnTo>
                  <a:pt x="2868" y="4"/>
                </a:lnTo>
                <a:lnTo>
                  <a:pt x="2893" y="4"/>
                </a:lnTo>
                <a:lnTo>
                  <a:pt x="2795" y="115"/>
                </a:lnTo>
                <a:lnTo>
                  <a:pt x="2903" y="236"/>
                </a:lnTo>
                <a:lnTo>
                  <a:pt x="2877" y="236"/>
                </a:lnTo>
                <a:close/>
                <a:moveTo>
                  <a:pt x="2941" y="236"/>
                </a:moveTo>
                <a:lnTo>
                  <a:pt x="2941" y="4"/>
                </a:lnTo>
                <a:lnTo>
                  <a:pt x="3088" y="4"/>
                </a:lnTo>
                <a:lnTo>
                  <a:pt x="3088" y="22"/>
                </a:lnTo>
                <a:lnTo>
                  <a:pt x="2961" y="22"/>
                </a:lnTo>
                <a:lnTo>
                  <a:pt x="2961" y="108"/>
                </a:lnTo>
                <a:lnTo>
                  <a:pt x="3085" y="108"/>
                </a:lnTo>
                <a:lnTo>
                  <a:pt x="3085" y="126"/>
                </a:lnTo>
                <a:lnTo>
                  <a:pt x="2961" y="126"/>
                </a:lnTo>
                <a:lnTo>
                  <a:pt x="2961" y="218"/>
                </a:lnTo>
                <a:lnTo>
                  <a:pt x="3088" y="218"/>
                </a:lnTo>
                <a:lnTo>
                  <a:pt x="3088" y="236"/>
                </a:lnTo>
                <a:lnTo>
                  <a:pt x="2941" y="236"/>
                </a:lnTo>
                <a:close/>
                <a:moveTo>
                  <a:pt x="3293" y="236"/>
                </a:moveTo>
                <a:lnTo>
                  <a:pt x="3293" y="22"/>
                </a:lnTo>
                <a:lnTo>
                  <a:pt x="3217" y="22"/>
                </a:lnTo>
                <a:lnTo>
                  <a:pt x="3217" y="4"/>
                </a:lnTo>
                <a:lnTo>
                  <a:pt x="3388" y="4"/>
                </a:lnTo>
                <a:lnTo>
                  <a:pt x="3388" y="22"/>
                </a:lnTo>
                <a:lnTo>
                  <a:pt x="3313" y="22"/>
                </a:lnTo>
                <a:lnTo>
                  <a:pt x="3313" y="236"/>
                </a:lnTo>
                <a:lnTo>
                  <a:pt x="3293" y="236"/>
                </a:lnTo>
                <a:close/>
                <a:moveTo>
                  <a:pt x="3596" y="236"/>
                </a:moveTo>
                <a:lnTo>
                  <a:pt x="3596" y="126"/>
                </a:lnTo>
                <a:lnTo>
                  <a:pt x="3449" y="126"/>
                </a:lnTo>
                <a:lnTo>
                  <a:pt x="3449" y="236"/>
                </a:lnTo>
                <a:lnTo>
                  <a:pt x="3429" y="236"/>
                </a:lnTo>
                <a:lnTo>
                  <a:pt x="3429" y="4"/>
                </a:lnTo>
                <a:lnTo>
                  <a:pt x="3449" y="4"/>
                </a:lnTo>
                <a:lnTo>
                  <a:pt x="3449" y="108"/>
                </a:lnTo>
                <a:lnTo>
                  <a:pt x="3596" y="108"/>
                </a:lnTo>
                <a:lnTo>
                  <a:pt x="3596" y="4"/>
                </a:lnTo>
                <a:lnTo>
                  <a:pt x="3615" y="4"/>
                </a:lnTo>
                <a:lnTo>
                  <a:pt x="3615" y="236"/>
                </a:lnTo>
                <a:lnTo>
                  <a:pt x="3596" y="236"/>
                </a:lnTo>
                <a:close/>
                <a:moveTo>
                  <a:pt x="3677" y="236"/>
                </a:moveTo>
                <a:lnTo>
                  <a:pt x="3677" y="4"/>
                </a:lnTo>
                <a:lnTo>
                  <a:pt x="3824" y="4"/>
                </a:lnTo>
                <a:lnTo>
                  <a:pt x="3824" y="22"/>
                </a:lnTo>
                <a:lnTo>
                  <a:pt x="3697" y="22"/>
                </a:lnTo>
                <a:lnTo>
                  <a:pt x="3697" y="108"/>
                </a:lnTo>
                <a:lnTo>
                  <a:pt x="3822" y="108"/>
                </a:lnTo>
                <a:lnTo>
                  <a:pt x="3822" y="126"/>
                </a:lnTo>
                <a:lnTo>
                  <a:pt x="3697" y="126"/>
                </a:lnTo>
                <a:lnTo>
                  <a:pt x="3697" y="218"/>
                </a:lnTo>
                <a:lnTo>
                  <a:pt x="3824" y="218"/>
                </a:lnTo>
                <a:lnTo>
                  <a:pt x="3824" y="236"/>
                </a:lnTo>
                <a:lnTo>
                  <a:pt x="3677" y="236"/>
                </a:lnTo>
                <a:close/>
                <a:moveTo>
                  <a:pt x="4148" y="236"/>
                </a:moveTo>
                <a:lnTo>
                  <a:pt x="4092" y="37"/>
                </a:lnTo>
                <a:lnTo>
                  <a:pt x="4036" y="236"/>
                </a:lnTo>
                <a:lnTo>
                  <a:pt x="4014" y="236"/>
                </a:lnTo>
                <a:lnTo>
                  <a:pt x="3948" y="4"/>
                </a:lnTo>
                <a:lnTo>
                  <a:pt x="3970" y="4"/>
                </a:lnTo>
                <a:lnTo>
                  <a:pt x="4026" y="208"/>
                </a:lnTo>
                <a:lnTo>
                  <a:pt x="4083" y="4"/>
                </a:lnTo>
                <a:lnTo>
                  <a:pt x="4101" y="4"/>
                </a:lnTo>
                <a:lnTo>
                  <a:pt x="4158" y="208"/>
                </a:lnTo>
                <a:lnTo>
                  <a:pt x="4214" y="4"/>
                </a:lnTo>
                <a:lnTo>
                  <a:pt x="4236" y="4"/>
                </a:lnTo>
                <a:lnTo>
                  <a:pt x="4170" y="236"/>
                </a:lnTo>
                <a:lnTo>
                  <a:pt x="4148" y="236"/>
                </a:lnTo>
                <a:close/>
                <a:moveTo>
                  <a:pt x="4259" y="120"/>
                </a:moveTo>
                <a:lnTo>
                  <a:pt x="4260" y="108"/>
                </a:lnTo>
                <a:lnTo>
                  <a:pt x="4260" y="102"/>
                </a:lnTo>
                <a:lnTo>
                  <a:pt x="4261" y="96"/>
                </a:lnTo>
                <a:lnTo>
                  <a:pt x="4264" y="84"/>
                </a:lnTo>
                <a:lnTo>
                  <a:pt x="4267" y="73"/>
                </a:lnTo>
                <a:lnTo>
                  <a:pt x="4271" y="62"/>
                </a:lnTo>
                <a:lnTo>
                  <a:pt x="4274" y="57"/>
                </a:lnTo>
                <a:lnTo>
                  <a:pt x="4277" y="52"/>
                </a:lnTo>
                <a:lnTo>
                  <a:pt x="4283" y="43"/>
                </a:lnTo>
                <a:lnTo>
                  <a:pt x="4290" y="35"/>
                </a:lnTo>
                <a:lnTo>
                  <a:pt x="4298" y="27"/>
                </a:lnTo>
                <a:lnTo>
                  <a:pt x="4302" y="24"/>
                </a:lnTo>
                <a:lnTo>
                  <a:pt x="4306" y="20"/>
                </a:lnTo>
                <a:lnTo>
                  <a:pt x="4315" y="14"/>
                </a:lnTo>
                <a:lnTo>
                  <a:pt x="4325" y="9"/>
                </a:lnTo>
                <a:lnTo>
                  <a:pt x="4336" y="6"/>
                </a:lnTo>
                <a:lnTo>
                  <a:pt x="4347" y="3"/>
                </a:lnTo>
                <a:lnTo>
                  <a:pt x="4359" y="1"/>
                </a:lnTo>
                <a:lnTo>
                  <a:pt x="4365" y="0"/>
                </a:lnTo>
                <a:lnTo>
                  <a:pt x="4372" y="0"/>
                </a:lnTo>
                <a:lnTo>
                  <a:pt x="4384" y="1"/>
                </a:lnTo>
                <a:lnTo>
                  <a:pt x="4396" y="3"/>
                </a:lnTo>
                <a:lnTo>
                  <a:pt x="4407" y="6"/>
                </a:lnTo>
                <a:lnTo>
                  <a:pt x="4418" y="9"/>
                </a:lnTo>
                <a:lnTo>
                  <a:pt x="4428" y="14"/>
                </a:lnTo>
                <a:lnTo>
                  <a:pt x="4432" y="17"/>
                </a:lnTo>
                <a:lnTo>
                  <a:pt x="4437" y="20"/>
                </a:lnTo>
                <a:lnTo>
                  <a:pt x="4441" y="24"/>
                </a:lnTo>
                <a:lnTo>
                  <a:pt x="4446" y="27"/>
                </a:lnTo>
                <a:lnTo>
                  <a:pt x="4453" y="35"/>
                </a:lnTo>
                <a:lnTo>
                  <a:pt x="4460" y="43"/>
                </a:lnTo>
                <a:lnTo>
                  <a:pt x="4466" y="52"/>
                </a:lnTo>
                <a:lnTo>
                  <a:pt x="4469" y="57"/>
                </a:lnTo>
                <a:lnTo>
                  <a:pt x="4472" y="62"/>
                </a:lnTo>
                <a:lnTo>
                  <a:pt x="4476" y="73"/>
                </a:lnTo>
                <a:lnTo>
                  <a:pt x="4480" y="84"/>
                </a:lnTo>
                <a:lnTo>
                  <a:pt x="4482" y="96"/>
                </a:lnTo>
                <a:lnTo>
                  <a:pt x="4484" y="108"/>
                </a:lnTo>
                <a:lnTo>
                  <a:pt x="4484" y="120"/>
                </a:lnTo>
                <a:lnTo>
                  <a:pt x="4484" y="133"/>
                </a:lnTo>
                <a:lnTo>
                  <a:pt x="4483" y="139"/>
                </a:lnTo>
                <a:lnTo>
                  <a:pt x="4482" y="145"/>
                </a:lnTo>
                <a:lnTo>
                  <a:pt x="4480" y="156"/>
                </a:lnTo>
                <a:lnTo>
                  <a:pt x="4476" y="168"/>
                </a:lnTo>
                <a:lnTo>
                  <a:pt x="4472" y="178"/>
                </a:lnTo>
                <a:lnTo>
                  <a:pt x="4469" y="183"/>
                </a:lnTo>
                <a:lnTo>
                  <a:pt x="4466" y="188"/>
                </a:lnTo>
                <a:lnTo>
                  <a:pt x="4460" y="197"/>
                </a:lnTo>
                <a:lnTo>
                  <a:pt x="4453" y="206"/>
                </a:lnTo>
                <a:lnTo>
                  <a:pt x="4446" y="213"/>
                </a:lnTo>
                <a:lnTo>
                  <a:pt x="4441" y="217"/>
                </a:lnTo>
                <a:lnTo>
                  <a:pt x="4437" y="220"/>
                </a:lnTo>
                <a:lnTo>
                  <a:pt x="4428" y="226"/>
                </a:lnTo>
                <a:lnTo>
                  <a:pt x="4418" y="231"/>
                </a:lnTo>
                <a:lnTo>
                  <a:pt x="4407" y="235"/>
                </a:lnTo>
                <a:lnTo>
                  <a:pt x="4396" y="238"/>
                </a:lnTo>
                <a:lnTo>
                  <a:pt x="4384" y="239"/>
                </a:lnTo>
                <a:lnTo>
                  <a:pt x="4378" y="240"/>
                </a:lnTo>
                <a:lnTo>
                  <a:pt x="4372" y="240"/>
                </a:lnTo>
                <a:lnTo>
                  <a:pt x="4359" y="239"/>
                </a:lnTo>
                <a:lnTo>
                  <a:pt x="4347" y="238"/>
                </a:lnTo>
                <a:lnTo>
                  <a:pt x="4342" y="236"/>
                </a:lnTo>
                <a:lnTo>
                  <a:pt x="4336" y="235"/>
                </a:lnTo>
                <a:lnTo>
                  <a:pt x="4325" y="231"/>
                </a:lnTo>
                <a:lnTo>
                  <a:pt x="4315" y="226"/>
                </a:lnTo>
                <a:lnTo>
                  <a:pt x="4311" y="223"/>
                </a:lnTo>
                <a:lnTo>
                  <a:pt x="4306" y="220"/>
                </a:lnTo>
                <a:lnTo>
                  <a:pt x="4302" y="217"/>
                </a:lnTo>
                <a:lnTo>
                  <a:pt x="4298" y="213"/>
                </a:lnTo>
                <a:lnTo>
                  <a:pt x="4290" y="206"/>
                </a:lnTo>
                <a:lnTo>
                  <a:pt x="4283" y="197"/>
                </a:lnTo>
                <a:lnTo>
                  <a:pt x="4277" y="188"/>
                </a:lnTo>
                <a:lnTo>
                  <a:pt x="4274" y="183"/>
                </a:lnTo>
                <a:lnTo>
                  <a:pt x="4271" y="178"/>
                </a:lnTo>
                <a:lnTo>
                  <a:pt x="4267" y="168"/>
                </a:lnTo>
                <a:lnTo>
                  <a:pt x="4264" y="156"/>
                </a:lnTo>
                <a:lnTo>
                  <a:pt x="4261" y="145"/>
                </a:lnTo>
                <a:lnTo>
                  <a:pt x="4260" y="133"/>
                </a:lnTo>
                <a:lnTo>
                  <a:pt x="4259" y="120"/>
                </a:lnTo>
                <a:close/>
                <a:moveTo>
                  <a:pt x="4463" y="120"/>
                </a:moveTo>
                <a:lnTo>
                  <a:pt x="4463" y="109"/>
                </a:lnTo>
                <a:lnTo>
                  <a:pt x="4462" y="99"/>
                </a:lnTo>
                <a:lnTo>
                  <a:pt x="4460" y="89"/>
                </a:lnTo>
                <a:lnTo>
                  <a:pt x="4457" y="79"/>
                </a:lnTo>
                <a:lnTo>
                  <a:pt x="4453" y="71"/>
                </a:lnTo>
                <a:lnTo>
                  <a:pt x="4449" y="62"/>
                </a:lnTo>
                <a:lnTo>
                  <a:pt x="4444" y="54"/>
                </a:lnTo>
                <a:lnTo>
                  <a:pt x="4438" y="47"/>
                </a:lnTo>
                <a:lnTo>
                  <a:pt x="4432" y="41"/>
                </a:lnTo>
                <a:lnTo>
                  <a:pt x="4425" y="35"/>
                </a:lnTo>
                <a:lnTo>
                  <a:pt x="4418" y="30"/>
                </a:lnTo>
                <a:lnTo>
                  <a:pt x="4409" y="26"/>
                </a:lnTo>
                <a:lnTo>
                  <a:pt x="4401" y="23"/>
                </a:lnTo>
                <a:lnTo>
                  <a:pt x="4392" y="20"/>
                </a:lnTo>
                <a:lnTo>
                  <a:pt x="4382" y="19"/>
                </a:lnTo>
                <a:lnTo>
                  <a:pt x="4372" y="18"/>
                </a:lnTo>
                <a:lnTo>
                  <a:pt x="4361" y="19"/>
                </a:lnTo>
                <a:lnTo>
                  <a:pt x="4352" y="20"/>
                </a:lnTo>
                <a:lnTo>
                  <a:pt x="4342" y="23"/>
                </a:lnTo>
                <a:lnTo>
                  <a:pt x="4334" y="26"/>
                </a:lnTo>
                <a:lnTo>
                  <a:pt x="4330" y="28"/>
                </a:lnTo>
                <a:lnTo>
                  <a:pt x="4326" y="30"/>
                </a:lnTo>
                <a:lnTo>
                  <a:pt x="4318" y="35"/>
                </a:lnTo>
                <a:lnTo>
                  <a:pt x="4311" y="41"/>
                </a:lnTo>
                <a:lnTo>
                  <a:pt x="4305" y="47"/>
                </a:lnTo>
                <a:lnTo>
                  <a:pt x="4299" y="54"/>
                </a:lnTo>
                <a:lnTo>
                  <a:pt x="4294" y="62"/>
                </a:lnTo>
                <a:lnTo>
                  <a:pt x="4290" y="71"/>
                </a:lnTo>
                <a:lnTo>
                  <a:pt x="4286" y="79"/>
                </a:lnTo>
                <a:lnTo>
                  <a:pt x="4284" y="89"/>
                </a:lnTo>
                <a:lnTo>
                  <a:pt x="4282" y="99"/>
                </a:lnTo>
                <a:lnTo>
                  <a:pt x="4280" y="109"/>
                </a:lnTo>
                <a:lnTo>
                  <a:pt x="4280" y="120"/>
                </a:lnTo>
                <a:lnTo>
                  <a:pt x="4280" y="131"/>
                </a:lnTo>
                <a:lnTo>
                  <a:pt x="4282" y="141"/>
                </a:lnTo>
                <a:lnTo>
                  <a:pt x="4284" y="151"/>
                </a:lnTo>
                <a:lnTo>
                  <a:pt x="4286" y="161"/>
                </a:lnTo>
                <a:lnTo>
                  <a:pt x="4290" y="170"/>
                </a:lnTo>
                <a:lnTo>
                  <a:pt x="4294" y="178"/>
                </a:lnTo>
                <a:lnTo>
                  <a:pt x="4299" y="186"/>
                </a:lnTo>
                <a:lnTo>
                  <a:pt x="4305" y="193"/>
                </a:lnTo>
                <a:lnTo>
                  <a:pt x="4311" y="199"/>
                </a:lnTo>
                <a:lnTo>
                  <a:pt x="4318" y="205"/>
                </a:lnTo>
                <a:lnTo>
                  <a:pt x="4326" y="210"/>
                </a:lnTo>
                <a:lnTo>
                  <a:pt x="4334" y="214"/>
                </a:lnTo>
                <a:lnTo>
                  <a:pt x="4342" y="218"/>
                </a:lnTo>
                <a:lnTo>
                  <a:pt x="4352" y="220"/>
                </a:lnTo>
                <a:lnTo>
                  <a:pt x="4361" y="222"/>
                </a:lnTo>
                <a:lnTo>
                  <a:pt x="4372" y="222"/>
                </a:lnTo>
                <a:lnTo>
                  <a:pt x="4382" y="222"/>
                </a:lnTo>
                <a:lnTo>
                  <a:pt x="4392" y="220"/>
                </a:lnTo>
                <a:lnTo>
                  <a:pt x="4401" y="218"/>
                </a:lnTo>
                <a:lnTo>
                  <a:pt x="4409" y="214"/>
                </a:lnTo>
                <a:lnTo>
                  <a:pt x="4418" y="210"/>
                </a:lnTo>
                <a:lnTo>
                  <a:pt x="4425" y="205"/>
                </a:lnTo>
                <a:lnTo>
                  <a:pt x="4432" y="199"/>
                </a:lnTo>
                <a:lnTo>
                  <a:pt x="4438" y="193"/>
                </a:lnTo>
                <a:lnTo>
                  <a:pt x="4444" y="186"/>
                </a:lnTo>
                <a:lnTo>
                  <a:pt x="4449" y="178"/>
                </a:lnTo>
                <a:lnTo>
                  <a:pt x="4453" y="170"/>
                </a:lnTo>
                <a:lnTo>
                  <a:pt x="4457" y="161"/>
                </a:lnTo>
                <a:lnTo>
                  <a:pt x="4460" y="151"/>
                </a:lnTo>
                <a:lnTo>
                  <a:pt x="4462" y="141"/>
                </a:lnTo>
                <a:lnTo>
                  <a:pt x="4463" y="131"/>
                </a:lnTo>
                <a:lnTo>
                  <a:pt x="4463" y="120"/>
                </a:lnTo>
                <a:close/>
                <a:moveTo>
                  <a:pt x="4671" y="236"/>
                </a:moveTo>
                <a:lnTo>
                  <a:pt x="4606" y="140"/>
                </a:lnTo>
                <a:lnTo>
                  <a:pt x="4555" y="140"/>
                </a:lnTo>
                <a:lnTo>
                  <a:pt x="4555" y="236"/>
                </a:lnTo>
                <a:lnTo>
                  <a:pt x="4535" y="236"/>
                </a:lnTo>
                <a:lnTo>
                  <a:pt x="4535" y="4"/>
                </a:lnTo>
                <a:lnTo>
                  <a:pt x="4622" y="4"/>
                </a:lnTo>
                <a:lnTo>
                  <a:pt x="4629" y="4"/>
                </a:lnTo>
                <a:lnTo>
                  <a:pt x="4636" y="5"/>
                </a:lnTo>
                <a:lnTo>
                  <a:pt x="4643" y="7"/>
                </a:lnTo>
                <a:lnTo>
                  <a:pt x="4649" y="9"/>
                </a:lnTo>
                <a:lnTo>
                  <a:pt x="4656" y="11"/>
                </a:lnTo>
                <a:lnTo>
                  <a:pt x="4661" y="14"/>
                </a:lnTo>
                <a:lnTo>
                  <a:pt x="4667" y="18"/>
                </a:lnTo>
                <a:lnTo>
                  <a:pt x="4672" y="22"/>
                </a:lnTo>
                <a:lnTo>
                  <a:pt x="4676" y="27"/>
                </a:lnTo>
                <a:lnTo>
                  <a:pt x="4680" y="32"/>
                </a:lnTo>
                <a:lnTo>
                  <a:pt x="4684" y="37"/>
                </a:lnTo>
                <a:lnTo>
                  <a:pt x="4687" y="43"/>
                </a:lnTo>
                <a:lnTo>
                  <a:pt x="4689" y="50"/>
                </a:lnTo>
                <a:lnTo>
                  <a:pt x="4691" y="57"/>
                </a:lnTo>
                <a:lnTo>
                  <a:pt x="4692" y="64"/>
                </a:lnTo>
                <a:lnTo>
                  <a:pt x="4692" y="72"/>
                </a:lnTo>
                <a:lnTo>
                  <a:pt x="4692" y="80"/>
                </a:lnTo>
                <a:lnTo>
                  <a:pt x="4691" y="87"/>
                </a:lnTo>
                <a:lnTo>
                  <a:pt x="4689" y="94"/>
                </a:lnTo>
                <a:lnTo>
                  <a:pt x="4687" y="100"/>
                </a:lnTo>
                <a:lnTo>
                  <a:pt x="4684" y="106"/>
                </a:lnTo>
                <a:lnTo>
                  <a:pt x="4681" y="111"/>
                </a:lnTo>
                <a:lnTo>
                  <a:pt x="4677" y="116"/>
                </a:lnTo>
                <a:lnTo>
                  <a:pt x="4673" y="120"/>
                </a:lnTo>
                <a:lnTo>
                  <a:pt x="4668" y="124"/>
                </a:lnTo>
                <a:lnTo>
                  <a:pt x="4663" y="128"/>
                </a:lnTo>
                <a:lnTo>
                  <a:pt x="4658" y="131"/>
                </a:lnTo>
                <a:lnTo>
                  <a:pt x="4652" y="133"/>
                </a:lnTo>
                <a:lnTo>
                  <a:pt x="4647" y="136"/>
                </a:lnTo>
                <a:lnTo>
                  <a:pt x="4641" y="137"/>
                </a:lnTo>
                <a:lnTo>
                  <a:pt x="4628" y="139"/>
                </a:lnTo>
                <a:lnTo>
                  <a:pt x="4695" y="236"/>
                </a:lnTo>
                <a:lnTo>
                  <a:pt x="4671" y="236"/>
                </a:lnTo>
                <a:close/>
                <a:moveTo>
                  <a:pt x="4671" y="72"/>
                </a:moveTo>
                <a:lnTo>
                  <a:pt x="4671" y="67"/>
                </a:lnTo>
                <a:lnTo>
                  <a:pt x="4670" y="61"/>
                </a:lnTo>
                <a:lnTo>
                  <a:pt x="4669" y="56"/>
                </a:lnTo>
                <a:lnTo>
                  <a:pt x="4668" y="52"/>
                </a:lnTo>
                <a:lnTo>
                  <a:pt x="4666" y="47"/>
                </a:lnTo>
                <a:lnTo>
                  <a:pt x="4663" y="43"/>
                </a:lnTo>
                <a:lnTo>
                  <a:pt x="4660" y="40"/>
                </a:lnTo>
                <a:lnTo>
                  <a:pt x="4657" y="36"/>
                </a:lnTo>
                <a:lnTo>
                  <a:pt x="4654" y="33"/>
                </a:lnTo>
                <a:lnTo>
                  <a:pt x="4650" y="30"/>
                </a:lnTo>
                <a:lnTo>
                  <a:pt x="4645" y="28"/>
                </a:lnTo>
                <a:lnTo>
                  <a:pt x="4641" y="26"/>
                </a:lnTo>
                <a:lnTo>
                  <a:pt x="4636" y="24"/>
                </a:lnTo>
                <a:lnTo>
                  <a:pt x="4631" y="23"/>
                </a:lnTo>
                <a:lnTo>
                  <a:pt x="4625" y="22"/>
                </a:lnTo>
                <a:lnTo>
                  <a:pt x="4620" y="22"/>
                </a:lnTo>
                <a:lnTo>
                  <a:pt x="4555" y="22"/>
                </a:lnTo>
                <a:lnTo>
                  <a:pt x="4555" y="122"/>
                </a:lnTo>
                <a:lnTo>
                  <a:pt x="4620" y="122"/>
                </a:lnTo>
                <a:lnTo>
                  <a:pt x="4625" y="122"/>
                </a:lnTo>
                <a:lnTo>
                  <a:pt x="4631" y="121"/>
                </a:lnTo>
                <a:lnTo>
                  <a:pt x="4636" y="120"/>
                </a:lnTo>
                <a:lnTo>
                  <a:pt x="4641" y="118"/>
                </a:lnTo>
                <a:lnTo>
                  <a:pt x="4645" y="116"/>
                </a:lnTo>
                <a:lnTo>
                  <a:pt x="4650" y="114"/>
                </a:lnTo>
                <a:lnTo>
                  <a:pt x="4654" y="111"/>
                </a:lnTo>
                <a:lnTo>
                  <a:pt x="4657" y="108"/>
                </a:lnTo>
                <a:lnTo>
                  <a:pt x="4660" y="104"/>
                </a:lnTo>
                <a:lnTo>
                  <a:pt x="4663" y="101"/>
                </a:lnTo>
                <a:lnTo>
                  <a:pt x="4666" y="96"/>
                </a:lnTo>
                <a:lnTo>
                  <a:pt x="4668" y="92"/>
                </a:lnTo>
                <a:lnTo>
                  <a:pt x="4668" y="90"/>
                </a:lnTo>
                <a:lnTo>
                  <a:pt x="4669" y="87"/>
                </a:lnTo>
                <a:lnTo>
                  <a:pt x="4670" y="82"/>
                </a:lnTo>
                <a:lnTo>
                  <a:pt x="4671" y="77"/>
                </a:lnTo>
                <a:lnTo>
                  <a:pt x="4671" y="72"/>
                </a:lnTo>
                <a:close/>
                <a:moveTo>
                  <a:pt x="4738" y="236"/>
                </a:moveTo>
                <a:lnTo>
                  <a:pt x="4738" y="4"/>
                </a:lnTo>
                <a:lnTo>
                  <a:pt x="4758" y="4"/>
                </a:lnTo>
                <a:lnTo>
                  <a:pt x="4758" y="218"/>
                </a:lnTo>
                <a:lnTo>
                  <a:pt x="4870" y="218"/>
                </a:lnTo>
                <a:lnTo>
                  <a:pt x="4870" y="236"/>
                </a:lnTo>
                <a:lnTo>
                  <a:pt x="4738" y="236"/>
                </a:lnTo>
                <a:close/>
                <a:moveTo>
                  <a:pt x="4909" y="236"/>
                </a:moveTo>
                <a:lnTo>
                  <a:pt x="4909" y="4"/>
                </a:lnTo>
                <a:lnTo>
                  <a:pt x="4983" y="4"/>
                </a:lnTo>
                <a:lnTo>
                  <a:pt x="4996" y="5"/>
                </a:lnTo>
                <a:lnTo>
                  <a:pt x="5009" y="6"/>
                </a:lnTo>
                <a:lnTo>
                  <a:pt x="5015" y="8"/>
                </a:lnTo>
                <a:lnTo>
                  <a:pt x="5021" y="9"/>
                </a:lnTo>
                <a:lnTo>
                  <a:pt x="5032" y="13"/>
                </a:lnTo>
                <a:lnTo>
                  <a:pt x="5037" y="16"/>
                </a:lnTo>
                <a:lnTo>
                  <a:pt x="5042" y="18"/>
                </a:lnTo>
                <a:lnTo>
                  <a:pt x="5052" y="24"/>
                </a:lnTo>
                <a:lnTo>
                  <a:pt x="5056" y="27"/>
                </a:lnTo>
                <a:lnTo>
                  <a:pt x="5061" y="31"/>
                </a:lnTo>
                <a:lnTo>
                  <a:pt x="5069" y="38"/>
                </a:lnTo>
                <a:lnTo>
                  <a:pt x="5076" y="47"/>
                </a:lnTo>
                <a:lnTo>
                  <a:pt x="5079" y="51"/>
                </a:lnTo>
                <a:lnTo>
                  <a:pt x="5082" y="56"/>
                </a:lnTo>
                <a:lnTo>
                  <a:pt x="5088" y="65"/>
                </a:lnTo>
                <a:lnTo>
                  <a:pt x="5090" y="70"/>
                </a:lnTo>
                <a:lnTo>
                  <a:pt x="5092" y="75"/>
                </a:lnTo>
                <a:lnTo>
                  <a:pt x="5096" y="86"/>
                </a:lnTo>
                <a:lnTo>
                  <a:pt x="5098" y="97"/>
                </a:lnTo>
                <a:lnTo>
                  <a:pt x="5099" y="103"/>
                </a:lnTo>
                <a:lnTo>
                  <a:pt x="5100" y="108"/>
                </a:lnTo>
                <a:lnTo>
                  <a:pt x="5100" y="120"/>
                </a:lnTo>
                <a:lnTo>
                  <a:pt x="5100" y="132"/>
                </a:lnTo>
                <a:lnTo>
                  <a:pt x="5099" y="138"/>
                </a:lnTo>
                <a:lnTo>
                  <a:pt x="5098" y="144"/>
                </a:lnTo>
                <a:lnTo>
                  <a:pt x="5096" y="155"/>
                </a:lnTo>
                <a:lnTo>
                  <a:pt x="5092" y="165"/>
                </a:lnTo>
                <a:lnTo>
                  <a:pt x="5090" y="171"/>
                </a:lnTo>
                <a:lnTo>
                  <a:pt x="5088" y="176"/>
                </a:lnTo>
                <a:lnTo>
                  <a:pt x="5082" y="185"/>
                </a:lnTo>
                <a:lnTo>
                  <a:pt x="5076" y="194"/>
                </a:lnTo>
                <a:lnTo>
                  <a:pt x="5069" y="202"/>
                </a:lnTo>
                <a:lnTo>
                  <a:pt x="5061" y="210"/>
                </a:lnTo>
                <a:lnTo>
                  <a:pt x="5052" y="216"/>
                </a:lnTo>
                <a:lnTo>
                  <a:pt x="5042" y="222"/>
                </a:lnTo>
                <a:lnTo>
                  <a:pt x="5037" y="225"/>
                </a:lnTo>
                <a:lnTo>
                  <a:pt x="5032" y="227"/>
                </a:lnTo>
                <a:lnTo>
                  <a:pt x="5026" y="229"/>
                </a:lnTo>
                <a:lnTo>
                  <a:pt x="5021" y="231"/>
                </a:lnTo>
                <a:lnTo>
                  <a:pt x="5009" y="234"/>
                </a:lnTo>
                <a:lnTo>
                  <a:pt x="4996" y="235"/>
                </a:lnTo>
                <a:lnTo>
                  <a:pt x="4990" y="236"/>
                </a:lnTo>
                <a:lnTo>
                  <a:pt x="4983" y="236"/>
                </a:lnTo>
                <a:lnTo>
                  <a:pt x="4909" y="236"/>
                </a:lnTo>
                <a:close/>
                <a:moveTo>
                  <a:pt x="5080" y="120"/>
                </a:moveTo>
                <a:lnTo>
                  <a:pt x="5079" y="110"/>
                </a:lnTo>
                <a:lnTo>
                  <a:pt x="5078" y="100"/>
                </a:lnTo>
                <a:lnTo>
                  <a:pt x="5076" y="91"/>
                </a:lnTo>
                <a:lnTo>
                  <a:pt x="5073" y="82"/>
                </a:lnTo>
                <a:lnTo>
                  <a:pt x="5070" y="73"/>
                </a:lnTo>
                <a:lnTo>
                  <a:pt x="5065" y="65"/>
                </a:lnTo>
                <a:lnTo>
                  <a:pt x="5060" y="58"/>
                </a:lnTo>
                <a:lnTo>
                  <a:pt x="5054" y="51"/>
                </a:lnTo>
                <a:lnTo>
                  <a:pt x="5048" y="45"/>
                </a:lnTo>
                <a:lnTo>
                  <a:pt x="5041" y="39"/>
                </a:lnTo>
                <a:lnTo>
                  <a:pt x="5033" y="34"/>
                </a:lnTo>
                <a:lnTo>
                  <a:pt x="5029" y="32"/>
                </a:lnTo>
                <a:lnTo>
                  <a:pt x="5024" y="30"/>
                </a:lnTo>
                <a:lnTo>
                  <a:pt x="5015" y="27"/>
                </a:lnTo>
                <a:lnTo>
                  <a:pt x="5005" y="24"/>
                </a:lnTo>
                <a:lnTo>
                  <a:pt x="4995" y="23"/>
                </a:lnTo>
                <a:lnTo>
                  <a:pt x="4983" y="22"/>
                </a:lnTo>
                <a:lnTo>
                  <a:pt x="4929" y="22"/>
                </a:lnTo>
                <a:lnTo>
                  <a:pt x="4929" y="218"/>
                </a:lnTo>
                <a:lnTo>
                  <a:pt x="4983" y="218"/>
                </a:lnTo>
                <a:lnTo>
                  <a:pt x="4994" y="217"/>
                </a:lnTo>
                <a:lnTo>
                  <a:pt x="5000" y="217"/>
                </a:lnTo>
                <a:lnTo>
                  <a:pt x="5005" y="216"/>
                </a:lnTo>
                <a:lnTo>
                  <a:pt x="5015" y="213"/>
                </a:lnTo>
                <a:lnTo>
                  <a:pt x="5024" y="210"/>
                </a:lnTo>
                <a:lnTo>
                  <a:pt x="5033" y="206"/>
                </a:lnTo>
                <a:lnTo>
                  <a:pt x="5041" y="201"/>
                </a:lnTo>
                <a:lnTo>
                  <a:pt x="5048" y="196"/>
                </a:lnTo>
                <a:lnTo>
                  <a:pt x="5054" y="189"/>
                </a:lnTo>
                <a:lnTo>
                  <a:pt x="5060" y="182"/>
                </a:lnTo>
                <a:lnTo>
                  <a:pt x="5065" y="175"/>
                </a:lnTo>
                <a:lnTo>
                  <a:pt x="5070" y="167"/>
                </a:lnTo>
                <a:lnTo>
                  <a:pt x="5073" y="158"/>
                </a:lnTo>
                <a:lnTo>
                  <a:pt x="5076" y="149"/>
                </a:lnTo>
                <a:lnTo>
                  <a:pt x="5078" y="140"/>
                </a:lnTo>
                <a:lnTo>
                  <a:pt x="5079" y="130"/>
                </a:lnTo>
                <a:lnTo>
                  <a:pt x="5080" y="120"/>
                </a:lnTo>
                <a:close/>
                <a:moveTo>
                  <a:pt x="829" y="538"/>
                </a:moveTo>
                <a:lnTo>
                  <a:pt x="830" y="525"/>
                </a:lnTo>
                <a:lnTo>
                  <a:pt x="832" y="513"/>
                </a:lnTo>
                <a:lnTo>
                  <a:pt x="835" y="501"/>
                </a:lnTo>
                <a:lnTo>
                  <a:pt x="838" y="489"/>
                </a:lnTo>
                <a:lnTo>
                  <a:pt x="841" y="484"/>
                </a:lnTo>
                <a:lnTo>
                  <a:pt x="843" y="479"/>
                </a:lnTo>
                <a:lnTo>
                  <a:pt x="849" y="469"/>
                </a:lnTo>
                <a:lnTo>
                  <a:pt x="853" y="464"/>
                </a:lnTo>
                <a:lnTo>
                  <a:pt x="857" y="460"/>
                </a:lnTo>
                <a:lnTo>
                  <a:pt x="864" y="452"/>
                </a:lnTo>
                <a:lnTo>
                  <a:pt x="873" y="444"/>
                </a:lnTo>
                <a:lnTo>
                  <a:pt x="882" y="437"/>
                </a:lnTo>
                <a:lnTo>
                  <a:pt x="891" y="432"/>
                </a:lnTo>
                <a:lnTo>
                  <a:pt x="902" y="427"/>
                </a:lnTo>
                <a:lnTo>
                  <a:pt x="913" y="423"/>
                </a:lnTo>
                <a:lnTo>
                  <a:pt x="924" y="421"/>
                </a:lnTo>
                <a:lnTo>
                  <a:pt x="936" y="419"/>
                </a:lnTo>
                <a:lnTo>
                  <a:pt x="948" y="418"/>
                </a:lnTo>
                <a:lnTo>
                  <a:pt x="961" y="419"/>
                </a:lnTo>
                <a:lnTo>
                  <a:pt x="968" y="420"/>
                </a:lnTo>
                <a:lnTo>
                  <a:pt x="974" y="421"/>
                </a:lnTo>
                <a:lnTo>
                  <a:pt x="986" y="425"/>
                </a:lnTo>
                <a:lnTo>
                  <a:pt x="997" y="430"/>
                </a:lnTo>
                <a:lnTo>
                  <a:pt x="1002" y="432"/>
                </a:lnTo>
                <a:lnTo>
                  <a:pt x="1007" y="436"/>
                </a:lnTo>
                <a:lnTo>
                  <a:pt x="1016" y="443"/>
                </a:lnTo>
                <a:lnTo>
                  <a:pt x="1025" y="450"/>
                </a:lnTo>
                <a:lnTo>
                  <a:pt x="1032" y="459"/>
                </a:lnTo>
                <a:lnTo>
                  <a:pt x="1016" y="470"/>
                </a:lnTo>
                <a:lnTo>
                  <a:pt x="1013" y="466"/>
                </a:lnTo>
                <a:lnTo>
                  <a:pt x="1010" y="463"/>
                </a:lnTo>
                <a:lnTo>
                  <a:pt x="1003" y="456"/>
                </a:lnTo>
                <a:lnTo>
                  <a:pt x="995" y="451"/>
                </a:lnTo>
                <a:lnTo>
                  <a:pt x="987" y="446"/>
                </a:lnTo>
                <a:lnTo>
                  <a:pt x="978" y="442"/>
                </a:lnTo>
                <a:lnTo>
                  <a:pt x="973" y="440"/>
                </a:lnTo>
                <a:lnTo>
                  <a:pt x="968" y="439"/>
                </a:lnTo>
                <a:lnTo>
                  <a:pt x="963" y="438"/>
                </a:lnTo>
                <a:lnTo>
                  <a:pt x="958" y="437"/>
                </a:lnTo>
                <a:lnTo>
                  <a:pt x="953" y="437"/>
                </a:lnTo>
                <a:lnTo>
                  <a:pt x="948" y="436"/>
                </a:lnTo>
                <a:lnTo>
                  <a:pt x="938" y="437"/>
                </a:lnTo>
                <a:lnTo>
                  <a:pt x="928" y="438"/>
                </a:lnTo>
                <a:lnTo>
                  <a:pt x="923" y="439"/>
                </a:lnTo>
                <a:lnTo>
                  <a:pt x="919" y="441"/>
                </a:lnTo>
                <a:lnTo>
                  <a:pt x="910" y="444"/>
                </a:lnTo>
                <a:lnTo>
                  <a:pt x="901" y="448"/>
                </a:lnTo>
                <a:lnTo>
                  <a:pt x="893" y="453"/>
                </a:lnTo>
                <a:lnTo>
                  <a:pt x="886" y="458"/>
                </a:lnTo>
                <a:lnTo>
                  <a:pt x="883" y="461"/>
                </a:lnTo>
                <a:lnTo>
                  <a:pt x="879" y="465"/>
                </a:lnTo>
                <a:lnTo>
                  <a:pt x="873" y="472"/>
                </a:lnTo>
                <a:lnTo>
                  <a:pt x="867" y="479"/>
                </a:lnTo>
                <a:lnTo>
                  <a:pt x="863" y="488"/>
                </a:lnTo>
                <a:lnTo>
                  <a:pt x="859" y="497"/>
                </a:lnTo>
                <a:lnTo>
                  <a:pt x="855" y="506"/>
                </a:lnTo>
                <a:lnTo>
                  <a:pt x="853" y="516"/>
                </a:lnTo>
                <a:lnTo>
                  <a:pt x="852" y="527"/>
                </a:lnTo>
                <a:lnTo>
                  <a:pt x="851" y="538"/>
                </a:lnTo>
                <a:lnTo>
                  <a:pt x="852" y="549"/>
                </a:lnTo>
                <a:lnTo>
                  <a:pt x="853" y="560"/>
                </a:lnTo>
                <a:lnTo>
                  <a:pt x="855" y="570"/>
                </a:lnTo>
                <a:lnTo>
                  <a:pt x="859" y="579"/>
                </a:lnTo>
                <a:lnTo>
                  <a:pt x="863" y="588"/>
                </a:lnTo>
                <a:lnTo>
                  <a:pt x="867" y="597"/>
                </a:lnTo>
                <a:lnTo>
                  <a:pt x="873" y="604"/>
                </a:lnTo>
                <a:lnTo>
                  <a:pt x="879" y="612"/>
                </a:lnTo>
                <a:lnTo>
                  <a:pt x="886" y="618"/>
                </a:lnTo>
                <a:lnTo>
                  <a:pt x="890" y="621"/>
                </a:lnTo>
                <a:lnTo>
                  <a:pt x="893" y="624"/>
                </a:lnTo>
                <a:lnTo>
                  <a:pt x="901" y="628"/>
                </a:lnTo>
                <a:lnTo>
                  <a:pt x="910" y="633"/>
                </a:lnTo>
                <a:lnTo>
                  <a:pt x="919" y="636"/>
                </a:lnTo>
                <a:lnTo>
                  <a:pt x="928" y="638"/>
                </a:lnTo>
                <a:lnTo>
                  <a:pt x="938" y="640"/>
                </a:lnTo>
                <a:lnTo>
                  <a:pt x="948" y="640"/>
                </a:lnTo>
                <a:lnTo>
                  <a:pt x="958" y="639"/>
                </a:lnTo>
                <a:lnTo>
                  <a:pt x="968" y="638"/>
                </a:lnTo>
                <a:lnTo>
                  <a:pt x="973" y="636"/>
                </a:lnTo>
                <a:lnTo>
                  <a:pt x="978" y="635"/>
                </a:lnTo>
                <a:lnTo>
                  <a:pt x="987" y="631"/>
                </a:lnTo>
                <a:lnTo>
                  <a:pt x="991" y="628"/>
                </a:lnTo>
                <a:lnTo>
                  <a:pt x="995" y="626"/>
                </a:lnTo>
                <a:lnTo>
                  <a:pt x="1003" y="620"/>
                </a:lnTo>
                <a:lnTo>
                  <a:pt x="1010" y="614"/>
                </a:lnTo>
                <a:lnTo>
                  <a:pt x="1013" y="610"/>
                </a:lnTo>
                <a:lnTo>
                  <a:pt x="1016" y="606"/>
                </a:lnTo>
                <a:lnTo>
                  <a:pt x="1033" y="617"/>
                </a:lnTo>
                <a:lnTo>
                  <a:pt x="1029" y="621"/>
                </a:lnTo>
                <a:lnTo>
                  <a:pt x="1024" y="626"/>
                </a:lnTo>
                <a:lnTo>
                  <a:pt x="1016" y="634"/>
                </a:lnTo>
                <a:lnTo>
                  <a:pt x="1011" y="638"/>
                </a:lnTo>
                <a:lnTo>
                  <a:pt x="1006" y="641"/>
                </a:lnTo>
                <a:lnTo>
                  <a:pt x="996" y="647"/>
                </a:lnTo>
                <a:lnTo>
                  <a:pt x="991" y="649"/>
                </a:lnTo>
                <a:lnTo>
                  <a:pt x="985" y="652"/>
                </a:lnTo>
                <a:lnTo>
                  <a:pt x="980" y="654"/>
                </a:lnTo>
                <a:lnTo>
                  <a:pt x="974" y="655"/>
                </a:lnTo>
                <a:lnTo>
                  <a:pt x="968" y="656"/>
                </a:lnTo>
                <a:lnTo>
                  <a:pt x="961" y="657"/>
                </a:lnTo>
                <a:lnTo>
                  <a:pt x="948" y="658"/>
                </a:lnTo>
                <a:lnTo>
                  <a:pt x="936" y="658"/>
                </a:lnTo>
                <a:lnTo>
                  <a:pt x="930" y="657"/>
                </a:lnTo>
                <a:lnTo>
                  <a:pt x="924" y="656"/>
                </a:lnTo>
                <a:lnTo>
                  <a:pt x="913" y="653"/>
                </a:lnTo>
                <a:lnTo>
                  <a:pt x="907" y="651"/>
                </a:lnTo>
                <a:lnTo>
                  <a:pt x="902" y="649"/>
                </a:lnTo>
                <a:lnTo>
                  <a:pt x="891" y="645"/>
                </a:lnTo>
                <a:lnTo>
                  <a:pt x="882" y="639"/>
                </a:lnTo>
                <a:lnTo>
                  <a:pt x="873" y="632"/>
                </a:lnTo>
                <a:lnTo>
                  <a:pt x="869" y="629"/>
                </a:lnTo>
                <a:lnTo>
                  <a:pt x="864" y="625"/>
                </a:lnTo>
                <a:lnTo>
                  <a:pt x="857" y="617"/>
                </a:lnTo>
                <a:lnTo>
                  <a:pt x="849" y="607"/>
                </a:lnTo>
                <a:lnTo>
                  <a:pt x="843" y="598"/>
                </a:lnTo>
                <a:lnTo>
                  <a:pt x="838" y="587"/>
                </a:lnTo>
                <a:lnTo>
                  <a:pt x="835" y="576"/>
                </a:lnTo>
                <a:lnTo>
                  <a:pt x="833" y="570"/>
                </a:lnTo>
                <a:lnTo>
                  <a:pt x="832" y="564"/>
                </a:lnTo>
                <a:lnTo>
                  <a:pt x="830" y="551"/>
                </a:lnTo>
                <a:lnTo>
                  <a:pt x="830" y="545"/>
                </a:lnTo>
                <a:lnTo>
                  <a:pt x="829" y="538"/>
                </a:lnTo>
                <a:close/>
                <a:moveTo>
                  <a:pt x="1068" y="654"/>
                </a:moveTo>
                <a:lnTo>
                  <a:pt x="1068" y="422"/>
                </a:lnTo>
                <a:lnTo>
                  <a:pt x="1088" y="422"/>
                </a:lnTo>
                <a:lnTo>
                  <a:pt x="1088" y="636"/>
                </a:lnTo>
                <a:lnTo>
                  <a:pt x="1200" y="636"/>
                </a:lnTo>
                <a:lnTo>
                  <a:pt x="1200" y="654"/>
                </a:lnTo>
                <a:lnTo>
                  <a:pt x="1068" y="654"/>
                </a:lnTo>
                <a:close/>
                <a:moveTo>
                  <a:pt x="1239" y="654"/>
                </a:moveTo>
                <a:lnTo>
                  <a:pt x="1239" y="422"/>
                </a:lnTo>
                <a:lnTo>
                  <a:pt x="1386" y="422"/>
                </a:lnTo>
                <a:lnTo>
                  <a:pt x="1386" y="440"/>
                </a:lnTo>
                <a:lnTo>
                  <a:pt x="1259" y="440"/>
                </a:lnTo>
                <a:lnTo>
                  <a:pt x="1259" y="526"/>
                </a:lnTo>
                <a:lnTo>
                  <a:pt x="1384" y="526"/>
                </a:lnTo>
                <a:lnTo>
                  <a:pt x="1384" y="544"/>
                </a:lnTo>
                <a:lnTo>
                  <a:pt x="1259" y="544"/>
                </a:lnTo>
                <a:lnTo>
                  <a:pt x="1259" y="636"/>
                </a:lnTo>
                <a:lnTo>
                  <a:pt x="1386" y="636"/>
                </a:lnTo>
                <a:lnTo>
                  <a:pt x="1386" y="654"/>
                </a:lnTo>
                <a:lnTo>
                  <a:pt x="1239" y="654"/>
                </a:lnTo>
                <a:close/>
                <a:moveTo>
                  <a:pt x="1610" y="654"/>
                </a:moveTo>
                <a:lnTo>
                  <a:pt x="1587" y="597"/>
                </a:lnTo>
                <a:lnTo>
                  <a:pt x="1465" y="597"/>
                </a:lnTo>
                <a:lnTo>
                  <a:pt x="1442" y="654"/>
                </a:lnTo>
                <a:lnTo>
                  <a:pt x="1419" y="654"/>
                </a:lnTo>
                <a:lnTo>
                  <a:pt x="1514" y="422"/>
                </a:lnTo>
                <a:lnTo>
                  <a:pt x="1538" y="422"/>
                </a:lnTo>
                <a:lnTo>
                  <a:pt x="1633" y="654"/>
                </a:lnTo>
                <a:lnTo>
                  <a:pt x="1610" y="654"/>
                </a:lnTo>
                <a:close/>
                <a:moveTo>
                  <a:pt x="1526" y="443"/>
                </a:moveTo>
                <a:lnTo>
                  <a:pt x="1471" y="579"/>
                </a:lnTo>
                <a:lnTo>
                  <a:pt x="1581" y="579"/>
                </a:lnTo>
                <a:lnTo>
                  <a:pt x="1526" y="443"/>
                </a:lnTo>
                <a:close/>
                <a:moveTo>
                  <a:pt x="1836" y="654"/>
                </a:moveTo>
                <a:lnTo>
                  <a:pt x="1690" y="455"/>
                </a:lnTo>
                <a:lnTo>
                  <a:pt x="1690" y="654"/>
                </a:lnTo>
                <a:lnTo>
                  <a:pt x="1670" y="654"/>
                </a:lnTo>
                <a:lnTo>
                  <a:pt x="1670" y="422"/>
                </a:lnTo>
                <a:lnTo>
                  <a:pt x="1690" y="422"/>
                </a:lnTo>
                <a:lnTo>
                  <a:pt x="1835" y="619"/>
                </a:lnTo>
                <a:lnTo>
                  <a:pt x="1835" y="422"/>
                </a:lnTo>
                <a:lnTo>
                  <a:pt x="1855" y="422"/>
                </a:lnTo>
                <a:lnTo>
                  <a:pt x="1855" y="654"/>
                </a:lnTo>
                <a:lnTo>
                  <a:pt x="1836" y="654"/>
                </a:lnTo>
                <a:close/>
                <a:moveTo>
                  <a:pt x="1917" y="654"/>
                </a:moveTo>
                <a:lnTo>
                  <a:pt x="1917" y="422"/>
                </a:lnTo>
                <a:lnTo>
                  <a:pt x="2064" y="422"/>
                </a:lnTo>
                <a:lnTo>
                  <a:pt x="2064" y="440"/>
                </a:lnTo>
                <a:lnTo>
                  <a:pt x="1937" y="440"/>
                </a:lnTo>
                <a:lnTo>
                  <a:pt x="1937" y="526"/>
                </a:lnTo>
                <a:lnTo>
                  <a:pt x="2061" y="526"/>
                </a:lnTo>
                <a:lnTo>
                  <a:pt x="2061" y="544"/>
                </a:lnTo>
                <a:lnTo>
                  <a:pt x="1937" y="544"/>
                </a:lnTo>
                <a:lnTo>
                  <a:pt x="1937" y="636"/>
                </a:lnTo>
                <a:lnTo>
                  <a:pt x="2064" y="636"/>
                </a:lnTo>
                <a:lnTo>
                  <a:pt x="2064" y="654"/>
                </a:lnTo>
                <a:lnTo>
                  <a:pt x="1917" y="654"/>
                </a:lnTo>
                <a:close/>
                <a:moveTo>
                  <a:pt x="2248" y="654"/>
                </a:moveTo>
                <a:lnTo>
                  <a:pt x="2183" y="558"/>
                </a:lnTo>
                <a:lnTo>
                  <a:pt x="2132" y="558"/>
                </a:lnTo>
                <a:lnTo>
                  <a:pt x="2132" y="654"/>
                </a:lnTo>
                <a:lnTo>
                  <a:pt x="2112" y="654"/>
                </a:lnTo>
                <a:lnTo>
                  <a:pt x="2112" y="422"/>
                </a:lnTo>
                <a:lnTo>
                  <a:pt x="2199" y="422"/>
                </a:lnTo>
                <a:lnTo>
                  <a:pt x="2206" y="422"/>
                </a:lnTo>
                <a:lnTo>
                  <a:pt x="2213" y="423"/>
                </a:lnTo>
                <a:lnTo>
                  <a:pt x="2220" y="425"/>
                </a:lnTo>
                <a:lnTo>
                  <a:pt x="2227" y="427"/>
                </a:lnTo>
                <a:lnTo>
                  <a:pt x="2233" y="429"/>
                </a:lnTo>
                <a:lnTo>
                  <a:pt x="2239" y="432"/>
                </a:lnTo>
                <a:lnTo>
                  <a:pt x="2244" y="436"/>
                </a:lnTo>
                <a:lnTo>
                  <a:pt x="2249" y="440"/>
                </a:lnTo>
                <a:lnTo>
                  <a:pt x="2254" y="445"/>
                </a:lnTo>
                <a:lnTo>
                  <a:pt x="2258" y="450"/>
                </a:lnTo>
                <a:lnTo>
                  <a:pt x="2261" y="455"/>
                </a:lnTo>
                <a:lnTo>
                  <a:pt x="2264" y="461"/>
                </a:lnTo>
                <a:lnTo>
                  <a:pt x="2266" y="468"/>
                </a:lnTo>
                <a:lnTo>
                  <a:pt x="2268" y="475"/>
                </a:lnTo>
                <a:lnTo>
                  <a:pt x="2269" y="482"/>
                </a:lnTo>
                <a:lnTo>
                  <a:pt x="2269" y="490"/>
                </a:lnTo>
                <a:lnTo>
                  <a:pt x="2269" y="498"/>
                </a:lnTo>
                <a:lnTo>
                  <a:pt x="2268" y="505"/>
                </a:lnTo>
                <a:lnTo>
                  <a:pt x="2267" y="512"/>
                </a:lnTo>
                <a:lnTo>
                  <a:pt x="2264" y="518"/>
                </a:lnTo>
                <a:lnTo>
                  <a:pt x="2262" y="524"/>
                </a:lnTo>
                <a:lnTo>
                  <a:pt x="2258" y="529"/>
                </a:lnTo>
                <a:lnTo>
                  <a:pt x="2255" y="534"/>
                </a:lnTo>
                <a:lnTo>
                  <a:pt x="2250" y="539"/>
                </a:lnTo>
                <a:lnTo>
                  <a:pt x="2246" y="543"/>
                </a:lnTo>
                <a:lnTo>
                  <a:pt x="2241" y="546"/>
                </a:lnTo>
                <a:lnTo>
                  <a:pt x="2236" y="549"/>
                </a:lnTo>
                <a:lnTo>
                  <a:pt x="2230" y="552"/>
                </a:lnTo>
                <a:lnTo>
                  <a:pt x="2224" y="554"/>
                </a:lnTo>
                <a:lnTo>
                  <a:pt x="2218" y="555"/>
                </a:lnTo>
                <a:lnTo>
                  <a:pt x="2205" y="557"/>
                </a:lnTo>
                <a:lnTo>
                  <a:pt x="2272" y="654"/>
                </a:lnTo>
                <a:lnTo>
                  <a:pt x="2248" y="654"/>
                </a:lnTo>
                <a:close/>
                <a:moveTo>
                  <a:pt x="2249" y="490"/>
                </a:moveTo>
                <a:lnTo>
                  <a:pt x="2248" y="485"/>
                </a:lnTo>
                <a:lnTo>
                  <a:pt x="2248" y="479"/>
                </a:lnTo>
                <a:lnTo>
                  <a:pt x="2247" y="474"/>
                </a:lnTo>
                <a:lnTo>
                  <a:pt x="2245" y="470"/>
                </a:lnTo>
                <a:lnTo>
                  <a:pt x="2243" y="465"/>
                </a:lnTo>
                <a:lnTo>
                  <a:pt x="2241" y="461"/>
                </a:lnTo>
                <a:lnTo>
                  <a:pt x="2238" y="458"/>
                </a:lnTo>
                <a:lnTo>
                  <a:pt x="2235" y="454"/>
                </a:lnTo>
                <a:lnTo>
                  <a:pt x="2231" y="451"/>
                </a:lnTo>
                <a:lnTo>
                  <a:pt x="2227" y="448"/>
                </a:lnTo>
                <a:lnTo>
                  <a:pt x="2223" y="446"/>
                </a:lnTo>
                <a:lnTo>
                  <a:pt x="2218" y="444"/>
                </a:lnTo>
                <a:lnTo>
                  <a:pt x="2213" y="442"/>
                </a:lnTo>
                <a:lnTo>
                  <a:pt x="2208" y="441"/>
                </a:lnTo>
                <a:lnTo>
                  <a:pt x="2203" y="440"/>
                </a:lnTo>
                <a:lnTo>
                  <a:pt x="2197" y="440"/>
                </a:lnTo>
                <a:lnTo>
                  <a:pt x="2132" y="440"/>
                </a:lnTo>
                <a:lnTo>
                  <a:pt x="2132" y="540"/>
                </a:lnTo>
                <a:lnTo>
                  <a:pt x="2197" y="540"/>
                </a:lnTo>
                <a:lnTo>
                  <a:pt x="2203" y="540"/>
                </a:lnTo>
                <a:lnTo>
                  <a:pt x="2208" y="539"/>
                </a:lnTo>
                <a:lnTo>
                  <a:pt x="2213" y="538"/>
                </a:lnTo>
                <a:lnTo>
                  <a:pt x="2218" y="536"/>
                </a:lnTo>
                <a:lnTo>
                  <a:pt x="2223" y="534"/>
                </a:lnTo>
                <a:lnTo>
                  <a:pt x="2227" y="532"/>
                </a:lnTo>
                <a:lnTo>
                  <a:pt x="2231" y="529"/>
                </a:lnTo>
                <a:lnTo>
                  <a:pt x="2235" y="526"/>
                </a:lnTo>
                <a:lnTo>
                  <a:pt x="2238" y="522"/>
                </a:lnTo>
                <a:lnTo>
                  <a:pt x="2241" y="519"/>
                </a:lnTo>
                <a:lnTo>
                  <a:pt x="2243" y="514"/>
                </a:lnTo>
                <a:lnTo>
                  <a:pt x="2245" y="510"/>
                </a:lnTo>
                <a:lnTo>
                  <a:pt x="2246" y="508"/>
                </a:lnTo>
                <a:lnTo>
                  <a:pt x="2247" y="505"/>
                </a:lnTo>
                <a:lnTo>
                  <a:pt x="2248" y="500"/>
                </a:lnTo>
                <a:lnTo>
                  <a:pt x="2248" y="495"/>
                </a:lnTo>
                <a:lnTo>
                  <a:pt x="2249" y="490"/>
                </a:lnTo>
                <a:close/>
                <a:moveTo>
                  <a:pt x="2585" y="654"/>
                </a:moveTo>
                <a:lnTo>
                  <a:pt x="2562" y="597"/>
                </a:lnTo>
                <a:lnTo>
                  <a:pt x="2438" y="597"/>
                </a:lnTo>
                <a:lnTo>
                  <a:pt x="2415" y="654"/>
                </a:lnTo>
                <a:lnTo>
                  <a:pt x="2392" y="654"/>
                </a:lnTo>
                <a:lnTo>
                  <a:pt x="2487" y="422"/>
                </a:lnTo>
                <a:lnTo>
                  <a:pt x="2512" y="422"/>
                </a:lnTo>
                <a:lnTo>
                  <a:pt x="2608" y="654"/>
                </a:lnTo>
                <a:lnTo>
                  <a:pt x="2585" y="654"/>
                </a:lnTo>
                <a:close/>
                <a:moveTo>
                  <a:pt x="2500" y="443"/>
                </a:moveTo>
                <a:lnTo>
                  <a:pt x="2445" y="579"/>
                </a:lnTo>
                <a:lnTo>
                  <a:pt x="2555" y="579"/>
                </a:lnTo>
                <a:lnTo>
                  <a:pt x="2500" y="443"/>
                </a:lnTo>
                <a:close/>
                <a:moveTo>
                  <a:pt x="2810" y="654"/>
                </a:moveTo>
                <a:lnTo>
                  <a:pt x="2664" y="455"/>
                </a:lnTo>
                <a:lnTo>
                  <a:pt x="2664" y="654"/>
                </a:lnTo>
                <a:lnTo>
                  <a:pt x="2644" y="654"/>
                </a:lnTo>
                <a:lnTo>
                  <a:pt x="2644" y="422"/>
                </a:lnTo>
                <a:lnTo>
                  <a:pt x="2665" y="422"/>
                </a:lnTo>
                <a:lnTo>
                  <a:pt x="2810" y="619"/>
                </a:lnTo>
                <a:lnTo>
                  <a:pt x="2810" y="422"/>
                </a:lnTo>
                <a:lnTo>
                  <a:pt x="2830" y="422"/>
                </a:lnTo>
                <a:lnTo>
                  <a:pt x="2830" y="654"/>
                </a:lnTo>
                <a:lnTo>
                  <a:pt x="2810" y="654"/>
                </a:lnTo>
                <a:close/>
                <a:moveTo>
                  <a:pt x="2891" y="654"/>
                </a:moveTo>
                <a:lnTo>
                  <a:pt x="2891" y="422"/>
                </a:lnTo>
                <a:lnTo>
                  <a:pt x="2965" y="422"/>
                </a:lnTo>
                <a:lnTo>
                  <a:pt x="2978" y="423"/>
                </a:lnTo>
                <a:lnTo>
                  <a:pt x="2991" y="425"/>
                </a:lnTo>
                <a:lnTo>
                  <a:pt x="2997" y="426"/>
                </a:lnTo>
                <a:lnTo>
                  <a:pt x="3003" y="427"/>
                </a:lnTo>
                <a:lnTo>
                  <a:pt x="3014" y="431"/>
                </a:lnTo>
                <a:lnTo>
                  <a:pt x="3019" y="434"/>
                </a:lnTo>
                <a:lnTo>
                  <a:pt x="3024" y="436"/>
                </a:lnTo>
                <a:lnTo>
                  <a:pt x="3034" y="442"/>
                </a:lnTo>
                <a:lnTo>
                  <a:pt x="3038" y="445"/>
                </a:lnTo>
                <a:lnTo>
                  <a:pt x="3043" y="449"/>
                </a:lnTo>
                <a:lnTo>
                  <a:pt x="3051" y="456"/>
                </a:lnTo>
                <a:lnTo>
                  <a:pt x="3058" y="465"/>
                </a:lnTo>
                <a:lnTo>
                  <a:pt x="3061" y="469"/>
                </a:lnTo>
                <a:lnTo>
                  <a:pt x="3064" y="474"/>
                </a:lnTo>
                <a:lnTo>
                  <a:pt x="3070" y="483"/>
                </a:lnTo>
                <a:lnTo>
                  <a:pt x="3072" y="488"/>
                </a:lnTo>
                <a:lnTo>
                  <a:pt x="3074" y="493"/>
                </a:lnTo>
                <a:lnTo>
                  <a:pt x="3078" y="504"/>
                </a:lnTo>
                <a:lnTo>
                  <a:pt x="3080" y="515"/>
                </a:lnTo>
                <a:lnTo>
                  <a:pt x="3081" y="521"/>
                </a:lnTo>
                <a:lnTo>
                  <a:pt x="3082" y="526"/>
                </a:lnTo>
                <a:lnTo>
                  <a:pt x="3082" y="538"/>
                </a:lnTo>
                <a:lnTo>
                  <a:pt x="3082" y="550"/>
                </a:lnTo>
                <a:lnTo>
                  <a:pt x="3081" y="556"/>
                </a:lnTo>
                <a:lnTo>
                  <a:pt x="3080" y="562"/>
                </a:lnTo>
                <a:lnTo>
                  <a:pt x="3078" y="573"/>
                </a:lnTo>
                <a:lnTo>
                  <a:pt x="3074" y="583"/>
                </a:lnTo>
                <a:lnTo>
                  <a:pt x="3072" y="589"/>
                </a:lnTo>
                <a:lnTo>
                  <a:pt x="3070" y="594"/>
                </a:lnTo>
                <a:lnTo>
                  <a:pt x="3064" y="603"/>
                </a:lnTo>
                <a:lnTo>
                  <a:pt x="3058" y="612"/>
                </a:lnTo>
                <a:lnTo>
                  <a:pt x="3051" y="620"/>
                </a:lnTo>
                <a:lnTo>
                  <a:pt x="3043" y="628"/>
                </a:lnTo>
                <a:lnTo>
                  <a:pt x="3034" y="634"/>
                </a:lnTo>
                <a:lnTo>
                  <a:pt x="3024" y="640"/>
                </a:lnTo>
                <a:lnTo>
                  <a:pt x="3019" y="643"/>
                </a:lnTo>
                <a:lnTo>
                  <a:pt x="3014" y="645"/>
                </a:lnTo>
                <a:lnTo>
                  <a:pt x="3008" y="647"/>
                </a:lnTo>
                <a:lnTo>
                  <a:pt x="3003" y="649"/>
                </a:lnTo>
                <a:lnTo>
                  <a:pt x="2991" y="652"/>
                </a:lnTo>
                <a:lnTo>
                  <a:pt x="2978" y="653"/>
                </a:lnTo>
                <a:lnTo>
                  <a:pt x="2972" y="654"/>
                </a:lnTo>
                <a:lnTo>
                  <a:pt x="2965" y="654"/>
                </a:lnTo>
                <a:lnTo>
                  <a:pt x="2891" y="654"/>
                </a:lnTo>
                <a:close/>
                <a:moveTo>
                  <a:pt x="3061" y="538"/>
                </a:moveTo>
                <a:lnTo>
                  <a:pt x="3061" y="528"/>
                </a:lnTo>
                <a:lnTo>
                  <a:pt x="3060" y="518"/>
                </a:lnTo>
                <a:lnTo>
                  <a:pt x="3058" y="509"/>
                </a:lnTo>
                <a:lnTo>
                  <a:pt x="3055" y="500"/>
                </a:lnTo>
                <a:lnTo>
                  <a:pt x="3052" y="491"/>
                </a:lnTo>
                <a:lnTo>
                  <a:pt x="3047" y="483"/>
                </a:lnTo>
                <a:lnTo>
                  <a:pt x="3042" y="476"/>
                </a:lnTo>
                <a:lnTo>
                  <a:pt x="3036" y="469"/>
                </a:lnTo>
                <a:lnTo>
                  <a:pt x="3030" y="463"/>
                </a:lnTo>
                <a:lnTo>
                  <a:pt x="3023" y="457"/>
                </a:lnTo>
                <a:lnTo>
                  <a:pt x="3015" y="452"/>
                </a:lnTo>
                <a:lnTo>
                  <a:pt x="3011" y="450"/>
                </a:lnTo>
                <a:lnTo>
                  <a:pt x="3006" y="448"/>
                </a:lnTo>
                <a:lnTo>
                  <a:pt x="2997" y="445"/>
                </a:lnTo>
                <a:lnTo>
                  <a:pt x="2987" y="442"/>
                </a:lnTo>
                <a:lnTo>
                  <a:pt x="2976" y="441"/>
                </a:lnTo>
                <a:lnTo>
                  <a:pt x="2965" y="440"/>
                </a:lnTo>
                <a:lnTo>
                  <a:pt x="2911" y="440"/>
                </a:lnTo>
                <a:lnTo>
                  <a:pt x="2911" y="636"/>
                </a:lnTo>
                <a:lnTo>
                  <a:pt x="2965" y="636"/>
                </a:lnTo>
                <a:lnTo>
                  <a:pt x="2976" y="635"/>
                </a:lnTo>
                <a:lnTo>
                  <a:pt x="2982" y="635"/>
                </a:lnTo>
                <a:lnTo>
                  <a:pt x="2987" y="634"/>
                </a:lnTo>
                <a:lnTo>
                  <a:pt x="2997" y="632"/>
                </a:lnTo>
                <a:lnTo>
                  <a:pt x="3006" y="628"/>
                </a:lnTo>
                <a:lnTo>
                  <a:pt x="3015" y="624"/>
                </a:lnTo>
                <a:lnTo>
                  <a:pt x="3023" y="619"/>
                </a:lnTo>
                <a:lnTo>
                  <a:pt x="3030" y="614"/>
                </a:lnTo>
                <a:lnTo>
                  <a:pt x="3036" y="607"/>
                </a:lnTo>
                <a:lnTo>
                  <a:pt x="3042" y="600"/>
                </a:lnTo>
                <a:lnTo>
                  <a:pt x="3047" y="593"/>
                </a:lnTo>
                <a:lnTo>
                  <a:pt x="3051" y="585"/>
                </a:lnTo>
                <a:lnTo>
                  <a:pt x="3055" y="576"/>
                </a:lnTo>
                <a:lnTo>
                  <a:pt x="3058" y="567"/>
                </a:lnTo>
                <a:lnTo>
                  <a:pt x="3060" y="558"/>
                </a:lnTo>
                <a:lnTo>
                  <a:pt x="3061" y="548"/>
                </a:lnTo>
                <a:lnTo>
                  <a:pt x="3061" y="538"/>
                </a:lnTo>
                <a:close/>
                <a:moveTo>
                  <a:pt x="3216" y="621"/>
                </a:moveTo>
                <a:lnTo>
                  <a:pt x="3229" y="606"/>
                </a:lnTo>
                <a:lnTo>
                  <a:pt x="3232" y="610"/>
                </a:lnTo>
                <a:lnTo>
                  <a:pt x="3235" y="613"/>
                </a:lnTo>
                <a:lnTo>
                  <a:pt x="3238" y="616"/>
                </a:lnTo>
                <a:lnTo>
                  <a:pt x="3242" y="619"/>
                </a:lnTo>
                <a:lnTo>
                  <a:pt x="3249" y="624"/>
                </a:lnTo>
                <a:lnTo>
                  <a:pt x="3258" y="630"/>
                </a:lnTo>
                <a:lnTo>
                  <a:pt x="3268" y="634"/>
                </a:lnTo>
                <a:lnTo>
                  <a:pt x="3273" y="636"/>
                </a:lnTo>
                <a:lnTo>
                  <a:pt x="3278" y="637"/>
                </a:lnTo>
                <a:lnTo>
                  <a:pt x="3283" y="638"/>
                </a:lnTo>
                <a:lnTo>
                  <a:pt x="3289" y="639"/>
                </a:lnTo>
                <a:lnTo>
                  <a:pt x="3301" y="640"/>
                </a:lnTo>
                <a:lnTo>
                  <a:pt x="3310" y="640"/>
                </a:lnTo>
                <a:lnTo>
                  <a:pt x="3317" y="639"/>
                </a:lnTo>
                <a:lnTo>
                  <a:pt x="3324" y="637"/>
                </a:lnTo>
                <a:lnTo>
                  <a:pt x="3331" y="636"/>
                </a:lnTo>
                <a:lnTo>
                  <a:pt x="3336" y="633"/>
                </a:lnTo>
                <a:lnTo>
                  <a:pt x="3341" y="631"/>
                </a:lnTo>
                <a:lnTo>
                  <a:pt x="3346" y="628"/>
                </a:lnTo>
                <a:lnTo>
                  <a:pt x="3349" y="624"/>
                </a:lnTo>
                <a:lnTo>
                  <a:pt x="3353" y="621"/>
                </a:lnTo>
                <a:lnTo>
                  <a:pt x="3355" y="617"/>
                </a:lnTo>
                <a:lnTo>
                  <a:pt x="3358" y="613"/>
                </a:lnTo>
                <a:lnTo>
                  <a:pt x="3359" y="609"/>
                </a:lnTo>
                <a:lnTo>
                  <a:pt x="3361" y="602"/>
                </a:lnTo>
                <a:lnTo>
                  <a:pt x="3362" y="594"/>
                </a:lnTo>
                <a:lnTo>
                  <a:pt x="3362" y="588"/>
                </a:lnTo>
                <a:lnTo>
                  <a:pt x="3361" y="582"/>
                </a:lnTo>
                <a:lnTo>
                  <a:pt x="3359" y="577"/>
                </a:lnTo>
                <a:lnTo>
                  <a:pt x="3356" y="573"/>
                </a:lnTo>
                <a:lnTo>
                  <a:pt x="3353" y="569"/>
                </a:lnTo>
                <a:lnTo>
                  <a:pt x="3349" y="565"/>
                </a:lnTo>
                <a:lnTo>
                  <a:pt x="3345" y="562"/>
                </a:lnTo>
                <a:lnTo>
                  <a:pt x="3340" y="559"/>
                </a:lnTo>
                <a:lnTo>
                  <a:pt x="3335" y="556"/>
                </a:lnTo>
                <a:lnTo>
                  <a:pt x="3330" y="554"/>
                </a:lnTo>
                <a:lnTo>
                  <a:pt x="3318" y="549"/>
                </a:lnTo>
                <a:lnTo>
                  <a:pt x="3306" y="545"/>
                </a:lnTo>
                <a:lnTo>
                  <a:pt x="3293" y="542"/>
                </a:lnTo>
                <a:lnTo>
                  <a:pt x="3280" y="538"/>
                </a:lnTo>
                <a:lnTo>
                  <a:pt x="3267" y="534"/>
                </a:lnTo>
                <a:lnTo>
                  <a:pt x="3255" y="529"/>
                </a:lnTo>
                <a:lnTo>
                  <a:pt x="3250" y="526"/>
                </a:lnTo>
                <a:lnTo>
                  <a:pt x="3245" y="523"/>
                </a:lnTo>
                <a:lnTo>
                  <a:pt x="3240" y="519"/>
                </a:lnTo>
                <a:lnTo>
                  <a:pt x="3236" y="515"/>
                </a:lnTo>
                <a:lnTo>
                  <a:pt x="3232" y="510"/>
                </a:lnTo>
                <a:lnTo>
                  <a:pt x="3229" y="506"/>
                </a:lnTo>
                <a:lnTo>
                  <a:pt x="3227" y="500"/>
                </a:lnTo>
                <a:lnTo>
                  <a:pt x="3225" y="494"/>
                </a:lnTo>
                <a:lnTo>
                  <a:pt x="3223" y="487"/>
                </a:lnTo>
                <a:lnTo>
                  <a:pt x="3223" y="480"/>
                </a:lnTo>
                <a:lnTo>
                  <a:pt x="3223" y="473"/>
                </a:lnTo>
                <a:lnTo>
                  <a:pt x="3225" y="467"/>
                </a:lnTo>
                <a:lnTo>
                  <a:pt x="3226" y="460"/>
                </a:lnTo>
                <a:lnTo>
                  <a:pt x="3229" y="455"/>
                </a:lnTo>
                <a:lnTo>
                  <a:pt x="3232" y="449"/>
                </a:lnTo>
                <a:lnTo>
                  <a:pt x="3236" y="444"/>
                </a:lnTo>
                <a:lnTo>
                  <a:pt x="3238" y="442"/>
                </a:lnTo>
                <a:lnTo>
                  <a:pt x="3240" y="439"/>
                </a:lnTo>
                <a:lnTo>
                  <a:pt x="3245" y="435"/>
                </a:lnTo>
                <a:lnTo>
                  <a:pt x="3251" y="431"/>
                </a:lnTo>
                <a:lnTo>
                  <a:pt x="3257" y="428"/>
                </a:lnTo>
                <a:lnTo>
                  <a:pt x="3263" y="425"/>
                </a:lnTo>
                <a:lnTo>
                  <a:pt x="3270" y="423"/>
                </a:lnTo>
                <a:lnTo>
                  <a:pt x="3277" y="421"/>
                </a:lnTo>
                <a:lnTo>
                  <a:pt x="3284" y="419"/>
                </a:lnTo>
                <a:lnTo>
                  <a:pt x="3291" y="419"/>
                </a:lnTo>
                <a:lnTo>
                  <a:pt x="3299" y="418"/>
                </a:lnTo>
                <a:lnTo>
                  <a:pt x="3312" y="419"/>
                </a:lnTo>
                <a:lnTo>
                  <a:pt x="3318" y="420"/>
                </a:lnTo>
                <a:lnTo>
                  <a:pt x="3323" y="421"/>
                </a:lnTo>
                <a:lnTo>
                  <a:pt x="3334" y="423"/>
                </a:lnTo>
                <a:lnTo>
                  <a:pt x="3340" y="425"/>
                </a:lnTo>
                <a:lnTo>
                  <a:pt x="3345" y="427"/>
                </a:lnTo>
                <a:lnTo>
                  <a:pt x="3354" y="432"/>
                </a:lnTo>
                <a:lnTo>
                  <a:pt x="3363" y="437"/>
                </a:lnTo>
                <a:lnTo>
                  <a:pt x="3371" y="444"/>
                </a:lnTo>
                <a:lnTo>
                  <a:pt x="3378" y="451"/>
                </a:lnTo>
                <a:lnTo>
                  <a:pt x="3365" y="466"/>
                </a:lnTo>
                <a:lnTo>
                  <a:pt x="3358" y="459"/>
                </a:lnTo>
                <a:lnTo>
                  <a:pt x="3354" y="455"/>
                </a:lnTo>
                <a:lnTo>
                  <a:pt x="3351" y="453"/>
                </a:lnTo>
                <a:lnTo>
                  <a:pt x="3343" y="447"/>
                </a:lnTo>
                <a:lnTo>
                  <a:pt x="3335" y="443"/>
                </a:lnTo>
                <a:lnTo>
                  <a:pt x="3331" y="442"/>
                </a:lnTo>
                <a:lnTo>
                  <a:pt x="3326" y="440"/>
                </a:lnTo>
                <a:lnTo>
                  <a:pt x="3317" y="438"/>
                </a:lnTo>
                <a:lnTo>
                  <a:pt x="3308" y="437"/>
                </a:lnTo>
                <a:lnTo>
                  <a:pt x="3298" y="436"/>
                </a:lnTo>
                <a:lnTo>
                  <a:pt x="3287" y="437"/>
                </a:lnTo>
                <a:lnTo>
                  <a:pt x="3282" y="438"/>
                </a:lnTo>
                <a:lnTo>
                  <a:pt x="3277" y="440"/>
                </a:lnTo>
                <a:lnTo>
                  <a:pt x="3272" y="441"/>
                </a:lnTo>
                <a:lnTo>
                  <a:pt x="3267" y="443"/>
                </a:lnTo>
                <a:lnTo>
                  <a:pt x="3259" y="448"/>
                </a:lnTo>
                <a:lnTo>
                  <a:pt x="3256" y="451"/>
                </a:lnTo>
                <a:lnTo>
                  <a:pt x="3253" y="455"/>
                </a:lnTo>
                <a:lnTo>
                  <a:pt x="3250" y="458"/>
                </a:lnTo>
                <a:lnTo>
                  <a:pt x="3248" y="462"/>
                </a:lnTo>
                <a:lnTo>
                  <a:pt x="3246" y="466"/>
                </a:lnTo>
                <a:lnTo>
                  <a:pt x="3245" y="470"/>
                </a:lnTo>
                <a:lnTo>
                  <a:pt x="3244" y="475"/>
                </a:lnTo>
                <a:lnTo>
                  <a:pt x="3244" y="479"/>
                </a:lnTo>
                <a:lnTo>
                  <a:pt x="3244" y="484"/>
                </a:lnTo>
                <a:lnTo>
                  <a:pt x="3245" y="489"/>
                </a:lnTo>
                <a:lnTo>
                  <a:pt x="3247" y="494"/>
                </a:lnTo>
                <a:lnTo>
                  <a:pt x="3250" y="498"/>
                </a:lnTo>
                <a:lnTo>
                  <a:pt x="3253" y="501"/>
                </a:lnTo>
                <a:lnTo>
                  <a:pt x="3257" y="504"/>
                </a:lnTo>
                <a:lnTo>
                  <a:pt x="3266" y="510"/>
                </a:lnTo>
                <a:lnTo>
                  <a:pt x="3271" y="512"/>
                </a:lnTo>
                <a:lnTo>
                  <a:pt x="3276" y="514"/>
                </a:lnTo>
                <a:lnTo>
                  <a:pt x="3288" y="518"/>
                </a:lnTo>
                <a:lnTo>
                  <a:pt x="3313" y="526"/>
                </a:lnTo>
                <a:lnTo>
                  <a:pt x="3326" y="530"/>
                </a:lnTo>
                <a:lnTo>
                  <a:pt x="3339" y="534"/>
                </a:lnTo>
                <a:lnTo>
                  <a:pt x="3351" y="540"/>
                </a:lnTo>
                <a:lnTo>
                  <a:pt x="3356" y="543"/>
                </a:lnTo>
                <a:lnTo>
                  <a:pt x="3361" y="547"/>
                </a:lnTo>
                <a:lnTo>
                  <a:pt x="3366" y="551"/>
                </a:lnTo>
                <a:lnTo>
                  <a:pt x="3368" y="553"/>
                </a:lnTo>
                <a:lnTo>
                  <a:pt x="3370" y="555"/>
                </a:lnTo>
                <a:lnTo>
                  <a:pt x="3374" y="560"/>
                </a:lnTo>
                <a:lnTo>
                  <a:pt x="3377" y="565"/>
                </a:lnTo>
                <a:lnTo>
                  <a:pt x="3380" y="571"/>
                </a:lnTo>
                <a:lnTo>
                  <a:pt x="3381" y="578"/>
                </a:lnTo>
                <a:lnTo>
                  <a:pt x="3383" y="585"/>
                </a:lnTo>
                <a:lnTo>
                  <a:pt x="3383" y="592"/>
                </a:lnTo>
                <a:lnTo>
                  <a:pt x="3383" y="598"/>
                </a:lnTo>
                <a:lnTo>
                  <a:pt x="3382" y="604"/>
                </a:lnTo>
                <a:lnTo>
                  <a:pt x="3379" y="615"/>
                </a:lnTo>
                <a:lnTo>
                  <a:pt x="3376" y="621"/>
                </a:lnTo>
                <a:lnTo>
                  <a:pt x="3373" y="626"/>
                </a:lnTo>
                <a:lnTo>
                  <a:pt x="3370" y="632"/>
                </a:lnTo>
                <a:lnTo>
                  <a:pt x="3365" y="636"/>
                </a:lnTo>
                <a:lnTo>
                  <a:pt x="3360" y="641"/>
                </a:lnTo>
                <a:lnTo>
                  <a:pt x="3354" y="645"/>
                </a:lnTo>
                <a:lnTo>
                  <a:pt x="3347" y="649"/>
                </a:lnTo>
                <a:lnTo>
                  <a:pt x="3340" y="652"/>
                </a:lnTo>
                <a:lnTo>
                  <a:pt x="3331" y="655"/>
                </a:lnTo>
                <a:lnTo>
                  <a:pt x="3322" y="657"/>
                </a:lnTo>
                <a:lnTo>
                  <a:pt x="3312" y="658"/>
                </a:lnTo>
                <a:lnTo>
                  <a:pt x="3301" y="658"/>
                </a:lnTo>
                <a:lnTo>
                  <a:pt x="3287" y="657"/>
                </a:lnTo>
                <a:lnTo>
                  <a:pt x="3274" y="655"/>
                </a:lnTo>
                <a:lnTo>
                  <a:pt x="3262" y="652"/>
                </a:lnTo>
                <a:lnTo>
                  <a:pt x="3250" y="648"/>
                </a:lnTo>
                <a:lnTo>
                  <a:pt x="3240" y="642"/>
                </a:lnTo>
                <a:lnTo>
                  <a:pt x="3231" y="636"/>
                </a:lnTo>
                <a:lnTo>
                  <a:pt x="3227" y="633"/>
                </a:lnTo>
                <a:lnTo>
                  <a:pt x="3223" y="629"/>
                </a:lnTo>
                <a:lnTo>
                  <a:pt x="3216" y="621"/>
                </a:lnTo>
                <a:close/>
                <a:moveTo>
                  <a:pt x="3598" y="654"/>
                </a:moveTo>
                <a:lnTo>
                  <a:pt x="3575" y="597"/>
                </a:lnTo>
                <a:lnTo>
                  <a:pt x="3452" y="597"/>
                </a:lnTo>
                <a:lnTo>
                  <a:pt x="3430" y="654"/>
                </a:lnTo>
                <a:lnTo>
                  <a:pt x="3407" y="654"/>
                </a:lnTo>
                <a:lnTo>
                  <a:pt x="3501" y="422"/>
                </a:lnTo>
                <a:lnTo>
                  <a:pt x="3526" y="422"/>
                </a:lnTo>
                <a:lnTo>
                  <a:pt x="3621" y="654"/>
                </a:lnTo>
                <a:lnTo>
                  <a:pt x="3598" y="654"/>
                </a:lnTo>
                <a:close/>
                <a:moveTo>
                  <a:pt x="3514" y="443"/>
                </a:moveTo>
                <a:lnTo>
                  <a:pt x="3459" y="579"/>
                </a:lnTo>
                <a:lnTo>
                  <a:pt x="3569" y="579"/>
                </a:lnTo>
                <a:lnTo>
                  <a:pt x="3514" y="443"/>
                </a:lnTo>
                <a:close/>
                <a:moveTo>
                  <a:pt x="3658" y="654"/>
                </a:moveTo>
                <a:lnTo>
                  <a:pt x="3658" y="422"/>
                </a:lnTo>
                <a:lnTo>
                  <a:pt x="3805" y="422"/>
                </a:lnTo>
                <a:lnTo>
                  <a:pt x="3805" y="440"/>
                </a:lnTo>
                <a:lnTo>
                  <a:pt x="3678" y="440"/>
                </a:lnTo>
                <a:lnTo>
                  <a:pt x="3678" y="526"/>
                </a:lnTo>
                <a:lnTo>
                  <a:pt x="3802" y="526"/>
                </a:lnTo>
                <a:lnTo>
                  <a:pt x="3802" y="544"/>
                </a:lnTo>
                <a:lnTo>
                  <a:pt x="3678" y="544"/>
                </a:lnTo>
                <a:lnTo>
                  <a:pt x="3678" y="654"/>
                </a:lnTo>
                <a:lnTo>
                  <a:pt x="3658" y="654"/>
                </a:lnTo>
                <a:close/>
                <a:moveTo>
                  <a:pt x="3845" y="654"/>
                </a:moveTo>
                <a:lnTo>
                  <a:pt x="3845" y="422"/>
                </a:lnTo>
                <a:lnTo>
                  <a:pt x="3992" y="422"/>
                </a:lnTo>
                <a:lnTo>
                  <a:pt x="3992" y="440"/>
                </a:lnTo>
                <a:lnTo>
                  <a:pt x="3865" y="440"/>
                </a:lnTo>
                <a:lnTo>
                  <a:pt x="3865" y="526"/>
                </a:lnTo>
                <a:lnTo>
                  <a:pt x="3990" y="526"/>
                </a:lnTo>
                <a:lnTo>
                  <a:pt x="3990" y="544"/>
                </a:lnTo>
                <a:lnTo>
                  <a:pt x="3865" y="544"/>
                </a:lnTo>
                <a:lnTo>
                  <a:pt x="3865" y="636"/>
                </a:lnTo>
                <a:lnTo>
                  <a:pt x="3992" y="636"/>
                </a:lnTo>
                <a:lnTo>
                  <a:pt x="3992" y="654"/>
                </a:lnTo>
                <a:lnTo>
                  <a:pt x="3845" y="654"/>
                </a:lnTo>
                <a:close/>
                <a:moveTo>
                  <a:pt x="4177" y="654"/>
                </a:moveTo>
                <a:lnTo>
                  <a:pt x="4112" y="558"/>
                </a:lnTo>
                <a:lnTo>
                  <a:pt x="4061" y="558"/>
                </a:lnTo>
                <a:lnTo>
                  <a:pt x="4061" y="654"/>
                </a:lnTo>
                <a:lnTo>
                  <a:pt x="4041" y="654"/>
                </a:lnTo>
                <a:lnTo>
                  <a:pt x="4041" y="422"/>
                </a:lnTo>
                <a:lnTo>
                  <a:pt x="4127" y="422"/>
                </a:lnTo>
                <a:lnTo>
                  <a:pt x="4135" y="422"/>
                </a:lnTo>
                <a:lnTo>
                  <a:pt x="4142" y="423"/>
                </a:lnTo>
                <a:lnTo>
                  <a:pt x="4149" y="425"/>
                </a:lnTo>
                <a:lnTo>
                  <a:pt x="4155" y="427"/>
                </a:lnTo>
                <a:lnTo>
                  <a:pt x="4161" y="429"/>
                </a:lnTo>
                <a:lnTo>
                  <a:pt x="4167" y="432"/>
                </a:lnTo>
                <a:lnTo>
                  <a:pt x="4173" y="436"/>
                </a:lnTo>
                <a:lnTo>
                  <a:pt x="4178" y="440"/>
                </a:lnTo>
                <a:lnTo>
                  <a:pt x="4182" y="445"/>
                </a:lnTo>
                <a:lnTo>
                  <a:pt x="4186" y="450"/>
                </a:lnTo>
                <a:lnTo>
                  <a:pt x="4190" y="455"/>
                </a:lnTo>
                <a:lnTo>
                  <a:pt x="4193" y="461"/>
                </a:lnTo>
                <a:lnTo>
                  <a:pt x="4195" y="468"/>
                </a:lnTo>
                <a:lnTo>
                  <a:pt x="4197" y="475"/>
                </a:lnTo>
                <a:lnTo>
                  <a:pt x="4198" y="482"/>
                </a:lnTo>
                <a:lnTo>
                  <a:pt x="4198" y="490"/>
                </a:lnTo>
                <a:lnTo>
                  <a:pt x="4198" y="498"/>
                </a:lnTo>
                <a:lnTo>
                  <a:pt x="4197" y="505"/>
                </a:lnTo>
                <a:lnTo>
                  <a:pt x="4195" y="512"/>
                </a:lnTo>
                <a:lnTo>
                  <a:pt x="4193" y="518"/>
                </a:lnTo>
                <a:lnTo>
                  <a:pt x="4190" y="524"/>
                </a:lnTo>
                <a:lnTo>
                  <a:pt x="4187" y="529"/>
                </a:lnTo>
                <a:lnTo>
                  <a:pt x="4183" y="534"/>
                </a:lnTo>
                <a:lnTo>
                  <a:pt x="4179" y="539"/>
                </a:lnTo>
                <a:lnTo>
                  <a:pt x="4174" y="543"/>
                </a:lnTo>
                <a:lnTo>
                  <a:pt x="4169" y="546"/>
                </a:lnTo>
                <a:lnTo>
                  <a:pt x="4164" y="549"/>
                </a:lnTo>
                <a:lnTo>
                  <a:pt x="4158" y="552"/>
                </a:lnTo>
                <a:lnTo>
                  <a:pt x="4152" y="554"/>
                </a:lnTo>
                <a:lnTo>
                  <a:pt x="4146" y="555"/>
                </a:lnTo>
                <a:lnTo>
                  <a:pt x="4134" y="557"/>
                </a:lnTo>
                <a:lnTo>
                  <a:pt x="4201" y="654"/>
                </a:lnTo>
                <a:lnTo>
                  <a:pt x="4177" y="654"/>
                </a:lnTo>
                <a:close/>
                <a:moveTo>
                  <a:pt x="4177" y="490"/>
                </a:moveTo>
                <a:lnTo>
                  <a:pt x="4177" y="485"/>
                </a:lnTo>
                <a:lnTo>
                  <a:pt x="4176" y="479"/>
                </a:lnTo>
                <a:lnTo>
                  <a:pt x="4175" y="474"/>
                </a:lnTo>
                <a:lnTo>
                  <a:pt x="4173" y="470"/>
                </a:lnTo>
                <a:lnTo>
                  <a:pt x="4171" y="465"/>
                </a:lnTo>
                <a:lnTo>
                  <a:pt x="4169" y="461"/>
                </a:lnTo>
                <a:lnTo>
                  <a:pt x="4166" y="458"/>
                </a:lnTo>
                <a:lnTo>
                  <a:pt x="4163" y="454"/>
                </a:lnTo>
                <a:lnTo>
                  <a:pt x="4159" y="451"/>
                </a:lnTo>
                <a:lnTo>
                  <a:pt x="4155" y="448"/>
                </a:lnTo>
                <a:lnTo>
                  <a:pt x="4151" y="446"/>
                </a:lnTo>
                <a:lnTo>
                  <a:pt x="4147" y="444"/>
                </a:lnTo>
                <a:lnTo>
                  <a:pt x="4142" y="442"/>
                </a:lnTo>
                <a:lnTo>
                  <a:pt x="4137" y="441"/>
                </a:lnTo>
                <a:lnTo>
                  <a:pt x="4131" y="440"/>
                </a:lnTo>
                <a:lnTo>
                  <a:pt x="4126" y="440"/>
                </a:lnTo>
                <a:lnTo>
                  <a:pt x="4061" y="440"/>
                </a:lnTo>
                <a:lnTo>
                  <a:pt x="4061" y="540"/>
                </a:lnTo>
                <a:lnTo>
                  <a:pt x="4126" y="540"/>
                </a:lnTo>
                <a:lnTo>
                  <a:pt x="4131" y="540"/>
                </a:lnTo>
                <a:lnTo>
                  <a:pt x="4137" y="539"/>
                </a:lnTo>
                <a:lnTo>
                  <a:pt x="4142" y="538"/>
                </a:lnTo>
                <a:lnTo>
                  <a:pt x="4147" y="536"/>
                </a:lnTo>
                <a:lnTo>
                  <a:pt x="4151" y="534"/>
                </a:lnTo>
                <a:lnTo>
                  <a:pt x="4155" y="532"/>
                </a:lnTo>
                <a:lnTo>
                  <a:pt x="4159" y="529"/>
                </a:lnTo>
                <a:lnTo>
                  <a:pt x="4163" y="526"/>
                </a:lnTo>
                <a:lnTo>
                  <a:pt x="4166" y="522"/>
                </a:lnTo>
                <a:lnTo>
                  <a:pt x="4169" y="519"/>
                </a:lnTo>
                <a:lnTo>
                  <a:pt x="4171" y="514"/>
                </a:lnTo>
                <a:lnTo>
                  <a:pt x="4173" y="510"/>
                </a:lnTo>
                <a:lnTo>
                  <a:pt x="4174" y="508"/>
                </a:lnTo>
                <a:lnTo>
                  <a:pt x="4175" y="505"/>
                </a:lnTo>
                <a:lnTo>
                  <a:pt x="4176" y="500"/>
                </a:lnTo>
                <a:lnTo>
                  <a:pt x="4177" y="495"/>
                </a:lnTo>
                <a:lnTo>
                  <a:pt x="4177" y="4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0" name="Graphic 9">
            <a:extLst>
              <a:ext uri="{FF2B5EF4-FFF2-40B4-BE49-F238E27FC236}">
                <a16:creationId xmlns:a16="http://schemas.microsoft.com/office/drawing/2014/main" id="{4C68F53E-D551-4CB5-BD19-D35052767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87598294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I Slogan Ocean">
    <p:bg>
      <p:bgPr>
        <a:solidFill>
          <a:schemeClr val="accent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71AD5325-261D-40BD-AC29-5050047C7E96}"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0" name="Freeform 5">
            <a:extLst>
              <a:ext uri="{FF2B5EF4-FFF2-40B4-BE49-F238E27FC236}">
                <a16:creationId xmlns:a16="http://schemas.microsoft.com/office/drawing/2014/main" id="{050E5DA9-A58C-4B19-8E5A-7D8ADC6F48EB}"/>
              </a:ext>
            </a:extLst>
          </p:cNvPr>
          <p:cNvSpPr>
            <a:spLocks noChangeAspect="1" noEditPoints="1"/>
          </p:cNvSpPr>
          <p:nvPr userDrawn="1"/>
        </p:nvSpPr>
        <p:spPr bwMode="auto">
          <a:xfrm>
            <a:off x="2063552" y="2204864"/>
            <a:ext cx="8064896" cy="1735371"/>
          </a:xfrm>
          <a:custGeom>
            <a:avLst/>
            <a:gdLst>
              <a:gd name="T0" fmla="*/ 813 w 7222"/>
              <a:gd name="T1" fmla="*/ 1485 h 1554"/>
              <a:gd name="T2" fmla="*/ 967 w 7222"/>
              <a:gd name="T3" fmla="*/ 1450 h 1554"/>
              <a:gd name="T4" fmla="*/ 1356 w 7222"/>
              <a:gd name="T5" fmla="*/ 1548 h 1554"/>
              <a:gd name="T6" fmla="*/ 2030 w 7222"/>
              <a:gd name="T7" fmla="*/ 1548 h 1554"/>
              <a:gd name="T8" fmla="*/ 1970 w 7222"/>
              <a:gd name="T9" fmla="*/ 1439 h 1554"/>
              <a:gd name="T10" fmla="*/ 2145 w 7222"/>
              <a:gd name="T11" fmla="*/ 1507 h 1554"/>
              <a:gd name="T12" fmla="*/ 2165 w 7222"/>
              <a:gd name="T13" fmla="*/ 1532 h 1554"/>
              <a:gd name="T14" fmla="*/ 2524 w 7222"/>
              <a:gd name="T15" fmla="*/ 1196 h 1554"/>
              <a:gd name="T16" fmla="*/ 2527 w 7222"/>
              <a:gd name="T17" fmla="*/ 1376 h 1554"/>
              <a:gd name="T18" fmla="*/ 2540 w 7222"/>
              <a:gd name="T19" fmla="*/ 1287 h 1554"/>
              <a:gd name="T20" fmla="*/ 2790 w 7222"/>
              <a:gd name="T21" fmla="*/ 1512 h 1554"/>
              <a:gd name="T22" fmla="*/ 3631 w 7222"/>
              <a:gd name="T23" fmla="*/ 1180 h 1554"/>
              <a:gd name="T24" fmla="*/ 4030 w 7222"/>
              <a:gd name="T25" fmla="*/ 1496 h 1554"/>
              <a:gd name="T26" fmla="*/ 4249 w 7222"/>
              <a:gd name="T27" fmla="*/ 1493 h 1554"/>
              <a:gd name="T28" fmla="*/ 4090 w 7222"/>
              <a:gd name="T29" fmla="*/ 1347 h 1554"/>
              <a:gd name="T30" fmla="*/ 4116 w 7222"/>
              <a:gd name="T31" fmla="*/ 1181 h 1554"/>
              <a:gd name="T32" fmla="*/ 4232 w 7222"/>
              <a:gd name="T33" fmla="*/ 1220 h 1554"/>
              <a:gd name="T34" fmla="*/ 4076 w 7222"/>
              <a:gd name="T35" fmla="*/ 1277 h 1554"/>
              <a:gd name="T36" fmla="*/ 4282 w 7222"/>
              <a:gd name="T37" fmla="*/ 1400 h 1554"/>
              <a:gd name="T38" fmla="*/ 4177 w 7222"/>
              <a:gd name="T39" fmla="*/ 1554 h 1554"/>
              <a:gd name="T40" fmla="*/ 5001 w 7222"/>
              <a:gd name="T41" fmla="*/ 1180 h 1554"/>
              <a:gd name="T42" fmla="*/ 5817 w 7222"/>
              <a:gd name="T43" fmla="*/ 1428 h 1554"/>
              <a:gd name="T44" fmla="*/ 6354 w 7222"/>
              <a:gd name="T45" fmla="*/ 1519 h 1554"/>
              <a:gd name="T46" fmla="*/ 6377 w 7222"/>
              <a:gd name="T47" fmla="*/ 1552 h 1554"/>
              <a:gd name="T48" fmla="*/ 492 w 7222"/>
              <a:gd name="T49" fmla="*/ 877 h 1554"/>
              <a:gd name="T50" fmla="*/ 1518 w 7222"/>
              <a:gd name="T51" fmla="*/ 996 h 1554"/>
              <a:gd name="T52" fmla="*/ 2086 w 7222"/>
              <a:gd name="T53" fmla="*/ 877 h 1554"/>
              <a:gd name="T54" fmla="*/ 2460 w 7222"/>
              <a:gd name="T55" fmla="*/ 964 h 1554"/>
              <a:gd name="T56" fmla="*/ 2608 w 7222"/>
              <a:gd name="T57" fmla="*/ 886 h 1554"/>
              <a:gd name="T58" fmla="*/ 2393 w 7222"/>
              <a:gd name="T59" fmla="*/ 746 h 1554"/>
              <a:gd name="T60" fmla="*/ 2549 w 7222"/>
              <a:gd name="T61" fmla="*/ 626 h 1554"/>
              <a:gd name="T62" fmla="*/ 2524 w 7222"/>
              <a:gd name="T63" fmla="*/ 651 h 1554"/>
              <a:gd name="T64" fmla="*/ 2457 w 7222"/>
              <a:gd name="T65" fmla="*/ 767 h 1554"/>
              <a:gd name="T66" fmla="*/ 2643 w 7222"/>
              <a:gd name="T67" fmla="*/ 911 h 1554"/>
              <a:gd name="T68" fmla="*/ 2973 w 7222"/>
              <a:gd name="T69" fmla="*/ 657 h 1554"/>
              <a:gd name="T70" fmla="*/ 3738 w 7222"/>
              <a:gd name="T71" fmla="*/ 647 h 1554"/>
              <a:gd name="T72" fmla="*/ 3719 w 7222"/>
              <a:gd name="T73" fmla="*/ 835 h 1554"/>
              <a:gd name="T74" fmla="*/ 3749 w 7222"/>
              <a:gd name="T75" fmla="*/ 727 h 1554"/>
              <a:gd name="T76" fmla="*/ 3947 w 7222"/>
              <a:gd name="T77" fmla="*/ 995 h 1554"/>
              <a:gd name="T78" fmla="*/ 3895 w 7222"/>
              <a:gd name="T79" fmla="*/ 893 h 1554"/>
              <a:gd name="T80" fmla="*/ 4074 w 7222"/>
              <a:gd name="T81" fmla="*/ 953 h 1554"/>
              <a:gd name="T82" fmla="*/ 4084 w 7222"/>
              <a:gd name="T83" fmla="*/ 983 h 1554"/>
              <a:gd name="T84" fmla="*/ 4621 w 7222"/>
              <a:gd name="T85" fmla="*/ 657 h 1554"/>
              <a:gd name="T86" fmla="*/ 5453 w 7222"/>
              <a:gd name="T87" fmla="*/ 628 h 1554"/>
              <a:gd name="T88" fmla="*/ 6146 w 7222"/>
              <a:gd name="T89" fmla="*/ 996 h 1554"/>
              <a:gd name="T90" fmla="*/ 6928 w 7222"/>
              <a:gd name="T91" fmla="*/ 628 h 1554"/>
              <a:gd name="T92" fmla="*/ 936 w 7222"/>
              <a:gd name="T93" fmla="*/ 438 h 1554"/>
              <a:gd name="T94" fmla="*/ 1034 w 7222"/>
              <a:gd name="T95" fmla="*/ 421 h 1554"/>
              <a:gd name="T96" fmla="*/ 1064 w 7222"/>
              <a:gd name="T97" fmla="*/ 290 h 1554"/>
              <a:gd name="T98" fmla="*/ 899 w 7222"/>
              <a:gd name="T99" fmla="*/ 119 h 1554"/>
              <a:gd name="T100" fmla="*/ 1118 w 7222"/>
              <a:gd name="T101" fmla="*/ 111 h 1554"/>
              <a:gd name="T102" fmla="*/ 942 w 7222"/>
              <a:gd name="T103" fmla="*/ 118 h 1554"/>
              <a:gd name="T104" fmla="*/ 1076 w 7222"/>
              <a:gd name="T105" fmla="*/ 258 h 1554"/>
              <a:gd name="T106" fmla="*/ 1099 w 7222"/>
              <a:gd name="T107" fmla="*/ 426 h 1554"/>
              <a:gd name="T108" fmla="*/ 1491 w 7222"/>
              <a:gd name="T109" fmla="*/ 110 h 1554"/>
              <a:gd name="T110" fmla="*/ 2310 w 7222"/>
              <a:gd name="T111" fmla="*/ 77 h 1554"/>
              <a:gd name="T112" fmla="*/ 2895 w 7222"/>
              <a:gd name="T113" fmla="*/ 110 h 1554"/>
              <a:gd name="T114" fmla="*/ 3623 w 7222"/>
              <a:gd name="T115" fmla="*/ 77 h 1554"/>
              <a:gd name="T116" fmla="*/ 4625 w 7222"/>
              <a:gd name="T117" fmla="*/ 444 h 1554"/>
              <a:gd name="T118" fmla="*/ 5408 w 7222"/>
              <a:gd name="T119" fmla="*/ 444 h 1554"/>
              <a:gd name="T120" fmla="*/ 6341 w 7222"/>
              <a:gd name="T121" fmla="*/ 35 h 1554"/>
              <a:gd name="T122" fmla="*/ 6345 w 7222"/>
              <a:gd name="T123" fmla="*/ 13 h 1554"/>
              <a:gd name="T124" fmla="*/ 6210 w 7222"/>
              <a:gd name="T125" fmla="*/ 0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2" h="1554">
                <a:moveTo>
                  <a:pt x="6593" y="444"/>
                </a:moveTo>
                <a:lnTo>
                  <a:pt x="6561" y="444"/>
                </a:lnTo>
                <a:lnTo>
                  <a:pt x="6561" y="105"/>
                </a:lnTo>
                <a:lnTo>
                  <a:pt x="6441" y="105"/>
                </a:lnTo>
                <a:lnTo>
                  <a:pt x="6441" y="77"/>
                </a:lnTo>
                <a:lnTo>
                  <a:pt x="6713" y="77"/>
                </a:lnTo>
                <a:lnTo>
                  <a:pt x="6713" y="105"/>
                </a:lnTo>
                <a:lnTo>
                  <a:pt x="6593" y="105"/>
                </a:lnTo>
                <a:lnTo>
                  <a:pt x="6593" y="444"/>
                </a:lnTo>
                <a:close/>
                <a:moveTo>
                  <a:pt x="888" y="1554"/>
                </a:moveTo>
                <a:lnTo>
                  <a:pt x="873" y="1553"/>
                </a:lnTo>
                <a:lnTo>
                  <a:pt x="867" y="1553"/>
                </a:lnTo>
                <a:lnTo>
                  <a:pt x="860" y="1551"/>
                </a:lnTo>
                <a:lnTo>
                  <a:pt x="853" y="1550"/>
                </a:lnTo>
                <a:lnTo>
                  <a:pt x="847" y="1548"/>
                </a:lnTo>
                <a:lnTo>
                  <a:pt x="841" y="1546"/>
                </a:lnTo>
                <a:lnTo>
                  <a:pt x="835" y="1543"/>
                </a:lnTo>
                <a:lnTo>
                  <a:pt x="829" y="1540"/>
                </a:lnTo>
                <a:lnTo>
                  <a:pt x="824" y="1537"/>
                </a:lnTo>
                <a:lnTo>
                  <a:pt x="818" y="1533"/>
                </a:lnTo>
                <a:lnTo>
                  <a:pt x="813" y="1529"/>
                </a:lnTo>
                <a:lnTo>
                  <a:pt x="808" y="1525"/>
                </a:lnTo>
                <a:lnTo>
                  <a:pt x="803" y="1520"/>
                </a:lnTo>
                <a:lnTo>
                  <a:pt x="798" y="1515"/>
                </a:lnTo>
                <a:lnTo>
                  <a:pt x="794" y="1509"/>
                </a:lnTo>
                <a:lnTo>
                  <a:pt x="813" y="1485"/>
                </a:lnTo>
                <a:lnTo>
                  <a:pt x="819" y="1493"/>
                </a:lnTo>
                <a:lnTo>
                  <a:pt x="827" y="1500"/>
                </a:lnTo>
                <a:lnTo>
                  <a:pt x="834" y="1507"/>
                </a:lnTo>
                <a:lnTo>
                  <a:pt x="843" y="1513"/>
                </a:lnTo>
                <a:lnTo>
                  <a:pt x="848" y="1516"/>
                </a:lnTo>
                <a:lnTo>
                  <a:pt x="852" y="1519"/>
                </a:lnTo>
                <a:lnTo>
                  <a:pt x="857" y="1521"/>
                </a:lnTo>
                <a:lnTo>
                  <a:pt x="863" y="1522"/>
                </a:lnTo>
                <a:lnTo>
                  <a:pt x="868" y="1524"/>
                </a:lnTo>
                <a:lnTo>
                  <a:pt x="874" y="1525"/>
                </a:lnTo>
                <a:lnTo>
                  <a:pt x="886" y="1526"/>
                </a:lnTo>
                <a:lnTo>
                  <a:pt x="896" y="1525"/>
                </a:lnTo>
                <a:lnTo>
                  <a:pt x="904" y="1524"/>
                </a:lnTo>
                <a:lnTo>
                  <a:pt x="912" y="1522"/>
                </a:lnTo>
                <a:lnTo>
                  <a:pt x="920" y="1519"/>
                </a:lnTo>
                <a:lnTo>
                  <a:pt x="927" y="1516"/>
                </a:lnTo>
                <a:lnTo>
                  <a:pt x="934" y="1512"/>
                </a:lnTo>
                <a:lnTo>
                  <a:pt x="940" y="1507"/>
                </a:lnTo>
                <a:lnTo>
                  <a:pt x="946" y="1502"/>
                </a:lnTo>
                <a:lnTo>
                  <a:pt x="951" y="1496"/>
                </a:lnTo>
                <a:lnTo>
                  <a:pt x="955" y="1490"/>
                </a:lnTo>
                <a:lnTo>
                  <a:pt x="959" y="1483"/>
                </a:lnTo>
                <a:lnTo>
                  <a:pt x="962" y="1475"/>
                </a:lnTo>
                <a:lnTo>
                  <a:pt x="965" y="1467"/>
                </a:lnTo>
                <a:lnTo>
                  <a:pt x="966" y="1459"/>
                </a:lnTo>
                <a:lnTo>
                  <a:pt x="967" y="1450"/>
                </a:lnTo>
                <a:lnTo>
                  <a:pt x="968" y="1441"/>
                </a:lnTo>
                <a:lnTo>
                  <a:pt x="968" y="1180"/>
                </a:lnTo>
                <a:lnTo>
                  <a:pt x="999" y="1180"/>
                </a:lnTo>
                <a:lnTo>
                  <a:pt x="999" y="1441"/>
                </a:lnTo>
                <a:lnTo>
                  <a:pt x="999" y="1448"/>
                </a:lnTo>
                <a:lnTo>
                  <a:pt x="998" y="1455"/>
                </a:lnTo>
                <a:lnTo>
                  <a:pt x="997" y="1468"/>
                </a:lnTo>
                <a:lnTo>
                  <a:pt x="996" y="1474"/>
                </a:lnTo>
                <a:lnTo>
                  <a:pt x="994" y="1480"/>
                </a:lnTo>
                <a:lnTo>
                  <a:pt x="990" y="1491"/>
                </a:lnTo>
                <a:lnTo>
                  <a:pt x="986" y="1501"/>
                </a:lnTo>
                <a:lnTo>
                  <a:pt x="980" y="1511"/>
                </a:lnTo>
                <a:lnTo>
                  <a:pt x="977" y="1515"/>
                </a:lnTo>
                <a:lnTo>
                  <a:pt x="974" y="1519"/>
                </a:lnTo>
                <a:lnTo>
                  <a:pt x="970" y="1523"/>
                </a:lnTo>
                <a:lnTo>
                  <a:pt x="967" y="1526"/>
                </a:lnTo>
                <a:lnTo>
                  <a:pt x="958" y="1533"/>
                </a:lnTo>
                <a:lnTo>
                  <a:pt x="950" y="1539"/>
                </a:lnTo>
                <a:lnTo>
                  <a:pt x="941" y="1543"/>
                </a:lnTo>
                <a:lnTo>
                  <a:pt x="931" y="1547"/>
                </a:lnTo>
                <a:lnTo>
                  <a:pt x="921" y="1550"/>
                </a:lnTo>
                <a:lnTo>
                  <a:pt x="911" y="1552"/>
                </a:lnTo>
                <a:lnTo>
                  <a:pt x="899" y="1554"/>
                </a:lnTo>
                <a:lnTo>
                  <a:pt x="888" y="1554"/>
                </a:lnTo>
                <a:close/>
                <a:moveTo>
                  <a:pt x="1392" y="1548"/>
                </a:moveTo>
                <a:lnTo>
                  <a:pt x="1356" y="1548"/>
                </a:lnTo>
                <a:lnTo>
                  <a:pt x="1320" y="1457"/>
                </a:lnTo>
                <a:lnTo>
                  <a:pt x="1125" y="1457"/>
                </a:lnTo>
                <a:lnTo>
                  <a:pt x="1089" y="1548"/>
                </a:lnTo>
                <a:lnTo>
                  <a:pt x="1052" y="1548"/>
                </a:lnTo>
                <a:lnTo>
                  <a:pt x="1203" y="1180"/>
                </a:lnTo>
                <a:lnTo>
                  <a:pt x="1242" y="1180"/>
                </a:lnTo>
                <a:lnTo>
                  <a:pt x="1392" y="1548"/>
                </a:lnTo>
                <a:close/>
                <a:moveTo>
                  <a:pt x="1309" y="1428"/>
                </a:moveTo>
                <a:lnTo>
                  <a:pt x="1223" y="1213"/>
                </a:lnTo>
                <a:lnTo>
                  <a:pt x="1135" y="1428"/>
                </a:lnTo>
                <a:lnTo>
                  <a:pt x="1309" y="1428"/>
                </a:lnTo>
                <a:close/>
                <a:moveTo>
                  <a:pt x="1737" y="1548"/>
                </a:moveTo>
                <a:lnTo>
                  <a:pt x="1705" y="1548"/>
                </a:lnTo>
                <a:lnTo>
                  <a:pt x="1705" y="1208"/>
                </a:lnTo>
                <a:lnTo>
                  <a:pt x="1585" y="1208"/>
                </a:lnTo>
                <a:lnTo>
                  <a:pt x="1585" y="1180"/>
                </a:lnTo>
                <a:lnTo>
                  <a:pt x="1858" y="1180"/>
                </a:lnTo>
                <a:lnTo>
                  <a:pt x="1858" y="1208"/>
                </a:lnTo>
                <a:lnTo>
                  <a:pt x="1737" y="1208"/>
                </a:lnTo>
                <a:lnTo>
                  <a:pt x="1737" y="1548"/>
                </a:lnTo>
                <a:close/>
                <a:moveTo>
                  <a:pt x="2078" y="1554"/>
                </a:moveTo>
                <a:lnTo>
                  <a:pt x="2069" y="1554"/>
                </a:lnTo>
                <a:lnTo>
                  <a:pt x="2061" y="1553"/>
                </a:lnTo>
                <a:lnTo>
                  <a:pt x="2045" y="1551"/>
                </a:lnTo>
                <a:lnTo>
                  <a:pt x="2037" y="1550"/>
                </a:lnTo>
                <a:lnTo>
                  <a:pt x="2030" y="1548"/>
                </a:lnTo>
                <a:lnTo>
                  <a:pt x="2023" y="1546"/>
                </a:lnTo>
                <a:lnTo>
                  <a:pt x="2016" y="1544"/>
                </a:lnTo>
                <a:lnTo>
                  <a:pt x="2003" y="1538"/>
                </a:lnTo>
                <a:lnTo>
                  <a:pt x="1997" y="1535"/>
                </a:lnTo>
                <a:lnTo>
                  <a:pt x="1991" y="1531"/>
                </a:lnTo>
                <a:lnTo>
                  <a:pt x="1981" y="1523"/>
                </a:lnTo>
                <a:lnTo>
                  <a:pt x="1976" y="1519"/>
                </a:lnTo>
                <a:lnTo>
                  <a:pt x="1971" y="1514"/>
                </a:lnTo>
                <a:lnTo>
                  <a:pt x="1963" y="1504"/>
                </a:lnTo>
                <a:lnTo>
                  <a:pt x="1959" y="1498"/>
                </a:lnTo>
                <a:lnTo>
                  <a:pt x="1955" y="1493"/>
                </a:lnTo>
                <a:lnTo>
                  <a:pt x="1949" y="1481"/>
                </a:lnTo>
                <a:lnTo>
                  <a:pt x="1946" y="1474"/>
                </a:lnTo>
                <a:lnTo>
                  <a:pt x="1944" y="1468"/>
                </a:lnTo>
                <a:lnTo>
                  <a:pt x="1940" y="1454"/>
                </a:lnTo>
                <a:lnTo>
                  <a:pt x="1938" y="1446"/>
                </a:lnTo>
                <a:lnTo>
                  <a:pt x="1937" y="1439"/>
                </a:lnTo>
                <a:lnTo>
                  <a:pt x="1935" y="1423"/>
                </a:lnTo>
                <a:lnTo>
                  <a:pt x="1935" y="1415"/>
                </a:lnTo>
                <a:lnTo>
                  <a:pt x="1935" y="1406"/>
                </a:lnTo>
                <a:lnTo>
                  <a:pt x="1935" y="1180"/>
                </a:lnTo>
                <a:lnTo>
                  <a:pt x="1967" y="1180"/>
                </a:lnTo>
                <a:lnTo>
                  <a:pt x="1967" y="1406"/>
                </a:lnTo>
                <a:lnTo>
                  <a:pt x="1967" y="1420"/>
                </a:lnTo>
                <a:lnTo>
                  <a:pt x="1969" y="1432"/>
                </a:lnTo>
                <a:lnTo>
                  <a:pt x="1970" y="1439"/>
                </a:lnTo>
                <a:lnTo>
                  <a:pt x="1971" y="1445"/>
                </a:lnTo>
                <a:lnTo>
                  <a:pt x="1974" y="1456"/>
                </a:lnTo>
                <a:lnTo>
                  <a:pt x="1978" y="1467"/>
                </a:lnTo>
                <a:lnTo>
                  <a:pt x="1980" y="1472"/>
                </a:lnTo>
                <a:lnTo>
                  <a:pt x="1983" y="1476"/>
                </a:lnTo>
                <a:lnTo>
                  <a:pt x="1989" y="1485"/>
                </a:lnTo>
                <a:lnTo>
                  <a:pt x="1992" y="1490"/>
                </a:lnTo>
                <a:lnTo>
                  <a:pt x="1995" y="1494"/>
                </a:lnTo>
                <a:lnTo>
                  <a:pt x="1999" y="1497"/>
                </a:lnTo>
                <a:lnTo>
                  <a:pt x="2003" y="1501"/>
                </a:lnTo>
                <a:lnTo>
                  <a:pt x="2011" y="1507"/>
                </a:lnTo>
                <a:lnTo>
                  <a:pt x="2020" y="1513"/>
                </a:lnTo>
                <a:lnTo>
                  <a:pt x="2025" y="1515"/>
                </a:lnTo>
                <a:lnTo>
                  <a:pt x="2030" y="1517"/>
                </a:lnTo>
                <a:lnTo>
                  <a:pt x="2041" y="1521"/>
                </a:lnTo>
                <a:lnTo>
                  <a:pt x="2053" y="1523"/>
                </a:lnTo>
                <a:lnTo>
                  <a:pt x="2059" y="1524"/>
                </a:lnTo>
                <a:lnTo>
                  <a:pt x="2065" y="1525"/>
                </a:lnTo>
                <a:lnTo>
                  <a:pt x="2078" y="1526"/>
                </a:lnTo>
                <a:lnTo>
                  <a:pt x="2091" y="1525"/>
                </a:lnTo>
                <a:lnTo>
                  <a:pt x="2104" y="1523"/>
                </a:lnTo>
                <a:lnTo>
                  <a:pt x="2115" y="1521"/>
                </a:lnTo>
                <a:lnTo>
                  <a:pt x="2126" y="1517"/>
                </a:lnTo>
                <a:lnTo>
                  <a:pt x="2131" y="1515"/>
                </a:lnTo>
                <a:lnTo>
                  <a:pt x="2136" y="1513"/>
                </a:lnTo>
                <a:lnTo>
                  <a:pt x="2145" y="1507"/>
                </a:lnTo>
                <a:lnTo>
                  <a:pt x="2149" y="1504"/>
                </a:lnTo>
                <a:lnTo>
                  <a:pt x="2154" y="1501"/>
                </a:lnTo>
                <a:lnTo>
                  <a:pt x="2157" y="1497"/>
                </a:lnTo>
                <a:lnTo>
                  <a:pt x="2161" y="1494"/>
                </a:lnTo>
                <a:lnTo>
                  <a:pt x="2168" y="1485"/>
                </a:lnTo>
                <a:lnTo>
                  <a:pt x="2173" y="1476"/>
                </a:lnTo>
                <a:lnTo>
                  <a:pt x="2178" y="1467"/>
                </a:lnTo>
                <a:lnTo>
                  <a:pt x="2182" y="1456"/>
                </a:lnTo>
                <a:lnTo>
                  <a:pt x="2186" y="1445"/>
                </a:lnTo>
                <a:lnTo>
                  <a:pt x="2187" y="1439"/>
                </a:lnTo>
                <a:lnTo>
                  <a:pt x="2188" y="1432"/>
                </a:lnTo>
                <a:lnTo>
                  <a:pt x="2189" y="1420"/>
                </a:lnTo>
                <a:lnTo>
                  <a:pt x="2190" y="1406"/>
                </a:lnTo>
                <a:lnTo>
                  <a:pt x="2190" y="1180"/>
                </a:lnTo>
                <a:lnTo>
                  <a:pt x="2222" y="1180"/>
                </a:lnTo>
                <a:lnTo>
                  <a:pt x="2222" y="1406"/>
                </a:lnTo>
                <a:lnTo>
                  <a:pt x="2221" y="1423"/>
                </a:lnTo>
                <a:lnTo>
                  <a:pt x="2219" y="1439"/>
                </a:lnTo>
                <a:lnTo>
                  <a:pt x="2216" y="1454"/>
                </a:lnTo>
                <a:lnTo>
                  <a:pt x="2213" y="1468"/>
                </a:lnTo>
                <a:lnTo>
                  <a:pt x="2207" y="1481"/>
                </a:lnTo>
                <a:lnTo>
                  <a:pt x="2201" y="1493"/>
                </a:lnTo>
                <a:lnTo>
                  <a:pt x="2194" y="1504"/>
                </a:lnTo>
                <a:lnTo>
                  <a:pt x="2185" y="1514"/>
                </a:lnTo>
                <a:lnTo>
                  <a:pt x="2176" y="1524"/>
                </a:lnTo>
                <a:lnTo>
                  <a:pt x="2165" y="1532"/>
                </a:lnTo>
                <a:lnTo>
                  <a:pt x="2160" y="1535"/>
                </a:lnTo>
                <a:lnTo>
                  <a:pt x="2153" y="1538"/>
                </a:lnTo>
                <a:lnTo>
                  <a:pt x="2147" y="1541"/>
                </a:lnTo>
                <a:lnTo>
                  <a:pt x="2141" y="1544"/>
                </a:lnTo>
                <a:lnTo>
                  <a:pt x="2134" y="1546"/>
                </a:lnTo>
                <a:lnTo>
                  <a:pt x="2127" y="1548"/>
                </a:lnTo>
                <a:lnTo>
                  <a:pt x="2112" y="1551"/>
                </a:lnTo>
                <a:lnTo>
                  <a:pt x="2095" y="1553"/>
                </a:lnTo>
                <a:lnTo>
                  <a:pt x="2087" y="1554"/>
                </a:lnTo>
                <a:lnTo>
                  <a:pt x="2078" y="1554"/>
                </a:lnTo>
                <a:close/>
                <a:moveTo>
                  <a:pt x="2578" y="1548"/>
                </a:moveTo>
                <a:lnTo>
                  <a:pt x="2540" y="1548"/>
                </a:lnTo>
                <a:lnTo>
                  <a:pt x="2436" y="1395"/>
                </a:lnTo>
                <a:lnTo>
                  <a:pt x="2355" y="1395"/>
                </a:lnTo>
                <a:lnTo>
                  <a:pt x="2355" y="1548"/>
                </a:lnTo>
                <a:lnTo>
                  <a:pt x="2324" y="1548"/>
                </a:lnTo>
                <a:lnTo>
                  <a:pt x="2324" y="1180"/>
                </a:lnTo>
                <a:lnTo>
                  <a:pt x="2461" y="1180"/>
                </a:lnTo>
                <a:lnTo>
                  <a:pt x="2473" y="1180"/>
                </a:lnTo>
                <a:lnTo>
                  <a:pt x="2479" y="1181"/>
                </a:lnTo>
                <a:lnTo>
                  <a:pt x="2484" y="1182"/>
                </a:lnTo>
                <a:lnTo>
                  <a:pt x="2490" y="1183"/>
                </a:lnTo>
                <a:lnTo>
                  <a:pt x="2495" y="1184"/>
                </a:lnTo>
                <a:lnTo>
                  <a:pt x="2506" y="1187"/>
                </a:lnTo>
                <a:lnTo>
                  <a:pt x="2515" y="1191"/>
                </a:lnTo>
                <a:lnTo>
                  <a:pt x="2524" y="1196"/>
                </a:lnTo>
                <a:lnTo>
                  <a:pt x="2533" y="1202"/>
                </a:lnTo>
                <a:lnTo>
                  <a:pt x="2541" y="1208"/>
                </a:lnTo>
                <a:lnTo>
                  <a:pt x="2545" y="1212"/>
                </a:lnTo>
                <a:lnTo>
                  <a:pt x="2548" y="1216"/>
                </a:lnTo>
                <a:lnTo>
                  <a:pt x="2552" y="1220"/>
                </a:lnTo>
                <a:lnTo>
                  <a:pt x="2555" y="1224"/>
                </a:lnTo>
                <a:lnTo>
                  <a:pt x="2560" y="1232"/>
                </a:lnTo>
                <a:lnTo>
                  <a:pt x="2562" y="1237"/>
                </a:lnTo>
                <a:lnTo>
                  <a:pt x="2565" y="1242"/>
                </a:lnTo>
                <a:lnTo>
                  <a:pt x="2568" y="1252"/>
                </a:lnTo>
                <a:lnTo>
                  <a:pt x="2570" y="1258"/>
                </a:lnTo>
                <a:lnTo>
                  <a:pt x="2571" y="1263"/>
                </a:lnTo>
                <a:lnTo>
                  <a:pt x="2572" y="1275"/>
                </a:lnTo>
                <a:lnTo>
                  <a:pt x="2573" y="1287"/>
                </a:lnTo>
                <a:lnTo>
                  <a:pt x="2573" y="1293"/>
                </a:lnTo>
                <a:lnTo>
                  <a:pt x="2572" y="1299"/>
                </a:lnTo>
                <a:lnTo>
                  <a:pt x="2571" y="1311"/>
                </a:lnTo>
                <a:lnTo>
                  <a:pt x="2568" y="1322"/>
                </a:lnTo>
                <a:lnTo>
                  <a:pt x="2565" y="1332"/>
                </a:lnTo>
                <a:lnTo>
                  <a:pt x="2561" y="1341"/>
                </a:lnTo>
                <a:lnTo>
                  <a:pt x="2556" y="1349"/>
                </a:lnTo>
                <a:lnTo>
                  <a:pt x="2553" y="1353"/>
                </a:lnTo>
                <a:lnTo>
                  <a:pt x="2550" y="1357"/>
                </a:lnTo>
                <a:lnTo>
                  <a:pt x="2543" y="1364"/>
                </a:lnTo>
                <a:lnTo>
                  <a:pt x="2535" y="1371"/>
                </a:lnTo>
                <a:lnTo>
                  <a:pt x="2527" y="1376"/>
                </a:lnTo>
                <a:lnTo>
                  <a:pt x="2519" y="1381"/>
                </a:lnTo>
                <a:lnTo>
                  <a:pt x="2510" y="1385"/>
                </a:lnTo>
                <a:lnTo>
                  <a:pt x="2501" y="1388"/>
                </a:lnTo>
                <a:lnTo>
                  <a:pt x="2492" y="1391"/>
                </a:lnTo>
                <a:lnTo>
                  <a:pt x="2482" y="1392"/>
                </a:lnTo>
                <a:lnTo>
                  <a:pt x="2471" y="1393"/>
                </a:lnTo>
                <a:lnTo>
                  <a:pt x="2578" y="1548"/>
                </a:lnTo>
                <a:close/>
                <a:moveTo>
                  <a:pt x="2459" y="1367"/>
                </a:moveTo>
                <a:lnTo>
                  <a:pt x="2468" y="1366"/>
                </a:lnTo>
                <a:lnTo>
                  <a:pt x="2476" y="1365"/>
                </a:lnTo>
                <a:lnTo>
                  <a:pt x="2484" y="1363"/>
                </a:lnTo>
                <a:lnTo>
                  <a:pt x="2492" y="1361"/>
                </a:lnTo>
                <a:lnTo>
                  <a:pt x="2499" y="1358"/>
                </a:lnTo>
                <a:lnTo>
                  <a:pt x="2506" y="1354"/>
                </a:lnTo>
                <a:lnTo>
                  <a:pt x="2509" y="1352"/>
                </a:lnTo>
                <a:lnTo>
                  <a:pt x="2512" y="1349"/>
                </a:lnTo>
                <a:lnTo>
                  <a:pt x="2518" y="1344"/>
                </a:lnTo>
                <a:lnTo>
                  <a:pt x="2523" y="1339"/>
                </a:lnTo>
                <a:lnTo>
                  <a:pt x="2527" y="1333"/>
                </a:lnTo>
                <a:lnTo>
                  <a:pt x="2529" y="1329"/>
                </a:lnTo>
                <a:lnTo>
                  <a:pt x="2531" y="1326"/>
                </a:lnTo>
                <a:lnTo>
                  <a:pt x="2534" y="1319"/>
                </a:lnTo>
                <a:lnTo>
                  <a:pt x="2537" y="1312"/>
                </a:lnTo>
                <a:lnTo>
                  <a:pt x="2539" y="1304"/>
                </a:lnTo>
                <a:lnTo>
                  <a:pt x="2540" y="1296"/>
                </a:lnTo>
                <a:lnTo>
                  <a:pt x="2540" y="1287"/>
                </a:lnTo>
                <a:lnTo>
                  <a:pt x="2540" y="1279"/>
                </a:lnTo>
                <a:lnTo>
                  <a:pt x="2539" y="1270"/>
                </a:lnTo>
                <a:lnTo>
                  <a:pt x="2537" y="1263"/>
                </a:lnTo>
                <a:lnTo>
                  <a:pt x="2534" y="1255"/>
                </a:lnTo>
                <a:lnTo>
                  <a:pt x="2531" y="1248"/>
                </a:lnTo>
                <a:lnTo>
                  <a:pt x="2527" y="1242"/>
                </a:lnTo>
                <a:lnTo>
                  <a:pt x="2523" y="1236"/>
                </a:lnTo>
                <a:lnTo>
                  <a:pt x="2520" y="1233"/>
                </a:lnTo>
                <a:lnTo>
                  <a:pt x="2518" y="1230"/>
                </a:lnTo>
                <a:lnTo>
                  <a:pt x="2512" y="1225"/>
                </a:lnTo>
                <a:lnTo>
                  <a:pt x="2506" y="1221"/>
                </a:lnTo>
                <a:lnTo>
                  <a:pt x="2499" y="1217"/>
                </a:lnTo>
                <a:lnTo>
                  <a:pt x="2496" y="1216"/>
                </a:lnTo>
                <a:lnTo>
                  <a:pt x="2492" y="1214"/>
                </a:lnTo>
                <a:lnTo>
                  <a:pt x="2484" y="1212"/>
                </a:lnTo>
                <a:lnTo>
                  <a:pt x="2476" y="1210"/>
                </a:lnTo>
                <a:lnTo>
                  <a:pt x="2468" y="1209"/>
                </a:lnTo>
                <a:lnTo>
                  <a:pt x="2459" y="1208"/>
                </a:lnTo>
                <a:lnTo>
                  <a:pt x="2355" y="1208"/>
                </a:lnTo>
                <a:lnTo>
                  <a:pt x="2355" y="1367"/>
                </a:lnTo>
                <a:lnTo>
                  <a:pt x="2459" y="1367"/>
                </a:lnTo>
                <a:close/>
                <a:moveTo>
                  <a:pt x="2809" y="1548"/>
                </a:moveTo>
                <a:lnTo>
                  <a:pt x="2770" y="1548"/>
                </a:lnTo>
                <a:lnTo>
                  <a:pt x="2619" y="1180"/>
                </a:lnTo>
                <a:lnTo>
                  <a:pt x="2656" y="1180"/>
                </a:lnTo>
                <a:lnTo>
                  <a:pt x="2790" y="1512"/>
                </a:lnTo>
                <a:lnTo>
                  <a:pt x="2923" y="1180"/>
                </a:lnTo>
                <a:lnTo>
                  <a:pt x="2960" y="1180"/>
                </a:lnTo>
                <a:lnTo>
                  <a:pt x="2809" y="1548"/>
                </a:lnTo>
                <a:close/>
                <a:moveTo>
                  <a:pt x="3296" y="1548"/>
                </a:moveTo>
                <a:lnTo>
                  <a:pt x="3259" y="1548"/>
                </a:lnTo>
                <a:lnTo>
                  <a:pt x="3223" y="1457"/>
                </a:lnTo>
                <a:lnTo>
                  <a:pt x="3028" y="1457"/>
                </a:lnTo>
                <a:lnTo>
                  <a:pt x="2992" y="1548"/>
                </a:lnTo>
                <a:lnTo>
                  <a:pt x="2956" y="1548"/>
                </a:lnTo>
                <a:lnTo>
                  <a:pt x="3106" y="1180"/>
                </a:lnTo>
                <a:lnTo>
                  <a:pt x="3145" y="1180"/>
                </a:lnTo>
                <a:lnTo>
                  <a:pt x="3296" y="1548"/>
                </a:lnTo>
                <a:close/>
                <a:moveTo>
                  <a:pt x="3213" y="1428"/>
                </a:moveTo>
                <a:lnTo>
                  <a:pt x="3126" y="1213"/>
                </a:lnTo>
                <a:lnTo>
                  <a:pt x="3039" y="1428"/>
                </a:lnTo>
                <a:lnTo>
                  <a:pt x="3213" y="1428"/>
                </a:lnTo>
                <a:close/>
                <a:moveTo>
                  <a:pt x="3563" y="1548"/>
                </a:moveTo>
                <a:lnTo>
                  <a:pt x="3353" y="1548"/>
                </a:lnTo>
                <a:lnTo>
                  <a:pt x="3353" y="1180"/>
                </a:lnTo>
                <a:lnTo>
                  <a:pt x="3385" y="1180"/>
                </a:lnTo>
                <a:lnTo>
                  <a:pt x="3385" y="1519"/>
                </a:lnTo>
                <a:lnTo>
                  <a:pt x="3563" y="1519"/>
                </a:lnTo>
                <a:lnTo>
                  <a:pt x="3563" y="1548"/>
                </a:lnTo>
                <a:close/>
                <a:moveTo>
                  <a:pt x="3841" y="1548"/>
                </a:moveTo>
                <a:lnTo>
                  <a:pt x="3631" y="1548"/>
                </a:lnTo>
                <a:lnTo>
                  <a:pt x="3631" y="1180"/>
                </a:lnTo>
                <a:lnTo>
                  <a:pt x="3663" y="1180"/>
                </a:lnTo>
                <a:lnTo>
                  <a:pt x="3663" y="1519"/>
                </a:lnTo>
                <a:lnTo>
                  <a:pt x="3841" y="1519"/>
                </a:lnTo>
                <a:lnTo>
                  <a:pt x="3841" y="1548"/>
                </a:lnTo>
                <a:close/>
                <a:moveTo>
                  <a:pt x="3948" y="1548"/>
                </a:moveTo>
                <a:lnTo>
                  <a:pt x="3917" y="1548"/>
                </a:lnTo>
                <a:lnTo>
                  <a:pt x="3917" y="1180"/>
                </a:lnTo>
                <a:lnTo>
                  <a:pt x="3948" y="1180"/>
                </a:lnTo>
                <a:lnTo>
                  <a:pt x="3948" y="1548"/>
                </a:lnTo>
                <a:close/>
                <a:moveTo>
                  <a:pt x="4165" y="1554"/>
                </a:moveTo>
                <a:lnTo>
                  <a:pt x="4154" y="1554"/>
                </a:lnTo>
                <a:lnTo>
                  <a:pt x="4143" y="1553"/>
                </a:lnTo>
                <a:lnTo>
                  <a:pt x="4132" y="1552"/>
                </a:lnTo>
                <a:lnTo>
                  <a:pt x="4122" y="1550"/>
                </a:lnTo>
                <a:lnTo>
                  <a:pt x="4113" y="1547"/>
                </a:lnTo>
                <a:lnTo>
                  <a:pt x="4103" y="1545"/>
                </a:lnTo>
                <a:lnTo>
                  <a:pt x="4094" y="1541"/>
                </a:lnTo>
                <a:lnTo>
                  <a:pt x="4085" y="1538"/>
                </a:lnTo>
                <a:lnTo>
                  <a:pt x="4077" y="1533"/>
                </a:lnTo>
                <a:lnTo>
                  <a:pt x="4069" y="1529"/>
                </a:lnTo>
                <a:lnTo>
                  <a:pt x="4062" y="1524"/>
                </a:lnTo>
                <a:lnTo>
                  <a:pt x="4055" y="1519"/>
                </a:lnTo>
                <a:lnTo>
                  <a:pt x="4048" y="1514"/>
                </a:lnTo>
                <a:lnTo>
                  <a:pt x="4042" y="1508"/>
                </a:lnTo>
                <a:lnTo>
                  <a:pt x="4036" y="1502"/>
                </a:lnTo>
                <a:lnTo>
                  <a:pt x="4030" y="1496"/>
                </a:lnTo>
                <a:lnTo>
                  <a:pt x="4051" y="1472"/>
                </a:lnTo>
                <a:lnTo>
                  <a:pt x="4060" y="1482"/>
                </a:lnTo>
                <a:lnTo>
                  <a:pt x="4066" y="1487"/>
                </a:lnTo>
                <a:lnTo>
                  <a:pt x="4071" y="1492"/>
                </a:lnTo>
                <a:lnTo>
                  <a:pt x="4084" y="1501"/>
                </a:lnTo>
                <a:lnTo>
                  <a:pt x="4097" y="1509"/>
                </a:lnTo>
                <a:lnTo>
                  <a:pt x="4105" y="1513"/>
                </a:lnTo>
                <a:lnTo>
                  <a:pt x="4113" y="1516"/>
                </a:lnTo>
                <a:lnTo>
                  <a:pt x="4121" y="1519"/>
                </a:lnTo>
                <a:lnTo>
                  <a:pt x="4129" y="1521"/>
                </a:lnTo>
                <a:lnTo>
                  <a:pt x="4138" y="1523"/>
                </a:lnTo>
                <a:lnTo>
                  <a:pt x="4147" y="1524"/>
                </a:lnTo>
                <a:lnTo>
                  <a:pt x="4156" y="1525"/>
                </a:lnTo>
                <a:lnTo>
                  <a:pt x="4166" y="1526"/>
                </a:lnTo>
                <a:lnTo>
                  <a:pt x="4175" y="1525"/>
                </a:lnTo>
                <a:lnTo>
                  <a:pt x="4184" y="1525"/>
                </a:lnTo>
                <a:lnTo>
                  <a:pt x="4192" y="1524"/>
                </a:lnTo>
                <a:lnTo>
                  <a:pt x="4199" y="1522"/>
                </a:lnTo>
                <a:lnTo>
                  <a:pt x="4206" y="1521"/>
                </a:lnTo>
                <a:lnTo>
                  <a:pt x="4213" y="1519"/>
                </a:lnTo>
                <a:lnTo>
                  <a:pt x="4219" y="1516"/>
                </a:lnTo>
                <a:lnTo>
                  <a:pt x="4224" y="1513"/>
                </a:lnTo>
                <a:lnTo>
                  <a:pt x="4234" y="1507"/>
                </a:lnTo>
                <a:lnTo>
                  <a:pt x="4243" y="1501"/>
                </a:lnTo>
                <a:lnTo>
                  <a:pt x="4246" y="1497"/>
                </a:lnTo>
                <a:lnTo>
                  <a:pt x="4249" y="1493"/>
                </a:lnTo>
                <a:lnTo>
                  <a:pt x="4252" y="1489"/>
                </a:lnTo>
                <a:lnTo>
                  <a:pt x="4254" y="1485"/>
                </a:lnTo>
                <a:lnTo>
                  <a:pt x="4258" y="1477"/>
                </a:lnTo>
                <a:lnTo>
                  <a:pt x="4261" y="1468"/>
                </a:lnTo>
                <a:lnTo>
                  <a:pt x="4262" y="1460"/>
                </a:lnTo>
                <a:lnTo>
                  <a:pt x="4263" y="1452"/>
                </a:lnTo>
                <a:lnTo>
                  <a:pt x="4262" y="1444"/>
                </a:lnTo>
                <a:lnTo>
                  <a:pt x="4261" y="1437"/>
                </a:lnTo>
                <a:lnTo>
                  <a:pt x="4259" y="1431"/>
                </a:lnTo>
                <a:lnTo>
                  <a:pt x="4256" y="1424"/>
                </a:lnTo>
                <a:lnTo>
                  <a:pt x="4253" y="1419"/>
                </a:lnTo>
                <a:lnTo>
                  <a:pt x="4249" y="1413"/>
                </a:lnTo>
                <a:lnTo>
                  <a:pt x="4245" y="1408"/>
                </a:lnTo>
                <a:lnTo>
                  <a:pt x="4242" y="1406"/>
                </a:lnTo>
                <a:lnTo>
                  <a:pt x="4240" y="1404"/>
                </a:lnTo>
                <a:lnTo>
                  <a:pt x="4228" y="1397"/>
                </a:lnTo>
                <a:lnTo>
                  <a:pt x="4222" y="1393"/>
                </a:lnTo>
                <a:lnTo>
                  <a:pt x="4215" y="1390"/>
                </a:lnTo>
                <a:lnTo>
                  <a:pt x="4201" y="1384"/>
                </a:lnTo>
                <a:lnTo>
                  <a:pt x="4185" y="1379"/>
                </a:lnTo>
                <a:lnTo>
                  <a:pt x="4152" y="1370"/>
                </a:lnTo>
                <a:lnTo>
                  <a:pt x="4120" y="1360"/>
                </a:lnTo>
                <a:lnTo>
                  <a:pt x="4112" y="1357"/>
                </a:lnTo>
                <a:lnTo>
                  <a:pt x="4104" y="1354"/>
                </a:lnTo>
                <a:lnTo>
                  <a:pt x="4097" y="1351"/>
                </a:lnTo>
                <a:lnTo>
                  <a:pt x="4090" y="1347"/>
                </a:lnTo>
                <a:lnTo>
                  <a:pt x="4083" y="1343"/>
                </a:lnTo>
                <a:lnTo>
                  <a:pt x="4077" y="1339"/>
                </a:lnTo>
                <a:lnTo>
                  <a:pt x="4065" y="1329"/>
                </a:lnTo>
                <a:lnTo>
                  <a:pt x="4060" y="1324"/>
                </a:lnTo>
                <a:lnTo>
                  <a:pt x="4055" y="1318"/>
                </a:lnTo>
                <a:lnTo>
                  <a:pt x="4051" y="1312"/>
                </a:lnTo>
                <a:lnTo>
                  <a:pt x="4048" y="1305"/>
                </a:lnTo>
                <a:lnTo>
                  <a:pt x="4046" y="1298"/>
                </a:lnTo>
                <a:lnTo>
                  <a:pt x="4044" y="1290"/>
                </a:lnTo>
                <a:lnTo>
                  <a:pt x="4043" y="1281"/>
                </a:lnTo>
                <a:lnTo>
                  <a:pt x="4042" y="1272"/>
                </a:lnTo>
                <a:lnTo>
                  <a:pt x="4043" y="1261"/>
                </a:lnTo>
                <a:lnTo>
                  <a:pt x="4045" y="1250"/>
                </a:lnTo>
                <a:lnTo>
                  <a:pt x="4046" y="1245"/>
                </a:lnTo>
                <a:lnTo>
                  <a:pt x="4048" y="1240"/>
                </a:lnTo>
                <a:lnTo>
                  <a:pt x="4052" y="1231"/>
                </a:lnTo>
                <a:lnTo>
                  <a:pt x="4056" y="1222"/>
                </a:lnTo>
                <a:lnTo>
                  <a:pt x="4059" y="1218"/>
                </a:lnTo>
                <a:lnTo>
                  <a:pt x="4062" y="1214"/>
                </a:lnTo>
                <a:lnTo>
                  <a:pt x="4069" y="1207"/>
                </a:lnTo>
                <a:lnTo>
                  <a:pt x="4077" y="1200"/>
                </a:lnTo>
                <a:lnTo>
                  <a:pt x="4082" y="1197"/>
                </a:lnTo>
                <a:lnTo>
                  <a:pt x="4086" y="1194"/>
                </a:lnTo>
                <a:lnTo>
                  <a:pt x="4095" y="1189"/>
                </a:lnTo>
                <a:lnTo>
                  <a:pt x="4105" y="1184"/>
                </a:lnTo>
                <a:lnTo>
                  <a:pt x="4116" y="1181"/>
                </a:lnTo>
                <a:lnTo>
                  <a:pt x="4127" y="1178"/>
                </a:lnTo>
                <a:lnTo>
                  <a:pt x="4138" y="1175"/>
                </a:lnTo>
                <a:lnTo>
                  <a:pt x="4150" y="1174"/>
                </a:lnTo>
                <a:lnTo>
                  <a:pt x="4163" y="1174"/>
                </a:lnTo>
                <a:lnTo>
                  <a:pt x="4173" y="1174"/>
                </a:lnTo>
                <a:lnTo>
                  <a:pt x="4183" y="1175"/>
                </a:lnTo>
                <a:lnTo>
                  <a:pt x="4192" y="1176"/>
                </a:lnTo>
                <a:lnTo>
                  <a:pt x="4201" y="1177"/>
                </a:lnTo>
                <a:lnTo>
                  <a:pt x="4210" y="1179"/>
                </a:lnTo>
                <a:lnTo>
                  <a:pt x="4219" y="1181"/>
                </a:lnTo>
                <a:lnTo>
                  <a:pt x="4227" y="1184"/>
                </a:lnTo>
                <a:lnTo>
                  <a:pt x="4235" y="1187"/>
                </a:lnTo>
                <a:lnTo>
                  <a:pt x="4243" y="1191"/>
                </a:lnTo>
                <a:lnTo>
                  <a:pt x="4250" y="1195"/>
                </a:lnTo>
                <a:lnTo>
                  <a:pt x="4264" y="1204"/>
                </a:lnTo>
                <a:lnTo>
                  <a:pt x="4270" y="1209"/>
                </a:lnTo>
                <a:lnTo>
                  <a:pt x="4276" y="1214"/>
                </a:lnTo>
                <a:lnTo>
                  <a:pt x="4282" y="1219"/>
                </a:lnTo>
                <a:lnTo>
                  <a:pt x="4287" y="1225"/>
                </a:lnTo>
                <a:lnTo>
                  <a:pt x="4266" y="1249"/>
                </a:lnTo>
                <a:lnTo>
                  <a:pt x="4261" y="1243"/>
                </a:lnTo>
                <a:lnTo>
                  <a:pt x="4256" y="1237"/>
                </a:lnTo>
                <a:lnTo>
                  <a:pt x="4250" y="1232"/>
                </a:lnTo>
                <a:lnTo>
                  <a:pt x="4245" y="1228"/>
                </a:lnTo>
                <a:lnTo>
                  <a:pt x="4239" y="1224"/>
                </a:lnTo>
                <a:lnTo>
                  <a:pt x="4232" y="1220"/>
                </a:lnTo>
                <a:lnTo>
                  <a:pt x="4226" y="1216"/>
                </a:lnTo>
                <a:lnTo>
                  <a:pt x="4219" y="1213"/>
                </a:lnTo>
                <a:lnTo>
                  <a:pt x="4213" y="1211"/>
                </a:lnTo>
                <a:lnTo>
                  <a:pt x="4206" y="1208"/>
                </a:lnTo>
                <a:lnTo>
                  <a:pt x="4199" y="1207"/>
                </a:lnTo>
                <a:lnTo>
                  <a:pt x="4191" y="1205"/>
                </a:lnTo>
                <a:lnTo>
                  <a:pt x="4184" y="1204"/>
                </a:lnTo>
                <a:lnTo>
                  <a:pt x="4176" y="1203"/>
                </a:lnTo>
                <a:lnTo>
                  <a:pt x="4161" y="1202"/>
                </a:lnTo>
                <a:lnTo>
                  <a:pt x="4152" y="1203"/>
                </a:lnTo>
                <a:lnTo>
                  <a:pt x="4143" y="1204"/>
                </a:lnTo>
                <a:lnTo>
                  <a:pt x="4135" y="1205"/>
                </a:lnTo>
                <a:lnTo>
                  <a:pt x="4127" y="1207"/>
                </a:lnTo>
                <a:lnTo>
                  <a:pt x="4119" y="1210"/>
                </a:lnTo>
                <a:lnTo>
                  <a:pt x="4112" y="1213"/>
                </a:lnTo>
                <a:lnTo>
                  <a:pt x="4106" y="1217"/>
                </a:lnTo>
                <a:lnTo>
                  <a:pt x="4100" y="1221"/>
                </a:lnTo>
                <a:lnTo>
                  <a:pt x="4094" y="1226"/>
                </a:lnTo>
                <a:lnTo>
                  <a:pt x="4089" y="1231"/>
                </a:lnTo>
                <a:lnTo>
                  <a:pt x="4085" y="1237"/>
                </a:lnTo>
                <a:lnTo>
                  <a:pt x="4082" y="1243"/>
                </a:lnTo>
                <a:lnTo>
                  <a:pt x="4079" y="1249"/>
                </a:lnTo>
                <a:lnTo>
                  <a:pt x="4077" y="1256"/>
                </a:lnTo>
                <a:lnTo>
                  <a:pt x="4076" y="1263"/>
                </a:lnTo>
                <a:lnTo>
                  <a:pt x="4075" y="1270"/>
                </a:lnTo>
                <a:lnTo>
                  <a:pt x="4076" y="1277"/>
                </a:lnTo>
                <a:lnTo>
                  <a:pt x="4077" y="1283"/>
                </a:lnTo>
                <a:lnTo>
                  <a:pt x="4079" y="1289"/>
                </a:lnTo>
                <a:lnTo>
                  <a:pt x="4081" y="1294"/>
                </a:lnTo>
                <a:lnTo>
                  <a:pt x="4084" y="1299"/>
                </a:lnTo>
                <a:lnTo>
                  <a:pt x="4088" y="1304"/>
                </a:lnTo>
                <a:lnTo>
                  <a:pt x="4093" y="1308"/>
                </a:lnTo>
                <a:lnTo>
                  <a:pt x="4098" y="1312"/>
                </a:lnTo>
                <a:lnTo>
                  <a:pt x="4110" y="1319"/>
                </a:lnTo>
                <a:lnTo>
                  <a:pt x="4116" y="1322"/>
                </a:lnTo>
                <a:lnTo>
                  <a:pt x="4123" y="1325"/>
                </a:lnTo>
                <a:lnTo>
                  <a:pt x="4130" y="1327"/>
                </a:lnTo>
                <a:lnTo>
                  <a:pt x="4137" y="1330"/>
                </a:lnTo>
                <a:lnTo>
                  <a:pt x="4153" y="1335"/>
                </a:lnTo>
                <a:lnTo>
                  <a:pt x="4185" y="1344"/>
                </a:lnTo>
                <a:lnTo>
                  <a:pt x="4218" y="1354"/>
                </a:lnTo>
                <a:lnTo>
                  <a:pt x="4226" y="1357"/>
                </a:lnTo>
                <a:lnTo>
                  <a:pt x="4234" y="1361"/>
                </a:lnTo>
                <a:lnTo>
                  <a:pt x="4237" y="1363"/>
                </a:lnTo>
                <a:lnTo>
                  <a:pt x="4241" y="1364"/>
                </a:lnTo>
                <a:lnTo>
                  <a:pt x="4248" y="1368"/>
                </a:lnTo>
                <a:lnTo>
                  <a:pt x="4255" y="1373"/>
                </a:lnTo>
                <a:lnTo>
                  <a:pt x="4261" y="1377"/>
                </a:lnTo>
                <a:lnTo>
                  <a:pt x="4267" y="1382"/>
                </a:lnTo>
                <a:lnTo>
                  <a:pt x="4273" y="1388"/>
                </a:lnTo>
                <a:lnTo>
                  <a:pt x="4278" y="1393"/>
                </a:lnTo>
                <a:lnTo>
                  <a:pt x="4282" y="1400"/>
                </a:lnTo>
                <a:lnTo>
                  <a:pt x="4284" y="1403"/>
                </a:lnTo>
                <a:lnTo>
                  <a:pt x="4286" y="1407"/>
                </a:lnTo>
                <a:lnTo>
                  <a:pt x="4289" y="1414"/>
                </a:lnTo>
                <a:lnTo>
                  <a:pt x="4292" y="1422"/>
                </a:lnTo>
                <a:lnTo>
                  <a:pt x="4294" y="1431"/>
                </a:lnTo>
                <a:lnTo>
                  <a:pt x="4295" y="1440"/>
                </a:lnTo>
                <a:lnTo>
                  <a:pt x="4296" y="1450"/>
                </a:lnTo>
                <a:lnTo>
                  <a:pt x="4295" y="1462"/>
                </a:lnTo>
                <a:lnTo>
                  <a:pt x="4293" y="1474"/>
                </a:lnTo>
                <a:lnTo>
                  <a:pt x="4289" y="1486"/>
                </a:lnTo>
                <a:lnTo>
                  <a:pt x="4284" y="1498"/>
                </a:lnTo>
                <a:lnTo>
                  <a:pt x="4281" y="1504"/>
                </a:lnTo>
                <a:lnTo>
                  <a:pt x="4277" y="1509"/>
                </a:lnTo>
                <a:lnTo>
                  <a:pt x="4272" y="1515"/>
                </a:lnTo>
                <a:lnTo>
                  <a:pt x="4268" y="1520"/>
                </a:lnTo>
                <a:lnTo>
                  <a:pt x="4262" y="1525"/>
                </a:lnTo>
                <a:lnTo>
                  <a:pt x="4256" y="1529"/>
                </a:lnTo>
                <a:lnTo>
                  <a:pt x="4250" y="1534"/>
                </a:lnTo>
                <a:lnTo>
                  <a:pt x="4243" y="1538"/>
                </a:lnTo>
                <a:lnTo>
                  <a:pt x="4236" y="1541"/>
                </a:lnTo>
                <a:lnTo>
                  <a:pt x="4227" y="1545"/>
                </a:lnTo>
                <a:lnTo>
                  <a:pt x="4219" y="1547"/>
                </a:lnTo>
                <a:lnTo>
                  <a:pt x="4209" y="1550"/>
                </a:lnTo>
                <a:lnTo>
                  <a:pt x="4199" y="1552"/>
                </a:lnTo>
                <a:lnTo>
                  <a:pt x="4188" y="1553"/>
                </a:lnTo>
                <a:lnTo>
                  <a:pt x="4177" y="1554"/>
                </a:lnTo>
                <a:lnTo>
                  <a:pt x="4165" y="1554"/>
                </a:lnTo>
                <a:close/>
                <a:moveTo>
                  <a:pt x="4615" y="1548"/>
                </a:moveTo>
                <a:lnTo>
                  <a:pt x="4382" y="1548"/>
                </a:lnTo>
                <a:lnTo>
                  <a:pt x="4382" y="1180"/>
                </a:lnTo>
                <a:lnTo>
                  <a:pt x="4615" y="1180"/>
                </a:lnTo>
                <a:lnTo>
                  <a:pt x="4615" y="1208"/>
                </a:lnTo>
                <a:lnTo>
                  <a:pt x="4413" y="1208"/>
                </a:lnTo>
                <a:lnTo>
                  <a:pt x="4413" y="1345"/>
                </a:lnTo>
                <a:lnTo>
                  <a:pt x="4611" y="1345"/>
                </a:lnTo>
                <a:lnTo>
                  <a:pt x="4611" y="1373"/>
                </a:lnTo>
                <a:lnTo>
                  <a:pt x="4413" y="1373"/>
                </a:lnTo>
                <a:lnTo>
                  <a:pt x="4413" y="1519"/>
                </a:lnTo>
                <a:lnTo>
                  <a:pt x="4615" y="1519"/>
                </a:lnTo>
                <a:lnTo>
                  <a:pt x="4615" y="1548"/>
                </a:lnTo>
                <a:close/>
                <a:moveTo>
                  <a:pt x="5048" y="1548"/>
                </a:moveTo>
                <a:lnTo>
                  <a:pt x="5016" y="1548"/>
                </a:lnTo>
                <a:lnTo>
                  <a:pt x="5016" y="1219"/>
                </a:lnTo>
                <a:lnTo>
                  <a:pt x="4882" y="1548"/>
                </a:lnTo>
                <a:lnTo>
                  <a:pt x="4870" y="1548"/>
                </a:lnTo>
                <a:lnTo>
                  <a:pt x="4736" y="1219"/>
                </a:lnTo>
                <a:lnTo>
                  <a:pt x="4736" y="1548"/>
                </a:lnTo>
                <a:lnTo>
                  <a:pt x="4704" y="1548"/>
                </a:lnTo>
                <a:lnTo>
                  <a:pt x="4704" y="1180"/>
                </a:lnTo>
                <a:lnTo>
                  <a:pt x="4751" y="1180"/>
                </a:lnTo>
                <a:lnTo>
                  <a:pt x="4876" y="1486"/>
                </a:lnTo>
                <a:lnTo>
                  <a:pt x="5001" y="1180"/>
                </a:lnTo>
                <a:lnTo>
                  <a:pt x="5048" y="1180"/>
                </a:lnTo>
                <a:lnTo>
                  <a:pt x="5048" y="1548"/>
                </a:lnTo>
                <a:close/>
                <a:moveTo>
                  <a:pt x="5495" y="1548"/>
                </a:moveTo>
                <a:lnTo>
                  <a:pt x="5464" y="1548"/>
                </a:lnTo>
                <a:lnTo>
                  <a:pt x="5464" y="1219"/>
                </a:lnTo>
                <a:lnTo>
                  <a:pt x="5328" y="1548"/>
                </a:lnTo>
                <a:lnTo>
                  <a:pt x="5316" y="1548"/>
                </a:lnTo>
                <a:lnTo>
                  <a:pt x="5182" y="1219"/>
                </a:lnTo>
                <a:lnTo>
                  <a:pt x="5182" y="1548"/>
                </a:lnTo>
                <a:lnTo>
                  <a:pt x="5150" y="1548"/>
                </a:lnTo>
                <a:lnTo>
                  <a:pt x="5150" y="1180"/>
                </a:lnTo>
                <a:lnTo>
                  <a:pt x="5197" y="1180"/>
                </a:lnTo>
                <a:lnTo>
                  <a:pt x="5322" y="1486"/>
                </a:lnTo>
                <a:lnTo>
                  <a:pt x="5448" y="1180"/>
                </a:lnTo>
                <a:lnTo>
                  <a:pt x="5495" y="1180"/>
                </a:lnTo>
                <a:lnTo>
                  <a:pt x="5495" y="1548"/>
                </a:lnTo>
                <a:close/>
                <a:moveTo>
                  <a:pt x="5900" y="1548"/>
                </a:moveTo>
                <a:lnTo>
                  <a:pt x="5864" y="1548"/>
                </a:lnTo>
                <a:lnTo>
                  <a:pt x="5828" y="1457"/>
                </a:lnTo>
                <a:lnTo>
                  <a:pt x="5633" y="1457"/>
                </a:lnTo>
                <a:lnTo>
                  <a:pt x="5596" y="1548"/>
                </a:lnTo>
                <a:lnTo>
                  <a:pt x="5560" y="1548"/>
                </a:lnTo>
                <a:lnTo>
                  <a:pt x="5711" y="1180"/>
                </a:lnTo>
                <a:lnTo>
                  <a:pt x="5750" y="1180"/>
                </a:lnTo>
                <a:lnTo>
                  <a:pt x="5900" y="1548"/>
                </a:lnTo>
                <a:close/>
                <a:moveTo>
                  <a:pt x="5817" y="1428"/>
                </a:moveTo>
                <a:lnTo>
                  <a:pt x="5730" y="1213"/>
                </a:lnTo>
                <a:lnTo>
                  <a:pt x="5643" y="1428"/>
                </a:lnTo>
                <a:lnTo>
                  <a:pt x="5817" y="1428"/>
                </a:lnTo>
                <a:close/>
                <a:moveTo>
                  <a:pt x="6259" y="1548"/>
                </a:moveTo>
                <a:lnTo>
                  <a:pt x="6228" y="1548"/>
                </a:lnTo>
                <a:lnTo>
                  <a:pt x="5997" y="1232"/>
                </a:lnTo>
                <a:lnTo>
                  <a:pt x="5997" y="1548"/>
                </a:lnTo>
                <a:lnTo>
                  <a:pt x="5965" y="1548"/>
                </a:lnTo>
                <a:lnTo>
                  <a:pt x="5965" y="1180"/>
                </a:lnTo>
                <a:lnTo>
                  <a:pt x="5997" y="1180"/>
                </a:lnTo>
                <a:lnTo>
                  <a:pt x="6228" y="1491"/>
                </a:lnTo>
                <a:lnTo>
                  <a:pt x="6228" y="1180"/>
                </a:lnTo>
                <a:lnTo>
                  <a:pt x="6259" y="1180"/>
                </a:lnTo>
                <a:lnTo>
                  <a:pt x="6259" y="1548"/>
                </a:lnTo>
                <a:close/>
                <a:moveTo>
                  <a:pt x="6377" y="1552"/>
                </a:moveTo>
                <a:lnTo>
                  <a:pt x="6372" y="1552"/>
                </a:lnTo>
                <a:lnTo>
                  <a:pt x="6367" y="1551"/>
                </a:lnTo>
                <a:lnTo>
                  <a:pt x="6363" y="1548"/>
                </a:lnTo>
                <a:lnTo>
                  <a:pt x="6359" y="1545"/>
                </a:lnTo>
                <a:lnTo>
                  <a:pt x="6356" y="1542"/>
                </a:lnTo>
                <a:lnTo>
                  <a:pt x="6354" y="1538"/>
                </a:lnTo>
                <a:lnTo>
                  <a:pt x="6352" y="1533"/>
                </a:lnTo>
                <a:lnTo>
                  <a:pt x="6352" y="1528"/>
                </a:lnTo>
                <a:lnTo>
                  <a:pt x="6352" y="1524"/>
                </a:lnTo>
                <a:lnTo>
                  <a:pt x="6353" y="1521"/>
                </a:lnTo>
                <a:lnTo>
                  <a:pt x="6354" y="1519"/>
                </a:lnTo>
                <a:lnTo>
                  <a:pt x="6355" y="1517"/>
                </a:lnTo>
                <a:lnTo>
                  <a:pt x="6356" y="1515"/>
                </a:lnTo>
                <a:lnTo>
                  <a:pt x="6359" y="1512"/>
                </a:lnTo>
                <a:lnTo>
                  <a:pt x="6363" y="1509"/>
                </a:lnTo>
                <a:lnTo>
                  <a:pt x="6367" y="1506"/>
                </a:lnTo>
                <a:lnTo>
                  <a:pt x="6372" y="1505"/>
                </a:lnTo>
                <a:lnTo>
                  <a:pt x="6377" y="1505"/>
                </a:lnTo>
                <a:lnTo>
                  <a:pt x="6382" y="1505"/>
                </a:lnTo>
                <a:lnTo>
                  <a:pt x="6386" y="1506"/>
                </a:lnTo>
                <a:lnTo>
                  <a:pt x="6388" y="1507"/>
                </a:lnTo>
                <a:lnTo>
                  <a:pt x="6390" y="1509"/>
                </a:lnTo>
                <a:lnTo>
                  <a:pt x="6394" y="1512"/>
                </a:lnTo>
                <a:lnTo>
                  <a:pt x="6397" y="1515"/>
                </a:lnTo>
                <a:lnTo>
                  <a:pt x="6399" y="1519"/>
                </a:lnTo>
                <a:lnTo>
                  <a:pt x="6400" y="1524"/>
                </a:lnTo>
                <a:lnTo>
                  <a:pt x="6401" y="1528"/>
                </a:lnTo>
                <a:lnTo>
                  <a:pt x="6400" y="1533"/>
                </a:lnTo>
                <a:lnTo>
                  <a:pt x="6399" y="1538"/>
                </a:lnTo>
                <a:lnTo>
                  <a:pt x="6398" y="1540"/>
                </a:lnTo>
                <a:lnTo>
                  <a:pt x="6397" y="1542"/>
                </a:lnTo>
                <a:lnTo>
                  <a:pt x="6394" y="1545"/>
                </a:lnTo>
                <a:lnTo>
                  <a:pt x="6392" y="1547"/>
                </a:lnTo>
                <a:lnTo>
                  <a:pt x="6390" y="1548"/>
                </a:lnTo>
                <a:lnTo>
                  <a:pt x="6386" y="1551"/>
                </a:lnTo>
                <a:lnTo>
                  <a:pt x="6382" y="1552"/>
                </a:lnTo>
                <a:lnTo>
                  <a:pt x="6377" y="1552"/>
                </a:lnTo>
                <a:close/>
                <a:moveTo>
                  <a:pt x="344" y="996"/>
                </a:moveTo>
                <a:lnTo>
                  <a:pt x="312" y="996"/>
                </a:lnTo>
                <a:lnTo>
                  <a:pt x="312" y="668"/>
                </a:lnTo>
                <a:lnTo>
                  <a:pt x="178" y="996"/>
                </a:lnTo>
                <a:lnTo>
                  <a:pt x="166" y="996"/>
                </a:lnTo>
                <a:lnTo>
                  <a:pt x="31" y="668"/>
                </a:lnTo>
                <a:lnTo>
                  <a:pt x="31" y="996"/>
                </a:lnTo>
                <a:lnTo>
                  <a:pt x="0" y="996"/>
                </a:lnTo>
                <a:lnTo>
                  <a:pt x="0" y="628"/>
                </a:lnTo>
                <a:lnTo>
                  <a:pt x="47" y="628"/>
                </a:lnTo>
                <a:lnTo>
                  <a:pt x="172" y="934"/>
                </a:lnTo>
                <a:lnTo>
                  <a:pt x="297" y="628"/>
                </a:lnTo>
                <a:lnTo>
                  <a:pt x="344" y="628"/>
                </a:lnTo>
                <a:lnTo>
                  <a:pt x="344" y="996"/>
                </a:lnTo>
                <a:close/>
                <a:moveTo>
                  <a:pt x="749" y="996"/>
                </a:moveTo>
                <a:lnTo>
                  <a:pt x="713" y="996"/>
                </a:lnTo>
                <a:lnTo>
                  <a:pt x="676" y="906"/>
                </a:lnTo>
                <a:lnTo>
                  <a:pt x="482" y="906"/>
                </a:lnTo>
                <a:lnTo>
                  <a:pt x="445" y="996"/>
                </a:lnTo>
                <a:lnTo>
                  <a:pt x="409" y="996"/>
                </a:lnTo>
                <a:lnTo>
                  <a:pt x="559" y="628"/>
                </a:lnTo>
                <a:lnTo>
                  <a:pt x="599" y="628"/>
                </a:lnTo>
                <a:lnTo>
                  <a:pt x="749" y="996"/>
                </a:lnTo>
                <a:close/>
                <a:moveTo>
                  <a:pt x="666" y="877"/>
                </a:moveTo>
                <a:lnTo>
                  <a:pt x="579" y="662"/>
                </a:lnTo>
                <a:lnTo>
                  <a:pt x="492" y="877"/>
                </a:lnTo>
                <a:lnTo>
                  <a:pt x="666" y="877"/>
                </a:lnTo>
                <a:close/>
                <a:moveTo>
                  <a:pt x="1117" y="996"/>
                </a:moveTo>
                <a:lnTo>
                  <a:pt x="1080" y="996"/>
                </a:lnTo>
                <a:lnTo>
                  <a:pt x="1044" y="906"/>
                </a:lnTo>
                <a:lnTo>
                  <a:pt x="849" y="906"/>
                </a:lnTo>
                <a:lnTo>
                  <a:pt x="813" y="996"/>
                </a:lnTo>
                <a:lnTo>
                  <a:pt x="776" y="996"/>
                </a:lnTo>
                <a:lnTo>
                  <a:pt x="927" y="628"/>
                </a:lnTo>
                <a:lnTo>
                  <a:pt x="966" y="628"/>
                </a:lnTo>
                <a:lnTo>
                  <a:pt x="1117" y="996"/>
                </a:lnTo>
                <a:close/>
                <a:moveTo>
                  <a:pt x="1033" y="877"/>
                </a:moveTo>
                <a:lnTo>
                  <a:pt x="947" y="662"/>
                </a:lnTo>
                <a:lnTo>
                  <a:pt x="860" y="877"/>
                </a:lnTo>
                <a:lnTo>
                  <a:pt x="1033" y="877"/>
                </a:lnTo>
                <a:close/>
                <a:moveTo>
                  <a:pt x="1213" y="996"/>
                </a:moveTo>
                <a:lnTo>
                  <a:pt x="1182" y="996"/>
                </a:lnTo>
                <a:lnTo>
                  <a:pt x="1182" y="628"/>
                </a:lnTo>
                <a:lnTo>
                  <a:pt x="1213" y="628"/>
                </a:lnTo>
                <a:lnTo>
                  <a:pt x="1213" y="996"/>
                </a:lnTo>
                <a:close/>
                <a:moveTo>
                  <a:pt x="1518" y="996"/>
                </a:moveTo>
                <a:lnTo>
                  <a:pt x="1308" y="996"/>
                </a:lnTo>
                <a:lnTo>
                  <a:pt x="1308" y="628"/>
                </a:lnTo>
                <a:lnTo>
                  <a:pt x="1340" y="628"/>
                </a:lnTo>
                <a:lnTo>
                  <a:pt x="1340" y="967"/>
                </a:lnTo>
                <a:lnTo>
                  <a:pt x="1518" y="967"/>
                </a:lnTo>
                <a:lnTo>
                  <a:pt x="1518" y="996"/>
                </a:lnTo>
                <a:close/>
                <a:moveTo>
                  <a:pt x="1939" y="996"/>
                </a:moveTo>
                <a:lnTo>
                  <a:pt x="1907" y="996"/>
                </a:lnTo>
                <a:lnTo>
                  <a:pt x="1907" y="668"/>
                </a:lnTo>
                <a:lnTo>
                  <a:pt x="1772" y="996"/>
                </a:lnTo>
                <a:lnTo>
                  <a:pt x="1759" y="996"/>
                </a:lnTo>
                <a:lnTo>
                  <a:pt x="1625" y="668"/>
                </a:lnTo>
                <a:lnTo>
                  <a:pt x="1625" y="996"/>
                </a:lnTo>
                <a:lnTo>
                  <a:pt x="1594" y="996"/>
                </a:lnTo>
                <a:lnTo>
                  <a:pt x="1594" y="628"/>
                </a:lnTo>
                <a:lnTo>
                  <a:pt x="1640" y="628"/>
                </a:lnTo>
                <a:lnTo>
                  <a:pt x="1766" y="934"/>
                </a:lnTo>
                <a:lnTo>
                  <a:pt x="1891" y="628"/>
                </a:lnTo>
                <a:lnTo>
                  <a:pt x="1939" y="628"/>
                </a:lnTo>
                <a:lnTo>
                  <a:pt x="1939" y="996"/>
                </a:lnTo>
                <a:close/>
                <a:moveTo>
                  <a:pt x="2343" y="996"/>
                </a:moveTo>
                <a:lnTo>
                  <a:pt x="2307" y="996"/>
                </a:lnTo>
                <a:lnTo>
                  <a:pt x="2271" y="906"/>
                </a:lnTo>
                <a:lnTo>
                  <a:pt x="2076" y="906"/>
                </a:lnTo>
                <a:lnTo>
                  <a:pt x="2040" y="996"/>
                </a:lnTo>
                <a:lnTo>
                  <a:pt x="2003" y="996"/>
                </a:lnTo>
                <a:lnTo>
                  <a:pt x="2154" y="628"/>
                </a:lnTo>
                <a:lnTo>
                  <a:pt x="2193" y="628"/>
                </a:lnTo>
                <a:lnTo>
                  <a:pt x="2343" y="996"/>
                </a:lnTo>
                <a:close/>
                <a:moveTo>
                  <a:pt x="2260" y="877"/>
                </a:moveTo>
                <a:lnTo>
                  <a:pt x="2174" y="662"/>
                </a:lnTo>
                <a:lnTo>
                  <a:pt x="2086" y="877"/>
                </a:lnTo>
                <a:lnTo>
                  <a:pt x="2260" y="877"/>
                </a:lnTo>
                <a:close/>
                <a:moveTo>
                  <a:pt x="2513" y="1003"/>
                </a:moveTo>
                <a:lnTo>
                  <a:pt x="2501" y="1002"/>
                </a:lnTo>
                <a:lnTo>
                  <a:pt x="2490" y="1001"/>
                </a:lnTo>
                <a:lnTo>
                  <a:pt x="2480" y="1000"/>
                </a:lnTo>
                <a:lnTo>
                  <a:pt x="2470" y="998"/>
                </a:lnTo>
                <a:lnTo>
                  <a:pt x="2460" y="996"/>
                </a:lnTo>
                <a:lnTo>
                  <a:pt x="2451" y="993"/>
                </a:lnTo>
                <a:lnTo>
                  <a:pt x="2442" y="990"/>
                </a:lnTo>
                <a:lnTo>
                  <a:pt x="2433" y="986"/>
                </a:lnTo>
                <a:lnTo>
                  <a:pt x="2425" y="982"/>
                </a:lnTo>
                <a:lnTo>
                  <a:pt x="2417" y="977"/>
                </a:lnTo>
                <a:lnTo>
                  <a:pt x="2409" y="973"/>
                </a:lnTo>
                <a:lnTo>
                  <a:pt x="2402" y="968"/>
                </a:lnTo>
                <a:lnTo>
                  <a:pt x="2396" y="962"/>
                </a:lnTo>
                <a:lnTo>
                  <a:pt x="2389" y="956"/>
                </a:lnTo>
                <a:lnTo>
                  <a:pt x="2383" y="950"/>
                </a:lnTo>
                <a:lnTo>
                  <a:pt x="2378" y="944"/>
                </a:lnTo>
                <a:lnTo>
                  <a:pt x="2398" y="920"/>
                </a:lnTo>
                <a:lnTo>
                  <a:pt x="2408" y="931"/>
                </a:lnTo>
                <a:lnTo>
                  <a:pt x="2413" y="936"/>
                </a:lnTo>
                <a:lnTo>
                  <a:pt x="2419" y="940"/>
                </a:lnTo>
                <a:lnTo>
                  <a:pt x="2431" y="949"/>
                </a:lnTo>
                <a:lnTo>
                  <a:pt x="2445" y="957"/>
                </a:lnTo>
                <a:lnTo>
                  <a:pt x="2452" y="961"/>
                </a:lnTo>
                <a:lnTo>
                  <a:pt x="2460" y="964"/>
                </a:lnTo>
                <a:lnTo>
                  <a:pt x="2468" y="967"/>
                </a:lnTo>
                <a:lnTo>
                  <a:pt x="2477" y="969"/>
                </a:lnTo>
                <a:lnTo>
                  <a:pt x="2485" y="971"/>
                </a:lnTo>
                <a:lnTo>
                  <a:pt x="2494" y="973"/>
                </a:lnTo>
                <a:lnTo>
                  <a:pt x="2504" y="974"/>
                </a:lnTo>
                <a:lnTo>
                  <a:pt x="2514" y="974"/>
                </a:lnTo>
                <a:lnTo>
                  <a:pt x="2523" y="974"/>
                </a:lnTo>
                <a:lnTo>
                  <a:pt x="2531" y="973"/>
                </a:lnTo>
                <a:lnTo>
                  <a:pt x="2539" y="972"/>
                </a:lnTo>
                <a:lnTo>
                  <a:pt x="2547" y="971"/>
                </a:lnTo>
                <a:lnTo>
                  <a:pt x="2554" y="969"/>
                </a:lnTo>
                <a:lnTo>
                  <a:pt x="2560" y="967"/>
                </a:lnTo>
                <a:lnTo>
                  <a:pt x="2566" y="965"/>
                </a:lnTo>
                <a:lnTo>
                  <a:pt x="2572" y="962"/>
                </a:lnTo>
                <a:lnTo>
                  <a:pt x="2582" y="956"/>
                </a:lnTo>
                <a:lnTo>
                  <a:pt x="2590" y="949"/>
                </a:lnTo>
                <a:lnTo>
                  <a:pt x="2594" y="945"/>
                </a:lnTo>
                <a:lnTo>
                  <a:pt x="2597" y="942"/>
                </a:lnTo>
                <a:lnTo>
                  <a:pt x="2599" y="938"/>
                </a:lnTo>
                <a:lnTo>
                  <a:pt x="2602" y="934"/>
                </a:lnTo>
                <a:lnTo>
                  <a:pt x="2606" y="925"/>
                </a:lnTo>
                <a:lnTo>
                  <a:pt x="2608" y="917"/>
                </a:lnTo>
                <a:lnTo>
                  <a:pt x="2610" y="909"/>
                </a:lnTo>
                <a:lnTo>
                  <a:pt x="2610" y="901"/>
                </a:lnTo>
                <a:lnTo>
                  <a:pt x="2610" y="893"/>
                </a:lnTo>
                <a:lnTo>
                  <a:pt x="2608" y="886"/>
                </a:lnTo>
                <a:lnTo>
                  <a:pt x="2607" y="879"/>
                </a:lnTo>
                <a:lnTo>
                  <a:pt x="2604" y="873"/>
                </a:lnTo>
                <a:lnTo>
                  <a:pt x="2601" y="867"/>
                </a:lnTo>
                <a:lnTo>
                  <a:pt x="2597" y="862"/>
                </a:lnTo>
                <a:lnTo>
                  <a:pt x="2592" y="857"/>
                </a:lnTo>
                <a:lnTo>
                  <a:pt x="2590" y="855"/>
                </a:lnTo>
                <a:lnTo>
                  <a:pt x="2587" y="853"/>
                </a:lnTo>
                <a:lnTo>
                  <a:pt x="2576" y="845"/>
                </a:lnTo>
                <a:lnTo>
                  <a:pt x="2569" y="842"/>
                </a:lnTo>
                <a:lnTo>
                  <a:pt x="2563" y="838"/>
                </a:lnTo>
                <a:lnTo>
                  <a:pt x="2548" y="832"/>
                </a:lnTo>
                <a:lnTo>
                  <a:pt x="2533" y="827"/>
                </a:lnTo>
                <a:lnTo>
                  <a:pt x="2500" y="818"/>
                </a:lnTo>
                <a:lnTo>
                  <a:pt x="2467" y="808"/>
                </a:lnTo>
                <a:lnTo>
                  <a:pt x="2459" y="805"/>
                </a:lnTo>
                <a:lnTo>
                  <a:pt x="2452" y="802"/>
                </a:lnTo>
                <a:lnTo>
                  <a:pt x="2444" y="799"/>
                </a:lnTo>
                <a:lnTo>
                  <a:pt x="2437" y="795"/>
                </a:lnTo>
                <a:lnTo>
                  <a:pt x="2431" y="792"/>
                </a:lnTo>
                <a:lnTo>
                  <a:pt x="2424" y="787"/>
                </a:lnTo>
                <a:lnTo>
                  <a:pt x="2413" y="778"/>
                </a:lnTo>
                <a:lnTo>
                  <a:pt x="2407" y="773"/>
                </a:lnTo>
                <a:lnTo>
                  <a:pt x="2403" y="767"/>
                </a:lnTo>
                <a:lnTo>
                  <a:pt x="2399" y="761"/>
                </a:lnTo>
                <a:lnTo>
                  <a:pt x="2396" y="754"/>
                </a:lnTo>
                <a:lnTo>
                  <a:pt x="2393" y="746"/>
                </a:lnTo>
                <a:lnTo>
                  <a:pt x="2391" y="738"/>
                </a:lnTo>
                <a:lnTo>
                  <a:pt x="2390" y="729"/>
                </a:lnTo>
                <a:lnTo>
                  <a:pt x="2390" y="720"/>
                </a:lnTo>
                <a:lnTo>
                  <a:pt x="2390" y="709"/>
                </a:lnTo>
                <a:lnTo>
                  <a:pt x="2392" y="699"/>
                </a:lnTo>
                <a:lnTo>
                  <a:pt x="2394" y="694"/>
                </a:lnTo>
                <a:lnTo>
                  <a:pt x="2395" y="689"/>
                </a:lnTo>
                <a:lnTo>
                  <a:pt x="2399" y="680"/>
                </a:lnTo>
                <a:lnTo>
                  <a:pt x="2404" y="671"/>
                </a:lnTo>
                <a:lnTo>
                  <a:pt x="2407" y="667"/>
                </a:lnTo>
                <a:lnTo>
                  <a:pt x="2410" y="663"/>
                </a:lnTo>
                <a:lnTo>
                  <a:pt x="2417" y="655"/>
                </a:lnTo>
                <a:lnTo>
                  <a:pt x="2425" y="649"/>
                </a:lnTo>
                <a:lnTo>
                  <a:pt x="2429" y="645"/>
                </a:lnTo>
                <a:lnTo>
                  <a:pt x="2434" y="642"/>
                </a:lnTo>
                <a:lnTo>
                  <a:pt x="2443" y="637"/>
                </a:lnTo>
                <a:lnTo>
                  <a:pt x="2453" y="633"/>
                </a:lnTo>
                <a:lnTo>
                  <a:pt x="2463" y="629"/>
                </a:lnTo>
                <a:lnTo>
                  <a:pt x="2474" y="626"/>
                </a:lnTo>
                <a:lnTo>
                  <a:pt x="2486" y="624"/>
                </a:lnTo>
                <a:lnTo>
                  <a:pt x="2498" y="623"/>
                </a:lnTo>
                <a:lnTo>
                  <a:pt x="2510" y="622"/>
                </a:lnTo>
                <a:lnTo>
                  <a:pt x="2520" y="622"/>
                </a:lnTo>
                <a:lnTo>
                  <a:pt x="2530" y="623"/>
                </a:lnTo>
                <a:lnTo>
                  <a:pt x="2540" y="624"/>
                </a:lnTo>
                <a:lnTo>
                  <a:pt x="2549" y="626"/>
                </a:lnTo>
                <a:lnTo>
                  <a:pt x="2558" y="628"/>
                </a:lnTo>
                <a:lnTo>
                  <a:pt x="2566" y="630"/>
                </a:lnTo>
                <a:lnTo>
                  <a:pt x="2575" y="633"/>
                </a:lnTo>
                <a:lnTo>
                  <a:pt x="2583" y="636"/>
                </a:lnTo>
                <a:lnTo>
                  <a:pt x="2590" y="639"/>
                </a:lnTo>
                <a:lnTo>
                  <a:pt x="2598" y="643"/>
                </a:lnTo>
                <a:lnTo>
                  <a:pt x="2611" y="652"/>
                </a:lnTo>
                <a:lnTo>
                  <a:pt x="2618" y="657"/>
                </a:lnTo>
                <a:lnTo>
                  <a:pt x="2624" y="662"/>
                </a:lnTo>
                <a:lnTo>
                  <a:pt x="2630" y="668"/>
                </a:lnTo>
                <a:lnTo>
                  <a:pt x="2635" y="674"/>
                </a:lnTo>
                <a:lnTo>
                  <a:pt x="2614" y="697"/>
                </a:lnTo>
                <a:lnTo>
                  <a:pt x="2609" y="691"/>
                </a:lnTo>
                <a:lnTo>
                  <a:pt x="2604" y="686"/>
                </a:lnTo>
                <a:lnTo>
                  <a:pt x="2598" y="681"/>
                </a:lnTo>
                <a:lnTo>
                  <a:pt x="2592" y="676"/>
                </a:lnTo>
                <a:lnTo>
                  <a:pt x="2586" y="672"/>
                </a:lnTo>
                <a:lnTo>
                  <a:pt x="2580" y="668"/>
                </a:lnTo>
                <a:lnTo>
                  <a:pt x="2574" y="665"/>
                </a:lnTo>
                <a:lnTo>
                  <a:pt x="2567" y="662"/>
                </a:lnTo>
                <a:lnTo>
                  <a:pt x="2560" y="659"/>
                </a:lnTo>
                <a:lnTo>
                  <a:pt x="2553" y="657"/>
                </a:lnTo>
                <a:lnTo>
                  <a:pt x="2546" y="655"/>
                </a:lnTo>
                <a:lnTo>
                  <a:pt x="2539" y="653"/>
                </a:lnTo>
                <a:lnTo>
                  <a:pt x="2532" y="652"/>
                </a:lnTo>
                <a:lnTo>
                  <a:pt x="2524" y="651"/>
                </a:lnTo>
                <a:lnTo>
                  <a:pt x="2509" y="651"/>
                </a:lnTo>
                <a:lnTo>
                  <a:pt x="2499" y="651"/>
                </a:lnTo>
                <a:lnTo>
                  <a:pt x="2491" y="652"/>
                </a:lnTo>
                <a:lnTo>
                  <a:pt x="2482" y="654"/>
                </a:lnTo>
                <a:lnTo>
                  <a:pt x="2474" y="656"/>
                </a:lnTo>
                <a:lnTo>
                  <a:pt x="2467" y="658"/>
                </a:lnTo>
                <a:lnTo>
                  <a:pt x="2460" y="662"/>
                </a:lnTo>
                <a:lnTo>
                  <a:pt x="2453" y="665"/>
                </a:lnTo>
                <a:lnTo>
                  <a:pt x="2447" y="670"/>
                </a:lnTo>
                <a:lnTo>
                  <a:pt x="2442" y="675"/>
                </a:lnTo>
                <a:lnTo>
                  <a:pt x="2437" y="680"/>
                </a:lnTo>
                <a:lnTo>
                  <a:pt x="2433" y="685"/>
                </a:lnTo>
                <a:lnTo>
                  <a:pt x="2429" y="691"/>
                </a:lnTo>
                <a:lnTo>
                  <a:pt x="2426" y="697"/>
                </a:lnTo>
                <a:lnTo>
                  <a:pt x="2424" y="704"/>
                </a:lnTo>
                <a:lnTo>
                  <a:pt x="2423" y="711"/>
                </a:lnTo>
                <a:lnTo>
                  <a:pt x="2423" y="719"/>
                </a:lnTo>
                <a:lnTo>
                  <a:pt x="2423" y="725"/>
                </a:lnTo>
                <a:lnTo>
                  <a:pt x="2424" y="732"/>
                </a:lnTo>
                <a:lnTo>
                  <a:pt x="2426" y="737"/>
                </a:lnTo>
                <a:lnTo>
                  <a:pt x="2429" y="743"/>
                </a:lnTo>
                <a:lnTo>
                  <a:pt x="2432" y="748"/>
                </a:lnTo>
                <a:lnTo>
                  <a:pt x="2436" y="752"/>
                </a:lnTo>
                <a:lnTo>
                  <a:pt x="2440" y="757"/>
                </a:lnTo>
                <a:lnTo>
                  <a:pt x="2446" y="760"/>
                </a:lnTo>
                <a:lnTo>
                  <a:pt x="2457" y="767"/>
                </a:lnTo>
                <a:lnTo>
                  <a:pt x="2464" y="770"/>
                </a:lnTo>
                <a:lnTo>
                  <a:pt x="2470" y="773"/>
                </a:lnTo>
                <a:lnTo>
                  <a:pt x="2477" y="776"/>
                </a:lnTo>
                <a:lnTo>
                  <a:pt x="2485" y="778"/>
                </a:lnTo>
                <a:lnTo>
                  <a:pt x="2500" y="783"/>
                </a:lnTo>
                <a:lnTo>
                  <a:pt x="2533" y="792"/>
                </a:lnTo>
                <a:lnTo>
                  <a:pt x="2566" y="803"/>
                </a:lnTo>
                <a:lnTo>
                  <a:pt x="2574" y="806"/>
                </a:lnTo>
                <a:lnTo>
                  <a:pt x="2581" y="809"/>
                </a:lnTo>
                <a:lnTo>
                  <a:pt x="2585" y="811"/>
                </a:lnTo>
                <a:lnTo>
                  <a:pt x="2589" y="813"/>
                </a:lnTo>
                <a:lnTo>
                  <a:pt x="2596" y="817"/>
                </a:lnTo>
                <a:lnTo>
                  <a:pt x="2602" y="821"/>
                </a:lnTo>
                <a:lnTo>
                  <a:pt x="2609" y="826"/>
                </a:lnTo>
                <a:lnTo>
                  <a:pt x="2615" y="831"/>
                </a:lnTo>
                <a:lnTo>
                  <a:pt x="2620" y="836"/>
                </a:lnTo>
                <a:lnTo>
                  <a:pt x="2625" y="842"/>
                </a:lnTo>
                <a:lnTo>
                  <a:pt x="2630" y="848"/>
                </a:lnTo>
                <a:lnTo>
                  <a:pt x="2632" y="851"/>
                </a:lnTo>
                <a:lnTo>
                  <a:pt x="2634" y="855"/>
                </a:lnTo>
                <a:lnTo>
                  <a:pt x="2637" y="863"/>
                </a:lnTo>
                <a:lnTo>
                  <a:pt x="2640" y="871"/>
                </a:lnTo>
                <a:lnTo>
                  <a:pt x="2641" y="879"/>
                </a:lnTo>
                <a:lnTo>
                  <a:pt x="2643" y="889"/>
                </a:lnTo>
                <a:lnTo>
                  <a:pt x="2643" y="898"/>
                </a:lnTo>
                <a:lnTo>
                  <a:pt x="2643" y="911"/>
                </a:lnTo>
                <a:lnTo>
                  <a:pt x="2640" y="923"/>
                </a:lnTo>
                <a:lnTo>
                  <a:pt x="2637" y="935"/>
                </a:lnTo>
                <a:lnTo>
                  <a:pt x="2631" y="946"/>
                </a:lnTo>
                <a:lnTo>
                  <a:pt x="2628" y="952"/>
                </a:lnTo>
                <a:lnTo>
                  <a:pt x="2624" y="958"/>
                </a:lnTo>
                <a:lnTo>
                  <a:pt x="2620" y="963"/>
                </a:lnTo>
                <a:lnTo>
                  <a:pt x="2615" y="968"/>
                </a:lnTo>
                <a:lnTo>
                  <a:pt x="2610" y="973"/>
                </a:lnTo>
                <a:lnTo>
                  <a:pt x="2604" y="978"/>
                </a:lnTo>
                <a:lnTo>
                  <a:pt x="2597" y="982"/>
                </a:lnTo>
                <a:lnTo>
                  <a:pt x="2591" y="986"/>
                </a:lnTo>
                <a:lnTo>
                  <a:pt x="2583" y="990"/>
                </a:lnTo>
                <a:lnTo>
                  <a:pt x="2575" y="993"/>
                </a:lnTo>
                <a:lnTo>
                  <a:pt x="2566" y="996"/>
                </a:lnTo>
                <a:lnTo>
                  <a:pt x="2557" y="998"/>
                </a:lnTo>
                <a:lnTo>
                  <a:pt x="2547" y="1000"/>
                </a:lnTo>
                <a:lnTo>
                  <a:pt x="2536" y="1001"/>
                </a:lnTo>
                <a:lnTo>
                  <a:pt x="2525" y="1002"/>
                </a:lnTo>
                <a:lnTo>
                  <a:pt x="2513" y="1003"/>
                </a:lnTo>
                <a:close/>
                <a:moveTo>
                  <a:pt x="2853" y="996"/>
                </a:moveTo>
                <a:lnTo>
                  <a:pt x="2821" y="996"/>
                </a:lnTo>
                <a:lnTo>
                  <a:pt x="2821" y="657"/>
                </a:lnTo>
                <a:lnTo>
                  <a:pt x="2701" y="657"/>
                </a:lnTo>
                <a:lnTo>
                  <a:pt x="2701" y="628"/>
                </a:lnTo>
                <a:lnTo>
                  <a:pt x="2973" y="628"/>
                </a:lnTo>
                <a:lnTo>
                  <a:pt x="2973" y="657"/>
                </a:lnTo>
                <a:lnTo>
                  <a:pt x="2853" y="657"/>
                </a:lnTo>
                <a:lnTo>
                  <a:pt x="2853" y="996"/>
                </a:lnTo>
                <a:close/>
                <a:moveTo>
                  <a:pt x="3315" y="996"/>
                </a:moveTo>
                <a:lnTo>
                  <a:pt x="3278" y="996"/>
                </a:lnTo>
                <a:lnTo>
                  <a:pt x="3242" y="906"/>
                </a:lnTo>
                <a:lnTo>
                  <a:pt x="3047" y="906"/>
                </a:lnTo>
                <a:lnTo>
                  <a:pt x="3011" y="996"/>
                </a:lnTo>
                <a:lnTo>
                  <a:pt x="2974" y="996"/>
                </a:lnTo>
                <a:lnTo>
                  <a:pt x="3125" y="628"/>
                </a:lnTo>
                <a:lnTo>
                  <a:pt x="3164" y="628"/>
                </a:lnTo>
                <a:lnTo>
                  <a:pt x="3315" y="996"/>
                </a:lnTo>
                <a:close/>
                <a:moveTo>
                  <a:pt x="3231" y="877"/>
                </a:moveTo>
                <a:lnTo>
                  <a:pt x="3145" y="662"/>
                </a:lnTo>
                <a:lnTo>
                  <a:pt x="3058" y="877"/>
                </a:lnTo>
                <a:lnTo>
                  <a:pt x="3231" y="877"/>
                </a:lnTo>
                <a:close/>
                <a:moveTo>
                  <a:pt x="3565" y="996"/>
                </a:moveTo>
                <a:lnTo>
                  <a:pt x="3534" y="996"/>
                </a:lnTo>
                <a:lnTo>
                  <a:pt x="3534" y="628"/>
                </a:lnTo>
                <a:lnTo>
                  <a:pt x="3672" y="628"/>
                </a:lnTo>
                <a:lnTo>
                  <a:pt x="3685" y="629"/>
                </a:lnTo>
                <a:lnTo>
                  <a:pt x="3697" y="631"/>
                </a:lnTo>
                <a:lnTo>
                  <a:pt x="3708" y="633"/>
                </a:lnTo>
                <a:lnTo>
                  <a:pt x="3719" y="637"/>
                </a:lnTo>
                <a:lnTo>
                  <a:pt x="3724" y="639"/>
                </a:lnTo>
                <a:lnTo>
                  <a:pt x="3729" y="641"/>
                </a:lnTo>
                <a:lnTo>
                  <a:pt x="3738" y="647"/>
                </a:lnTo>
                <a:lnTo>
                  <a:pt x="3742" y="650"/>
                </a:lnTo>
                <a:lnTo>
                  <a:pt x="3746" y="653"/>
                </a:lnTo>
                <a:lnTo>
                  <a:pt x="3750" y="656"/>
                </a:lnTo>
                <a:lnTo>
                  <a:pt x="3754" y="660"/>
                </a:lnTo>
                <a:lnTo>
                  <a:pt x="3757" y="664"/>
                </a:lnTo>
                <a:lnTo>
                  <a:pt x="3760" y="668"/>
                </a:lnTo>
                <a:lnTo>
                  <a:pt x="3766" y="676"/>
                </a:lnTo>
                <a:lnTo>
                  <a:pt x="3771" y="685"/>
                </a:lnTo>
                <a:lnTo>
                  <a:pt x="3775" y="694"/>
                </a:lnTo>
                <a:lnTo>
                  <a:pt x="3778" y="704"/>
                </a:lnTo>
                <a:lnTo>
                  <a:pt x="3781" y="714"/>
                </a:lnTo>
                <a:lnTo>
                  <a:pt x="3782" y="725"/>
                </a:lnTo>
                <a:lnTo>
                  <a:pt x="3783" y="736"/>
                </a:lnTo>
                <a:lnTo>
                  <a:pt x="3782" y="747"/>
                </a:lnTo>
                <a:lnTo>
                  <a:pt x="3781" y="757"/>
                </a:lnTo>
                <a:lnTo>
                  <a:pt x="3780" y="762"/>
                </a:lnTo>
                <a:lnTo>
                  <a:pt x="3778" y="767"/>
                </a:lnTo>
                <a:lnTo>
                  <a:pt x="3775" y="777"/>
                </a:lnTo>
                <a:lnTo>
                  <a:pt x="3771" y="786"/>
                </a:lnTo>
                <a:lnTo>
                  <a:pt x="3766" y="795"/>
                </a:lnTo>
                <a:lnTo>
                  <a:pt x="3760" y="803"/>
                </a:lnTo>
                <a:lnTo>
                  <a:pt x="3753" y="811"/>
                </a:lnTo>
                <a:lnTo>
                  <a:pt x="3746" y="818"/>
                </a:lnTo>
                <a:lnTo>
                  <a:pt x="3737" y="825"/>
                </a:lnTo>
                <a:lnTo>
                  <a:pt x="3728" y="830"/>
                </a:lnTo>
                <a:lnTo>
                  <a:pt x="3719" y="835"/>
                </a:lnTo>
                <a:lnTo>
                  <a:pt x="3708" y="838"/>
                </a:lnTo>
                <a:lnTo>
                  <a:pt x="3702" y="840"/>
                </a:lnTo>
                <a:lnTo>
                  <a:pt x="3697" y="841"/>
                </a:lnTo>
                <a:lnTo>
                  <a:pt x="3685" y="842"/>
                </a:lnTo>
                <a:lnTo>
                  <a:pt x="3672" y="843"/>
                </a:lnTo>
                <a:lnTo>
                  <a:pt x="3565" y="843"/>
                </a:lnTo>
                <a:lnTo>
                  <a:pt x="3565" y="996"/>
                </a:lnTo>
                <a:close/>
                <a:moveTo>
                  <a:pt x="3668" y="815"/>
                </a:moveTo>
                <a:lnTo>
                  <a:pt x="3677" y="814"/>
                </a:lnTo>
                <a:lnTo>
                  <a:pt x="3686" y="813"/>
                </a:lnTo>
                <a:lnTo>
                  <a:pt x="3694" y="811"/>
                </a:lnTo>
                <a:lnTo>
                  <a:pt x="3702" y="809"/>
                </a:lnTo>
                <a:lnTo>
                  <a:pt x="3709" y="806"/>
                </a:lnTo>
                <a:lnTo>
                  <a:pt x="3716" y="802"/>
                </a:lnTo>
                <a:lnTo>
                  <a:pt x="3719" y="800"/>
                </a:lnTo>
                <a:lnTo>
                  <a:pt x="3722" y="797"/>
                </a:lnTo>
                <a:lnTo>
                  <a:pt x="3727" y="792"/>
                </a:lnTo>
                <a:lnTo>
                  <a:pt x="3732" y="787"/>
                </a:lnTo>
                <a:lnTo>
                  <a:pt x="3737" y="781"/>
                </a:lnTo>
                <a:lnTo>
                  <a:pt x="3741" y="774"/>
                </a:lnTo>
                <a:lnTo>
                  <a:pt x="3744" y="767"/>
                </a:lnTo>
                <a:lnTo>
                  <a:pt x="3746" y="760"/>
                </a:lnTo>
                <a:lnTo>
                  <a:pt x="3748" y="752"/>
                </a:lnTo>
                <a:lnTo>
                  <a:pt x="3749" y="744"/>
                </a:lnTo>
                <a:lnTo>
                  <a:pt x="3750" y="736"/>
                </a:lnTo>
                <a:lnTo>
                  <a:pt x="3749" y="727"/>
                </a:lnTo>
                <a:lnTo>
                  <a:pt x="3748" y="719"/>
                </a:lnTo>
                <a:lnTo>
                  <a:pt x="3746" y="711"/>
                </a:lnTo>
                <a:lnTo>
                  <a:pt x="3744" y="704"/>
                </a:lnTo>
                <a:lnTo>
                  <a:pt x="3741" y="697"/>
                </a:lnTo>
                <a:lnTo>
                  <a:pt x="3737" y="690"/>
                </a:lnTo>
                <a:lnTo>
                  <a:pt x="3732" y="684"/>
                </a:lnTo>
                <a:lnTo>
                  <a:pt x="3727" y="679"/>
                </a:lnTo>
                <a:lnTo>
                  <a:pt x="3722" y="674"/>
                </a:lnTo>
                <a:lnTo>
                  <a:pt x="3716" y="669"/>
                </a:lnTo>
                <a:lnTo>
                  <a:pt x="3709" y="666"/>
                </a:lnTo>
                <a:lnTo>
                  <a:pt x="3705" y="664"/>
                </a:lnTo>
                <a:lnTo>
                  <a:pt x="3702" y="663"/>
                </a:lnTo>
                <a:lnTo>
                  <a:pt x="3694" y="660"/>
                </a:lnTo>
                <a:lnTo>
                  <a:pt x="3686" y="658"/>
                </a:lnTo>
                <a:lnTo>
                  <a:pt x="3677" y="657"/>
                </a:lnTo>
                <a:lnTo>
                  <a:pt x="3668" y="657"/>
                </a:lnTo>
                <a:lnTo>
                  <a:pt x="3565" y="657"/>
                </a:lnTo>
                <a:lnTo>
                  <a:pt x="3565" y="815"/>
                </a:lnTo>
                <a:lnTo>
                  <a:pt x="3668" y="815"/>
                </a:lnTo>
                <a:close/>
                <a:moveTo>
                  <a:pt x="4003" y="1003"/>
                </a:moveTo>
                <a:lnTo>
                  <a:pt x="3994" y="1002"/>
                </a:lnTo>
                <a:lnTo>
                  <a:pt x="3986" y="1002"/>
                </a:lnTo>
                <a:lnTo>
                  <a:pt x="3970" y="1000"/>
                </a:lnTo>
                <a:lnTo>
                  <a:pt x="3962" y="998"/>
                </a:lnTo>
                <a:lnTo>
                  <a:pt x="3955" y="997"/>
                </a:lnTo>
                <a:lnTo>
                  <a:pt x="3947" y="995"/>
                </a:lnTo>
                <a:lnTo>
                  <a:pt x="3941" y="992"/>
                </a:lnTo>
                <a:lnTo>
                  <a:pt x="3928" y="987"/>
                </a:lnTo>
                <a:lnTo>
                  <a:pt x="3922" y="983"/>
                </a:lnTo>
                <a:lnTo>
                  <a:pt x="3916" y="980"/>
                </a:lnTo>
                <a:lnTo>
                  <a:pt x="3905" y="972"/>
                </a:lnTo>
                <a:lnTo>
                  <a:pt x="3900" y="967"/>
                </a:lnTo>
                <a:lnTo>
                  <a:pt x="3896" y="963"/>
                </a:lnTo>
                <a:lnTo>
                  <a:pt x="3887" y="952"/>
                </a:lnTo>
                <a:lnTo>
                  <a:pt x="3883" y="947"/>
                </a:lnTo>
                <a:lnTo>
                  <a:pt x="3880" y="941"/>
                </a:lnTo>
                <a:lnTo>
                  <a:pt x="3874" y="929"/>
                </a:lnTo>
                <a:lnTo>
                  <a:pt x="3871" y="923"/>
                </a:lnTo>
                <a:lnTo>
                  <a:pt x="3869" y="916"/>
                </a:lnTo>
                <a:lnTo>
                  <a:pt x="3865" y="902"/>
                </a:lnTo>
                <a:lnTo>
                  <a:pt x="3863" y="895"/>
                </a:lnTo>
                <a:lnTo>
                  <a:pt x="3862" y="887"/>
                </a:lnTo>
                <a:lnTo>
                  <a:pt x="3860" y="872"/>
                </a:lnTo>
                <a:lnTo>
                  <a:pt x="3860" y="863"/>
                </a:lnTo>
                <a:lnTo>
                  <a:pt x="3859" y="855"/>
                </a:lnTo>
                <a:lnTo>
                  <a:pt x="3859" y="628"/>
                </a:lnTo>
                <a:lnTo>
                  <a:pt x="3891" y="628"/>
                </a:lnTo>
                <a:lnTo>
                  <a:pt x="3891" y="854"/>
                </a:lnTo>
                <a:lnTo>
                  <a:pt x="3892" y="868"/>
                </a:lnTo>
                <a:lnTo>
                  <a:pt x="3893" y="881"/>
                </a:lnTo>
                <a:lnTo>
                  <a:pt x="3894" y="887"/>
                </a:lnTo>
                <a:lnTo>
                  <a:pt x="3895" y="893"/>
                </a:lnTo>
                <a:lnTo>
                  <a:pt x="3899" y="904"/>
                </a:lnTo>
                <a:lnTo>
                  <a:pt x="3903" y="915"/>
                </a:lnTo>
                <a:lnTo>
                  <a:pt x="3905" y="920"/>
                </a:lnTo>
                <a:lnTo>
                  <a:pt x="3908" y="925"/>
                </a:lnTo>
                <a:lnTo>
                  <a:pt x="3913" y="934"/>
                </a:lnTo>
                <a:lnTo>
                  <a:pt x="3917" y="938"/>
                </a:lnTo>
                <a:lnTo>
                  <a:pt x="3920" y="942"/>
                </a:lnTo>
                <a:lnTo>
                  <a:pt x="3924" y="946"/>
                </a:lnTo>
                <a:lnTo>
                  <a:pt x="3927" y="949"/>
                </a:lnTo>
                <a:lnTo>
                  <a:pt x="3936" y="956"/>
                </a:lnTo>
                <a:lnTo>
                  <a:pt x="3945" y="961"/>
                </a:lnTo>
                <a:lnTo>
                  <a:pt x="3950" y="964"/>
                </a:lnTo>
                <a:lnTo>
                  <a:pt x="3955" y="966"/>
                </a:lnTo>
                <a:lnTo>
                  <a:pt x="3966" y="969"/>
                </a:lnTo>
                <a:lnTo>
                  <a:pt x="3977" y="972"/>
                </a:lnTo>
                <a:lnTo>
                  <a:pt x="3983" y="973"/>
                </a:lnTo>
                <a:lnTo>
                  <a:pt x="3990" y="973"/>
                </a:lnTo>
                <a:lnTo>
                  <a:pt x="4003" y="974"/>
                </a:lnTo>
                <a:lnTo>
                  <a:pt x="4016" y="973"/>
                </a:lnTo>
                <a:lnTo>
                  <a:pt x="4028" y="972"/>
                </a:lnTo>
                <a:lnTo>
                  <a:pt x="4040" y="969"/>
                </a:lnTo>
                <a:lnTo>
                  <a:pt x="4051" y="966"/>
                </a:lnTo>
                <a:lnTo>
                  <a:pt x="4056" y="964"/>
                </a:lnTo>
                <a:lnTo>
                  <a:pt x="4061" y="961"/>
                </a:lnTo>
                <a:lnTo>
                  <a:pt x="4070" y="956"/>
                </a:lnTo>
                <a:lnTo>
                  <a:pt x="4074" y="953"/>
                </a:lnTo>
                <a:lnTo>
                  <a:pt x="4078" y="949"/>
                </a:lnTo>
                <a:lnTo>
                  <a:pt x="4082" y="946"/>
                </a:lnTo>
                <a:lnTo>
                  <a:pt x="4086" y="942"/>
                </a:lnTo>
                <a:lnTo>
                  <a:pt x="4092" y="934"/>
                </a:lnTo>
                <a:lnTo>
                  <a:pt x="4098" y="925"/>
                </a:lnTo>
                <a:lnTo>
                  <a:pt x="4103" y="915"/>
                </a:lnTo>
                <a:lnTo>
                  <a:pt x="4107" y="904"/>
                </a:lnTo>
                <a:lnTo>
                  <a:pt x="4110" y="893"/>
                </a:lnTo>
                <a:lnTo>
                  <a:pt x="4111" y="887"/>
                </a:lnTo>
                <a:lnTo>
                  <a:pt x="4112" y="881"/>
                </a:lnTo>
                <a:lnTo>
                  <a:pt x="4114" y="868"/>
                </a:lnTo>
                <a:lnTo>
                  <a:pt x="4114" y="854"/>
                </a:lnTo>
                <a:lnTo>
                  <a:pt x="4114" y="628"/>
                </a:lnTo>
                <a:lnTo>
                  <a:pt x="4146" y="628"/>
                </a:lnTo>
                <a:lnTo>
                  <a:pt x="4146" y="855"/>
                </a:lnTo>
                <a:lnTo>
                  <a:pt x="4146" y="872"/>
                </a:lnTo>
                <a:lnTo>
                  <a:pt x="4144" y="887"/>
                </a:lnTo>
                <a:lnTo>
                  <a:pt x="4141" y="902"/>
                </a:lnTo>
                <a:lnTo>
                  <a:pt x="4137" y="916"/>
                </a:lnTo>
                <a:lnTo>
                  <a:pt x="4132" y="929"/>
                </a:lnTo>
                <a:lnTo>
                  <a:pt x="4126" y="941"/>
                </a:lnTo>
                <a:lnTo>
                  <a:pt x="4119" y="953"/>
                </a:lnTo>
                <a:lnTo>
                  <a:pt x="4110" y="963"/>
                </a:lnTo>
                <a:lnTo>
                  <a:pt x="4100" y="972"/>
                </a:lnTo>
                <a:lnTo>
                  <a:pt x="4090" y="980"/>
                </a:lnTo>
                <a:lnTo>
                  <a:pt x="4084" y="983"/>
                </a:lnTo>
                <a:lnTo>
                  <a:pt x="4078" y="987"/>
                </a:lnTo>
                <a:lnTo>
                  <a:pt x="4072" y="990"/>
                </a:lnTo>
                <a:lnTo>
                  <a:pt x="4065" y="992"/>
                </a:lnTo>
                <a:lnTo>
                  <a:pt x="4058" y="995"/>
                </a:lnTo>
                <a:lnTo>
                  <a:pt x="4051" y="997"/>
                </a:lnTo>
                <a:lnTo>
                  <a:pt x="4036" y="1000"/>
                </a:lnTo>
                <a:lnTo>
                  <a:pt x="4020" y="1002"/>
                </a:lnTo>
                <a:lnTo>
                  <a:pt x="4012" y="1002"/>
                </a:lnTo>
                <a:lnTo>
                  <a:pt x="4003" y="1003"/>
                </a:lnTo>
                <a:close/>
                <a:moveTo>
                  <a:pt x="4545" y="996"/>
                </a:moveTo>
                <a:lnTo>
                  <a:pt x="4513" y="996"/>
                </a:lnTo>
                <a:lnTo>
                  <a:pt x="4513" y="821"/>
                </a:lnTo>
                <a:lnTo>
                  <a:pt x="4280" y="821"/>
                </a:lnTo>
                <a:lnTo>
                  <a:pt x="4280" y="996"/>
                </a:lnTo>
                <a:lnTo>
                  <a:pt x="4249" y="996"/>
                </a:lnTo>
                <a:lnTo>
                  <a:pt x="4249" y="628"/>
                </a:lnTo>
                <a:lnTo>
                  <a:pt x="4280" y="628"/>
                </a:lnTo>
                <a:lnTo>
                  <a:pt x="4280" y="793"/>
                </a:lnTo>
                <a:lnTo>
                  <a:pt x="4513" y="793"/>
                </a:lnTo>
                <a:lnTo>
                  <a:pt x="4513" y="628"/>
                </a:lnTo>
                <a:lnTo>
                  <a:pt x="4545" y="628"/>
                </a:lnTo>
                <a:lnTo>
                  <a:pt x="4545" y="996"/>
                </a:lnTo>
                <a:close/>
                <a:moveTo>
                  <a:pt x="4773" y="996"/>
                </a:moveTo>
                <a:lnTo>
                  <a:pt x="4741" y="996"/>
                </a:lnTo>
                <a:lnTo>
                  <a:pt x="4741" y="657"/>
                </a:lnTo>
                <a:lnTo>
                  <a:pt x="4621" y="657"/>
                </a:lnTo>
                <a:lnTo>
                  <a:pt x="4621" y="628"/>
                </a:lnTo>
                <a:lnTo>
                  <a:pt x="4893" y="628"/>
                </a:lnTo>
                <a:lnTo>
                  <a:pt x="4893" y="657"/>
                </a:lnTo>
                <a:lnTo>
                  <a:pt x="4773" y="657"/>
                </a:lnTo>
                <a:lnTo>
                  <a:pt x="4773" y="996"/>
                </a:lnTo>
                <a:close/>
                <a:moveTo>
                  <a:pt x="5235" y="996"/>
                </a:moveTo>
                <a:lnTo>
                  <a:pt x="5199" y="996"/>
                </a:lnTo>
                <a:lnTo>
                  <a:pt x="5162" y="906"/>
                </a:lnTo>
                <a:lnTo>
                  <a:pt x="4967" y="906"/>
                </a:lnTo>
                <a:lnTo>
                  <a:pt x="4931" y="996"/>
                </a:lnTo>
                <a:lnTo>
                  <a:pt x="4895" y="996"/>
                </a:lnTo>
                <a:lnTo>
                  <a:pt x="5045" y="628"/>
                </a:lnTo>
                <a:lnTo>
                  <a:pt x="5084" y="628"/>
                </a:lnTo>
                <a:lnTo>
                  <a:pt x="5235" y="996"/>
                </a:lnTo>
                <a:close/>
                <a:moveTo>
                  <a:pt x="5152" y="877"/>
                </a:moveTo>
                <a:lnTo>
                  <a:pt x="5065" y="662"/>
                </a:lnTo>
                <a:lnTo>
                  <a:pt x="4978" y="877"/>
                </a:lnTo>
                <a:lnTo>
                  <a:pt x="5152" y="877"/>
                </a:lnTo>
                <a:close/>
                <a:moveTo>
                  <a:pt x="5604" y="996"/>
                </a:moveTo>
                <a:lnTo>
                  <a:pt x="5567" y="996"/>
                </a:lnTo>
                <a:lnTo>
                  <a:pt x="5531" y="906"/>
                </a:lnTo>
                <a:lnTo>
                  <a:pt x="5335" y="906"/>
                </a:lnTo>
                <a:lnTo>
                  <a:pt x="5299" y="996"/>
                </a:lnTo>
                <a:lnTo>
                  <a:pt x="5262" y="996"/>
                </a:lnTo>
                <a:lnTo>
                  <a:pt x="5414" y="628"/>
                </a:lnTo>
                <a:lnTo>
                  <a:pt x="5453" y="628"/>
                </a:lnTo>
                <a:lnTo>
                  <a:pt x="5604" y="996"/>
                </a:lnTo>
                <a:close/>
                <a:moveTo>
                  <a:pt x="5520" y="877"/>
                </a:moveTo>
                <a:lnTo>
                  <a:pt x="5434" y="662"/>
                </a:lnTo>
                <a:lnTo>
                  <a:pt x="5346" y="877"/>
                </a:lnTo>
                <a:lnTo>
                  <a:pt x="5520" y="877"/>
                </a:lnTo>
                <a:close/>
                <a:moveTo>
                  <a:pt x="6012" y="996"/>
                </a:moveTo>
                <a:lnTo>
                  <a:pt x="5981" y="996"/>
                </a:lnTo>
                <a:lnTo>
                  <a:pt x="5981" y="668"/>
                </a:lnTo>
                <a:lnTo>
                  <a:pt x="5846" y="996"/>
                </a:lnTo>
                <a:lnTo>
                  <a:pt x="5834" y="996"/>
                </a:lnTo>
                <a:lnTo>
                  <a:pt x="5700" y="668"/>
                </a:lnTo>
                <a:lnTo>
                  <a:pt x="5700" y="996"/>
                </a:lnTo>
                <a:lnTo>
                  <a:pt x="5668" y="996"/>
                </a:lnTo>
                <a:lnTo>
                  <a:pt x="5668" y="628"/>
                </a:lnTo>
                <a:lnTo>
                  <a:pt x="5715" y="628"/>
                </a:lnTo>
                <a:lnTo>
                  <a:pt x="5840" y="934"/>
                </a:lnTo>
                <a:lnTo>
                  <a:pt x="5965" y="628"/>
                </a:lnTo>
                <a:lnTo>
                  <a:pt x="6012" y="628"/>
                </a:lnTo>
                <a:lnTo>
                  <a:pt x="6012" y="996"/>
                </a:lnTo>
                <a:close/>
                <a:moveTo>
                  <a:pt x="6459" y="996"/>
                </a:moveTo>
                <a:lnTo>
                  <a:pt x="6427" y="996"/>
                </a:lnTo>
                <a:lnTo>
                  <a:pt x="6427" y="668"/>
                </a:lnTo>
                <a:lnTo>
                  <a:pt x="6293" y="996"/>
                </a:lnTo>
                <a:lnTo>
                  <a:pt x="6281" y="996"/>
                </a:lnTo>
                <a:lnTo>
                  <a:pt x="6146" y="668"/>
                </a:lnTo>
                <a:lnTo>
                  <a:pt x="6146" y="996"/>
                </a:lnTo>
                <a:lnTo>
                  <a:pt x="6115" y="996"/>
                </a:lnTo>
                <a:lnTo>
                  <a:pt x="6115" y="628"/>
                </a:lnTo>
                <a:lnTo>
                  <a:pt x="6161" y="628"/>
                </a:lnTo>
                <a:lnTo>
                  <a:pt x="6287" y="934"/>
                </a:lnTo>
                <a:lnTo>
                  <a:pt x="6411" y="628"/>
                </a:lnTo>
                <a:lnTo>
                  <a:pt x="6459" y="628"/>
                </a:lnTo>
                <a:lnTo>
                  <a:pt x="6459" y="996"/>
                </a:lnTo>
                <a:close/>
                <a:moveTo>
                  <a:pt x="6864" y="996"/>
                </a:moveTo>
                <a:lnTo>
                  <a:pt x="6827" y="996"/>
                </a:lnTo>
                <a:lnTo>
                  <a:pt x="6791" y="906"/>
                </a:lnTo>
                <a:lnTo>
                  <a:pt x="6596" y="906"/>
                </a:lnTo>
                <a:lnTo>
                  <a:pt x="6560" y="996"/>
                </a:lnTo>
                <a:lnTo>
                  <a:pt x="6523" y="996"/>
                </a:lnTo>
                <a:lnTo>
                  <a:pt x="6674" y="628"/>
                </a:lnTo>
                <a:lnTo>
                  <a:pt x="6713" y="628"/>
                </a:lnTo>
                <a:lnTo>
                  <a:pt x="6864" y="996"/>
                </a:lnTo>
                <a:close/>
                <a:moveTo>
                  <a:pt x="6780" y="877"/>
                </a:moveTo>
                <a:lnTo>
                  <a:pt x="6694" y="662"/>
                </a:lnTo>
                <a:lnTo>
                  <a:pt x="6607" y="877"/>
                </a:lnTo>
                <a:lnTo>
                  <a:pt x="6780" y="877"/>
                </a:lnTo>
                <a:close/>
                <a:moveTo>
                  <a:pt x="7222" y="996"/>
                </a:moveTo>
                <a:lnTo>
                  <a:pt x="7191" y="996"/>
                </a:lnTo>
                <a:lnTo>
                  <a:pt x="6960" y="680"/>
                </a:lnTo>
                <a:lnTo>
                  <a:pt x="6960" y="996"/>
                </a:lnTo>
                <a:lnTo>
                  <a:pt x="6928" y="996"/>
                </a:lnTo>
                <a:lnTo>
                  <a:pt x="6928" y="628"/>
                </a:lnTo>
                <a:lnTo>
                  <a:pt x="6960" y="628"/>
                </a:lnTo>
                <a:lnTo>
                  <a:pt x="7191" y="940"/>
                </a:lnTo>
                <a:lnTo>
                  <a:pt x="7191" y="628"/>
                </a:lnTo>
                <a:lnTo>
                  <a:pt x="7222" y="628"/>
                </a:lnTo>
                <a:lnTo>
                  <a:pt x="7222" y="996"/>
                </a:lnTo>
                <a:close/>
                <a:moveTo>
                  <a:pt x="838" y="444"/>
                </a:moveTo>
                <a:lnTo>
                  <a:pt x="802" y="444"/>
                </a:lnTo>
                <a:lnTo>
                  <a:pt x="765" y="354"/>
                </a:lnTo>
                <a:lnTo>
                  <a:pt x="571" y="354"/>
                </a:lnTo>
                <a:lnTo>
                  <a:pt x="534" y="444"/>
                </a:lnTo>
                <a:lnTo>
                  <a:pt x="498" y="444"/>
                </a:lnTo>
                <a:lnTo>
                  <a:pt x="648" y="77"/>
                </a:lnTo>
                <a:lnTo>
                  <a:pt x="688" y="77"/>
                </a:lnTo>
                <a:lnTo>
                  <a:pt x="838" y="444"/>
                </a:lnTo>
                <a:close/>
                <a:moveTo>
                  <a:pt x="755" y="325"/>
                </a:moveTo>
                <a:lnTo>
                  <a:pt x="668" y="110"/>
                </a:lnTo>
                <a:lnTo>
                  <a:pt x="581" y="325"/>
                </a:lnTo>
                <a:lnTo>
                  <a:pt x="755" y="325"/>
                </a:lnTo>
                <a:close/>
                <a:moveTo>
                  <a:pt x="1007" y="451"/>
                </a:moveTo>
                <a:lnTo>
                  <a:pt x="996" y="451"/>
                </a:lnTo>
                <a:lnTo>
                  <a:pt x="985" y="450"/>
                </a:lnTo>
                <a:lnTo>
                  <a:pt x="975" y="448"/>
                </a:lnTo>
                <a:lnTo>
                  <a:pt x="965" y="447"/>
                </a:lnTo>
                <a:lnTo>
                  <a:pt x="955" y="444"/>
                </a:lnTo>
                <a:lnTo>
                  <a:pt x="945" y="442"/>
                </a:lnTo>
                <a:lnTo>
                  <a:pt x="936" y="438"/>
                </a:lnTo>
                <a:lnTo>
                  <a:pt x="928" y="434"/>
                </a:lnTo>
                <a:lnTo>
                  <a:pt x="919" y="430"/>
                </a:lnTo>
                <a:lnTo>
                  <a:pt x="912" y="426"/>
                </a:lnTo>
                <a:lnTo>
                  <a:pt x="904" y="421"/>
                </a:lnTo>
                <a:lnTo>
                  <a:pt x="897" y="416"/>
                </a:lnTo>
                <a:lnTo>
                  <a:pt x="890" y="411"/>
                </a:lnTo>
                <a:lnTo>
                  <a:pt x="884" y="405"/>
                </a:lnTo>
                <a:lnTo>
                  <a:pt x="878" y="399"/>
                </a:lnTo>
                <a:lnTo>
                  <a:pt x="873" y="393"/>
                </a:lnTo>
                <a:lnTo>
                  <a:pt x="893" y="369"/>
                </a:lnTo>
                <a:lnTo>
                  <a:pt x="903" y="379"/>
                </a:lnTo>
                <a:lnTo>
                  <a:pt x="908" y="384"/>
                </a:lnTo>
                <a:lnTo>
                  <a:pt x="914" y="389"/>
                </a:lnTo>
                <a:lnTo>
                  <a:pt x="926" y="398"/>
                </a:lnTo>
                <a:lnTo>
                  <a:pt x="940" y="406"/>
                </a:lnTo>
                <a:lnTo>
                  <a:pt x="947" y="410"/>
                </a:lnTo>
                <a:lnTo>
                  <a:pt x="955" y="413"/>
                </a:lnTo>
                <a:lnTo>
                  <a:pt x="963" y="416"/>
                </a:lnTo>
                <a:lnTo>
                  <a:pt x="971" y="418"/>
                </a:lnTo>
                <a:lnTo>
                  <a:pt x="980" y="420"/>
                </a:lnTo>
                <a:lnTo>
                  <a:pt x="989" y="421"/>
                </a:lnTo>
                <a:lnTo>
                  <a:pt x="999" y="422"/>
                </a:lnTo>
                <a:lnTo>
                  <a:pt x="1008" y="422"/>
                </a:lnTo>
                <a:lnTo>
                  <a:pt x="1017" y="422"/>
                </a:lnTo>
                <a:lnTo>
                  <a:pt x="1026" y="422"/>
                </a:lnTo>
                <a:lnTo>
                  <a:pt x="1034" y="421"/>
                </a:lnTo>
                <a:lnTo>
                  <a:pt x="1041" y="419"/>
                </a:lnTo>
                <a:lnTo>
                  <a:pt x="1049" y="418"/>
                </a:lnTo>
                <a:lnTo>
                  <a:pt x="1055" y="415"/>
                </a:lnTo>
                <a:lnTo>
                  <a:pt x="1061" y="413"/>
                </a:lnTo>
                <a:lnTo>
                  <a:pt x="1067" y="410"/>
                </a:lnTo>
                <a:lnTo>
                  <a:pt x="1076" y="404"/>
                </a:lnTo>
                <a:lnTo>
                  <a:pt x="1085" y="398"/>
                </a:lnTo>
                <a:lnTo>
                  <a:pt x="1088" y="394"/>
                </a:lnTo>
                <a:lnTo>
                  <a:pt x="1091" y="390"/>
                </a:lnTo>
                <a:lnTo>
                  <a:pt x="1094" y="386"/>
                </a:lnTo>
                <a:lnTo>
                  <a:pt x="1096" y="382"/>
                </a:lnTo>
                <a:lnTo>
                  <a:pt x="1100" y="374"/>
                </a:lnTo>
                <a:lnTo>
                  <a:pt x="1103" y="365"/>
                </a:lnTo>
                <a:lnTo>
                  <a:pt x="1104" y="357"/>
                </a:lnTo>
                <a:lnTo>
                  <a:pt x="1105" y="349"/>
                </a:lnTo>
                <a:lnTo>
                  <a:pt x="1104" y="341"/>
                </a:lnTo>
                <a:lnTo>
                  <a:pt x="1103" y="334"/>
                </a:lnTo>
                <a:lnTo>
                  <a:pt x="1101" y="327"/>
                </a:lnTo>
                <a:lnTo>
                  <a:pt x="1099" y="321"/>
                </a:lnTo>
                <a:lnTo>
                  <a:pt x="1095" y="315"/>
                </a:lnTo>
                <a:lnTo>
                  <a:pt x="1092" y="310"/>
                </a:lnTo>
                <a:lnTo>
                  <a:pt x="1087" y="305"/>
                </a:lnTo>
                <a:lnTo>
                  <a:pt x="1085" y="303"/>
                </a:lnTo>
                <a:lnTo>
                  <a:pt x="1082" y="301"/>
                </a:lnTo>
                <a:lnTo>
                  <a:pt x="1070" y="293"/>
                </a:lnTo>
                <a:lnTo>
                  <a:pt x="1064" y="290"/>
                </a:lnTo>
                <a:lnTo>
                  <a:pt x="1057" y="287"/>
                </a:lnTo>
                <a:lnTo>
                  <a:pt x="1043" y="281"/>
                </a:lnTo>
                <a:lnTo>
                  <a:pt x="1027" y="276"/>
                </a:lnTo>
                <a:lnTo>
                  <a:pt x="995" y="267"/>
                </a:lnTo>
                <a:lnTo>
                  <a:pt x="962" y="257"/>
                </a:lnTo>
                <a:lnTo>
                  <a:pt x="954" y="254"/>
                </a:lnTo>
                <a:lnTo>
                  <a:pt x="946" y="251"/>
                </a:lnTo>
                <a:lnTo>
                  <a:pt x="939" y="248"/>
                </a:lnTo>
                <a:lnTo>
                  <a:pt x="932" y="244"/>
                </a:lnTo>
                <a:lnTo>
                  <a:pt x="925" y="240"/>
                </a:lnTo>
                <a:lnTo>
                  <a:pt x="919" y="236"/>
                </a:lnTo>
                <a:lnTo>
                  <a:pt x="907" y="226"/>
                </a:lnTo>
                <a:lnTo>
                  <a:pt x="902" y="221"/>
                </a:lnTo>
                <a:lnTo>
                  <a:pt x="897" y="215"/>
                </a:lnTo>
                <a:lnTo>
                  <a:pt x="894" y="209"/>
                </a:lnTo>
                <a:lnTo>
                  <a:pt x="890" y="202"/>
                </a:lnTo>
                <a:lnTo>
                  <a:pt x="888" y="195"/>
                </a:lnTo>
                <a:lnTo>
                  <a:pt x="886" y="186"/>
                </a:lnTo>
                <a:lnTo>
                  <a:pt x="885" y="178"/>
                </a:lnTo>
                <a:lnTo>
                  <a:pt x="884" y="169"/>
                </a:lnTo>
                <a:lnTo>
                  <a:pt x="885" y="158"/>
                </a:lnTo>
                <a:lnTo>
                  <a:pt x="887" y="147"/>
                </a:lnTo>
                <a:lnTo>
                  <a:pt x="888" y="142"/>
                </a:lnTo>
                <a:lnTo>
                  <a:pt x="890" y="137"/>
                </a:lnTo>
                <a:lnTo>
                  <a:pt x="894" y="128"/>
                </a:lnTo>
                <a:lnTo>
                  <a:pt x="899" y="119"/>
                </a:lnTo>
                <a:lnTo>
                  <a:pt x="901" y="115"/>
                </a:lnTo>
                <a:lnTo>
                  <a:pt x="905" y="111"/>
                </a:lnTo>
                <a:lnTo>
                  <a:pt x="912" y="104"/>
                </a:lnTo>
                <a:lnTo>
                  <a:pt x="920" y="97"/>
                </a:lnTo>
                <a:lnTo>
                  <a:pt x="924" y="94"/>
                </a:lnTo>
                <a:lnTo>
                  <a:pt x="928" y="91"/>
                </a:lnTo>
                <a:lnTo>
                  <a:pt x="938" y="86"/>
                </a:lnTo>
                <a:lnTo>
                  <a:pt x="948" y="81"/>
                </a:lnTo>
                <a:lnTo>
                  <a:pt x="958" y="77"/>
                </a:lnTo>
                <a:lnTo>
                  <a:pt x="969" y="75"/>
                </a:lnTo>
                <a:lnTo>
                  <a:pt x="980" y="72"/>
                </a:lnTo>
                <a:lnTo>
                  <a:pt x="992" y="71"/>
                </a:lnTo>
                <a:lnTo>
                  <a:pt x="1005" y="71"/>
                </a:lnTo>
                <a:lnTo>
                  <a:pt x="1015" y="71"/>
                </a:lnTo>
                <a:lnTo>
                  <a:pt x="1025" y="71"/>
                </a:lnTo>
                <a:lnTo>
                  <a:pt x="1034" y="73"/>
                </a:lnTo>
                <a:lnTo>
                  <a:pt x="1044" y="74"/>
                </a:lnTo>
                <a:lnTo>
                  <a:pt x="1052" y="76"/>
                </a:lnTo>
                <a:lnTo>
                  <a:pt x="1061" y="78"/>
                </a:lnTo>
                <a:lnTo>
                  <a:pt x="1069" y="81"/>
                </a:lnTo>
                <a:lnTo>
                  <a:pt x="1077" y="84"/>
                </a:lnTo>
                <a:lnTo>
                  <a:pt x="1085" y="88"/>
                </a:lnTo>
                <a:lnTo>
                  <a:pt x="1092" y="92"/>
                </a:lnTo>
                <a:lnTo>
                  <a:pt x="1106" y="101"/>
                </a:lnTo>
                <a:lnTo>
                  <a:pt x="1112" y="105"/>
                </a:lnTo>
                <a:lnTo>
                  <a:pt x="1118" y="111"/>
                </a:lnTo>
                <a:lnTo>
                  <a:pt x="1124" y="116"/>
                </a:lnTo>
                <a:lnTo>
                  <a:pt x="1130" y="122"/>
                </a:lnTo>
                <a:lnTo>
                  <a:pt x="1109" y="146"/>
                </a:lnTo>
                <a:lnTo>
                  <a:pt x="1104" y="140"/>
                </a:lnTo>
                <a:lnTo>
                  <a:pt x="1098" y="134"/>
                </a:lnTo>
                <a:lnTo>
                  <a:pt x="1093" y="129"/>
                </a:lnTo>
                <a:lnTo>
                  <a:pt x="1087" y="125"/>
                </a:lnTo>
                <a:lnTo>
                  <a:pt x="1081" y="121"/>
                </a:lnTo>
                <a:lnTo>
                  <a:pt x="1075" y="117"/>
                </a:lnTo>
                <a:lnTo>
                  <a:pt x="1068" y="113"/>
                </a:lnTo>
                <a:lnTo>
                  <a:pt x="1062" y="110"/>
                </a:lnTo>
                <a:lnTo>
                  <a:pt x="1055" y="108"/>
                </a:lnTo>
                <a:lnTo>
                  <a:pt x="1048" y="105"/>
                </a:lnTo>
                <a:lnTo>
                  <a:pt x="1041" y="103"/>
                </a:lnTo>
                <a:lnTo>
                  <a:pt x="1034" y="102"/>
                </a:lnTo>
                <a:lnTo>
                  <a:pt x="1026" y="101"/>
                </a:lnTo>
                <a:lnTo>
                  <a:pt x="1019" y="100"/>
                </a:lnTo>
                <a:lnTo>
                  <a:pt x="1003" y="99"/>
                </a:lnTo>
                <a:lnTo>
                  <a:pt x="994" y="100"/>
                </a:lnTo>
                <a:lnTo>
                  <a:pt x="985" y="101"/>
                </a:lnTo>
                <a:lnTo>
                  <a:pt x="977" y="102"/>
                </a:lnTo>
                <a:lnTo>
                  <a:pt x="969" y="104"/>
                </a:lnTo>
                <a:lnTo>
                  <a:pt x="962" y="107"/>
                </a:lnTo>
                <a:lnTo>
                  <a:pt x="955" y="110"/>
                </a:lnTo>
                <a:lnTo>
                  <a:pt x="948" y="114"/>
                </a:lnTo>
                <a:lnTo>
                  <a:pt x="942" y="118"/>
                </a:lnTo>
                <a:lnTo>
                  <a:pt x="936" y="123"/>
                </a:lnTo>
                <a:lnTo>
                  <a:pt x="931" y="128"/>
                </a:lnTo>
                <a:lnTo>
                  <a:pt x="927" y="134"/>
                </a:lnTo>
                <a:lnTo>
                  <a:pt x="924" y="140"/>
                </a:lnTo>
                <a:lnTo>
                  <a:pt x="921" y="146"/>
                </a:lnTo>
                <a:lnTo>
                  <a:pt x="919" y="153"/>
                </a:lnTo>
                <a:lnTo>
                  <a:pt x="918" y="160"/>
                </a:lnTo>
                <a:lnTo>
                  <a:pt x="917" y="167"/>
                </a:lnTo>
                <a:lnTo>
                  <a:pt x="918" y="174"/>
                </a:lnTo>
                <a:lnTo>
                  <a:pt x="919" y="180"/>
                </a:lnTo>
                <a:lnTo>
                  <a:pt x="921" y="186"/>
                </a:lnTo>
                <a:lnTo>
                  <a:pt x="923" y="191"/>
                </a:lnTo>
                <a:lnTo>
                  <a:pt x="927" y="196"/>
                </a:lnTo>
                <a:lnTo>
                  <a:pt x="930" y="201"/>
                </a:lnTo>
                <a:lnTo>
                  <a:pt x="935" y="205"/>
                </a:lnTo>
                <a:lnTo>
                  <a:pt x="940" y="209"/>
                </a:lnTo>
                <a:lnTo>
                  <a:pt x="952" y="215"/>
                </a:lnTo>
                <a:lnTo>
                  <a:pt x="958" y="219"/>
                </a:lnTo>
                <a:lnTo>
                  <a:pt x="965" y="222"/>
                </a:lnTo>
                <a:lnTo>
                  <a:pt x="972" y="224"/>
                </a:lnTo>
                <a:lnTo>
                  <a:pt x="979" y="227"/>
                </a:lnTo>
                <a:lnTo>
                  <a:pt x="995" y="232"/>
                </a:lnTo>
                <a:lnTo>
                  <a:pt x="1028" y="241"/>
                </a:lnTo>
                <a:lnTo>
                  <a:pt x="1060" y="251"/>
                </a:lnTo>
                <a:lnTo>
                  <a:pt x="1068" y="254"/>
                </a:lnTo>
                <a:lnTo>
                  <a:pt x="1076" y="258"/>
                </a:lnTo>
                <a:lnTo>
                  <a:pt x="1080" y="259"/>
                </a:lnTo>
                <a:lnTo>
                  <a:pt x="1083" y="261"/>
                </a:lnTo>
                <a:lnTo>
                  <a:pt x="1090" y="265"/>
                </a:lnTo>
                <a:lnTo>
                  <a:pt x="1097" y="270"/>
                </a:lnTo>
                <a:lnTo>
                  <a:pt x="1103" y="274"/>
                </a:lnTo>
                <a:lnTo>
                  <a:pt x="1109" y="279"/>
                </a:lnTo>
                <a:lnTo>
                  <a:pt x="1115" y="284"/>
                </a:lnTo>
                <a:lnTo>
                  <a:pt x="1120" y="290"/>
                </a:lnTo>
                <a:lnTo>
                  <a:pt x="1125" y="297"/>
                </a:lnTo>
                <a:lnTo>
                  <a:pt x="1127" y="300"/>
                </a:lnTo>
                <a:lnTo>
                  <a:pt x="1128" y="303"/>
                </a:lnTo>
                <a:lnTo>
                  <a:pt x="1132" y="311"/>
                </a:lnTo>
                <a:lnTo>
                  <a:pt x="1134" y="319"/>
                </a:lnTo>
                <a:lnTo>
                  <a:pt x="1136" y="328"/>
                </a:lnTo>
                <a:lnTo>
                  <a:pt x="1137" y="337"/>
                </a:lnTo>
                <a:lnTo>
                  <a:pt x="1138" y="347"/>
                </a:lnTo>
                <a:lnTo>
                  <a:pt x="1137" y="359"/>
                </a:lnTo>
                <a:lnTo>
                  <a:pt x="1135" y="371"/>
                </a:lnTo>
                <a:lnTo>
                  <a:pt x="1131" y="383"/>
                </a:lnTo>
                <a:lnTo>
                  <a:pt x="1126" y="395"/>
                </a:lnTo>
                <a:lnTo>
                  <a:pt x="1123" y="401"/>
                </a:lnTo>
                <a:lnTo>
                  <a:pt x="1119" y="406"/>
                </a:lnTo>
                <a:lnTo>
                  <a:pt x="1115" y="412"/>
                </a:lnTo>
                <a:lnTo>
                  <a:pt x="1110" y="417"/>
                </a:lnTo>
                <a:lnTo>
                  <a:pt x="1104" y="422"/>
                </a:lnTo>
                <a:lnTo>
                  <a:pt x="1099" y="426"/>
                </a:lnTo>
                <a:lnTo>
                  <a:pt x="1092" y="430"/>
                </a:lnTo>
                <a:lnTo>
                  <a:pt x="1085" y="435"/>
                </a:lnTo>
                <a:lnTo>
                  <a:pt x="1078" y="438"/>
                </a:lnTo>
                <a:lnTo>
                  <a:pt x="1070" y="442"/>
                </a:lnTo>
                <a:lnTo>
                  <a:pt x="1061" y="444"/>
                </a:lnTo>
                <a:lnTo>
                  <a:pt x="1051" y="447"/>
                </a:lnTo>
                <a:lnTo>
                  <a:pt x="1041" y="448"/>
                </a:lnTo>
                <a:lnTo>
                  <a:pt x="1031" y="450"/>
                </a:lnTo>
                <a:lnTo>
                  <a:pt x="1019" y="451"/>
                </a:lnTo>
                <a:lnTo>
                  <a:pt x="1007" y="451"/>
                </a:lnTo>
                <a:close/>
                <a:moveTo>
                  <a:pt x="1255" y="444"/>
                </a:moveTo>
                <a:lnTo>
                  <a:pt x="1224" y="444"/>
                </a:lnTo>
                <a:lnTo>
                  <a:pt x="1224" y="77"/>
                </a:lnTo>
                <a:lnTo>
                  <a:pt x="1255" y="77"/>
                </a:lnTo>
                <a:lnTo>
                  <a:pt x="1255" y="444"/>
                </a:lnTo>
                <a:close/>
                <a:moveTo>
                  <a:pt x="1661" y="444"/>
                </a:moveTo>
                <a:lnTo>
                  <a:pt x="1624" y="444"/>
                </a:lnTo>
                <a:lnTo>
                  <a:pt x="1588" y="354"/>
                </a:lnTo>
                <a:lnTo>
                  <a:pt x="1393" y="354"/>
                </a:lnTo>
                <a:lnTo>
                  <a:pt x="1357" y="444"/>
                </a:lnTo>
                <a:lnTo>
                  <a:pt x="1320" y="444"/>
                </a:lnTo>
                <a:lnTo>
                  <a:pt x="1471" y="77"/>
                </a:lnTo>
                <a:lnTo>
                  <a:pt x="1510" y="77"/>
                </a:lnTo>
                <a:lnTo>
                  <a:pt x="1661" y="444"/>
                </a:lnTo>
                <a:close/>
                <a:moveTo>
                  <a:pt x="1577" y="325"/>
                </a:moveTo>
                <a:lnTo>
                  <a:pt x="1491" y="110"/>
                </a:lnTo>
                <a:lnTo>
                  <a:pt x="1404" y="325"/>
                </a:lnTo>
                <a:lnTo>
                  <a:pt x="1577" y="325"/>
                </a:lnTo>
                <a:close/>
                <a:moveTo>
                  <a:pt x="1991" y="444"/>
                </a:moveTo>
                <a:lnTo>
                  <a:pt x="1950" y="444"/>
                </a:lnTo>
                <a:lnTo>
                  <a:pt x="1798" y="271"/>
                </a:lnTo>
                <a:lnTo>
                  <a:pt x="1757" y="316"/>
                </a:lnTo>
                <a:lnTo>
                  <a:pt x="1757" y="444"/>
                </a:lnTo>
                <a:lnTo>
                  <a:pt x="1725" y="444"/>
                </a:lnTo>
                <a:lnTo>
                  <a:pt x="1725" y="77"/>
                </a:lnTo>
                <a:lnTo>
                  <a:pt x="1757" y="77"/>
                </a:lnTo>
                <a:lnTo>
                  <a:pt x="1757" y="278"/>
                </a:lnTo>
                <a:lnTo>
                  <a:pt x="1935" y="77"/>
                </a:lnTo>
                <a:lnTo>
                  <a:pt x="1976" y="77"/>
                </a:lnTo>
                <a:lnTo>
                  <a:pt x="1819" y="252"/>
                </a:lnTo>
                <a:lnTo>
                  <a:pt x="1991" y="444"/>
                </a:lnTo>
                <a:close/>
                <a:moveTo>
                  <a:pt x="2325" y="444"/>
                </a:moveTo>
                <a:lnTo>
                  <a:pt x="2284" y="444"/>
                </a:lnTo>
                <a:lnTo>
                  <a:pt x="2133" y="271"/>
                </a:lnTo>
                <a:lnTo>
                  <a:pt x="2092" y="316"/>
                </a:lnTo>
                <a:lnTo>
                  <a:pt x="2092" y="444"/>
                </a:lnTo>
                <a:lnTo>
                  <a:pt x="2061" y="444"/>
                </a:lnTo>
                <a:lnTo>
                  <a:pt x="2061" y="77"/>
                </a:lnTo>
                <a:lnTo>
                  <a:pt x="2092" y="77"/>
                </a:lnTo>
                <a:lnTo>
                  <a:pt x="2092" y="278"/>
                </a:lnTo>
                <a:lnTo>
                  <a:pt x="2270" y="77"/>
                </a:lnTo>
                <a:lnTo>
                  <a:pt x="2310" y="77"/>
                </a:lnTo>
                <a:lnTo>
                  <a:pt x="2153" y="252"/>
                </a:lnTo>
                <a:lnTo>
                  <a:pt x="2325" y="444"/>
                </a:lnTo>
                <a:close/>
                <a:moveTo>
                  <a:pt x="2698" y="444"/>
                </a:moveTo>
                <a:lnTo>
                  <a:pt x="2661" y="444"/>
                </a:lnTo>
                <a:lnTo>
                  <a:pt x="2625" y="354"/>
                </a:lnTo>
                <a:lnTo>
                  <a:pt x="2430" y="354"/>
                </a:lnTo>
                <a:lnTo>
                  <a:pt x="2394" y="444"/>
                </a:lnTo>
                <a:lnTo>
                  <a:pt x="2357" y="444"/>
                </a:lnTo>
                <a:lnTo>
                  <a:pt x="2508" y="77"/>
                </a:lnTo>
                <a:lnTo>
                  <a:pt x="2547" y="77"/>
                </a:lnTo>
                <a:lnTo>
                  <a:pt x="2698" y="444"/>
                </a:lnTo>
                <a:close/>
                <a:moveTo>
                  <a:pt x="2614" y="325"/>
                </a:moveTo>
                <a:lnTo>
                  <a:pt x="2528" y="110"/>
                </a:lnTo>
                <a:lnTo>
                  <a:pt x="2441" y="325"/>
                </a:lnTo>
                <a:lnTo>
                  <a:pt x="2614" y="325"/>
                </a:lnTo>
                <a:close/>
                <a:moveTo>
                  <a:pt x="3065" y="444"/>
                </a:moveTo>
                <a:lnTo>
                  <a:pt x="3029" y="444"/>
                </a:lnTo>
                <a:lnTo>
                  <a:pt x="2992" y="354"/>
                </a:lnTo>
                <a:lnTo>
                  <a:pt x="2798" y="354"/>
                </a:lnTo>
                <a:lnTo>
                  <a:pt x="2761" y="444"/>
                </a:lnTo>
                <a:lnTo>
                  <a:pt x="2725" y="444"/>
                </a:lnTo>
                <a:lnTo>
                  <a:pt x="2875" y="77"/>
                </a:lnTo>
                <a:lnTo>
                  <a:pt x="2915" y="77"/>
                </a:lnTo>
                <a:lnTo>
                  <a:pt x="3065" y="444"/>
                </a:lnTo>
                <a:close/>
                <a:moveTo>
                  <a:pt x="2982" y="325"/>
                </a:moveTo>
                <a:lnTo>
                  <a:pt x="2895" y="110"/>
                </a:lnTo>
                <a:lnTo>
                  <a:pt x="2808" y="325"/>
                </a:lnTo>
                <a:lnTo>
                  <a:pt x="2982" y="325"/>
                </a:lnTo>
                <a:close/>
                <a:moveTo>
                  <a:pt x="3474" y="444"/>
                </a:moveTo>
                <a:lnTo>
                  <a:pt x="3442" y="444"/>
                </a:lnTo>
                <a:lnTo>
                  <a:pt x="3442" y="116"/>
                </a:lnTo>
                <a:lnTo>
                  <a:pt x="3308" y="444"/>
                </a:lnTo>
                <a:lnTo>
                  <a:pt x="3296" y="444"/>
                </a:lnTo>
                <a:lnTo>
                  <a:pt x="3161" y="116"/>
                </a:lnTo>
                <a:lnTo>
                  <a:pt x="3161" y="444"/>
                </a:lnTo>
                <a:lnTo>
                  <a:pt x="3130" y="444"/>
                </a:lnTo>
                <a:lnTo>
                  <a:pt x="3130" y="77"/>
                </a:lnTo>
                <a:lnTo>
                  <a:pt x="3177" y="77"/>
                </a:lnTo>
                <a:lnTo>
                  <a:pt x="3302" y="383"/>
                </a:lnTo>
                <a:lnTo>
                  <a:pt x="3427" y="77"/>
                </a:lnTo>
                <a:lnTo>
                  <a:pt x="3474" y="77"/>
                </a:lnTo>
                <a:lnTo>
                  <a:pt x="3474" y="444"/>
                </a:lnTo>
                <a:close/>
                <a:moveTo>
                  <a:pt x="3920" y="444"/>
                </a:moveTo>
                <a:lnTo>
                  <a:pt x="3888" y="444"/>
                </a:lnTo>
                <a:lnTo>
                  <a:pt x="3888" y="116"/>
                </a:lnTo>
                <a:lnTo>
                  <a:pt x="3754" y="444"/>
                </a:lnTo>
                <a:lnTo>
                  <a:pt x="3742" y="444"/>
                </a:lnTo>
                <a:lnTo>
                  <a:pt x="3608" y="116"/>
                </a:lnTo>
                <a:lnTo>
                  <a:pt x="3608" y="444"/>
                </a:lnTo>
                <a:lnTo>
                  <a:pt x="3576" y="444"/>
                </a:lnTo>
                <a:lnTo>
                  <a:pt x="3576" y="77"/>
                </a:lnTo>
                <a:lnTo>
                  <a:pt x="3623" y="77"/>
                </a:lnTo>
                <a:lnTo>
                  <a:pt x="3748" y="383"/>
                </a:lnTo>
                <a:lnTo>
                  <a:pt x="3873" y="77"/>
                </a:lnTo>
                <a:lnTo>
                  <a:pt x="3920" y="77"/>
                </a:lnTo>
                <a:lnTo>
                  <a:pt x="3920" y="444"/>
                </a:lnTo>
                <a:close/>
                <a:moveTo>
                  <a:pt x="4256" y="444"/>
                </a:moveTo>
                <a:lnTo>
                  <a:pt x="4022" y="444"/>
                </a:lnTo>
                <a:lnTo>
                  <a:pt x="4022" y="77"/>
                </a:lnTo>
                <a:lnTo>
                  <a:pt x="4256" y="77"/>
                </a:lnTo>
                <a:lnTo>
                  <a:pt x="4256" y="105"/>
                </a:lnTo>
                <a:lnTo>
                  <a:pt x="4054" y="105"/>
                </a:lnTo>
                <a:lnTo>
                  <a:pt x="4054" y="242"/>
                </a:lnTo>
                <a:lnTo>
                  <a:pt x="4252" y="242"/>
                </a:lnTo>
                <a:lnTo>
                  <a:pt x="4252" y="270"/>
                </a:lnTo>
                <a:lnTo>
                  <a:pt x="4054" y="270"/>
                </a:lnTo>
                <a:lnTo>
                  <a:pt x="4054" y="416"/>
                </a:lnTo>
                <a:lnTo>
                  <a:pt x="4256" y="416"/>
                </a:lnTo>
                <a:lnTo>
                  <a:pt x="4256" y="444"/>
                </a:lnTo>
                <a:close/>
                <a:moveTo>
                  <a:pt x="4625" y="444"/>
                </a:moveTo>
                <a:lnTo>
                  <a:pt x="4593" y="444"/>
                </a:lnTo>
                <a:lnTo>
                  <a:pt x="4593" y="105"/>
                </a:lnTo>
                <a:lnTo>
                  <a:pt x="4473" y="105"/>
                </a:lnTo>
                <a:lnTo>
                  <a:pt x="4473" y="77"/>
                </a:lnTo>
                <a:lnTo>
                  <a:pt x="4745" y="77"/>
                </a:lnTo>
                <a:lnTo>
                  <a:pt x="4745" y="105"/>
                </a:lnTo>
                <a:lnTo>
                  <a:pt x="4625" y="105"/>
                </a:lnTo>
                <a:lnTo>
                  <a:pt x="4625" y="444"/>
                </a:lnTo>
                <a:close/>
                <a:moveTo>
                  <a:pt x="5055" y="444"/>
                </a:moveTo>
                <a:lnTo>
                  <a:pt x="4821" y="444"/>
                </a:lnTo>
                <a:lnTo>
                  <a:pt x="4821" y="77"/>
                </a:lnTo>
                <a:lnTo>
                  <a:pt x="5055" y="77"/>
                </a:lnTo>
                <a:lnTo>
                  <a:pt x="5055" y="105"/>
                </a:lnTo>
                <a:lnTo>
                  <a:pt x="4853" y="105"/>
                </a:lnTo>
                <a:lnTo>
                  <a:pt x="4853" y="242"/>
                </a:lnTo>
                <a:lnTo>
                  <a:pt x="5051" y="242"/>
                </a:lnTo>
                <a:lnTo>
                  <a:pt x="5051" y="270"/>
                </a:lnTo>
                <a:lnTo>
                  <a:pt x="4853" y="270"/>
                </a:lnTo>
                <a:lnTo>
                  <a:pt x="4853" y="416"/>
                </a:lnTo>
                <a:lnTo>
                  <a:pt x="5055" y="416"/>
                </a:lnTo>
                <a:lnTo>
                  <a:pt x="5055" y="444"/>
                </a:lnTo>
                <a:close/>
                <a:moveTo>
                  <a:pt x="5408" y="444"/>
                </a:moveTo>
                <a:lnTo>
                  <a:pt x="5368" y="444"/>
                </a:lnTo>
                <a:lnTo>
                  <a:pt x="5216" y="271"/>
                </a:lnTo>
                <a:lnTo>
                  <a:pt x="5175" y="316"/>
                </a:lnTo>
                <a:lnTo>
                  <a:pt x="5175" y="444"/>
                </a:lnTo>
                <a:lnTo>
                  <a:pt x="5144" y="444"/>
                </a:lnTo>
                <a:lnTo>
                  <a:pt x="5144" y="77"/>
                </a:lnTo>
                <a:lnTo>
                  <a:pt x="5175" y="77"/>
                </a:lnTo>
                <a:lnTo>
                  <a:pt x="5175" y="278"/>
                </a:lnTo>
                <a:lnTo>
                  <a:pt x="5353" y="77"/>
                </a:lnTo>
                <a:lnTo>
                  <a:pt x="5393" y="77"/>
                </a:lnTo>
                <a:lnTo>
                  <a:pt x="5236" y="252"/>
                </a:lnTo>
                <a:lnTo>
                  <a:pt x="5408" y="444"/>
                </a:lnTo>
                <a:close/>
                <a:moveTo>
                  <a:pt x="5712" y="444"/>
                </a:moveTo>
                <a:lnTo>
                  <a:pt x="5479" y="444"/>
                </a:lnTo>
                <a:lnTo>
                  <a:pt x="5479" y="77"/>
                </a:lnTo>
                <a:lnTo>
                  <a:pt x="5712" y="77"/>
                </a:lnTo>
                <a:lnTo>
                  <a:pt x="5712" y="105"/>
                </a:lnTo>
                <a:lnTo>
                  <a:pt x="5510" y="105"/>
                </a:lnTo>
                <a:lnTo>
                  <a:pt x="5510" y="242"/>
                </a:lnTo>
                <a:lnTo>
                  <a:pt x="5708" y="242"/>
                </a:lnTo>
                <a:lnTo>
                  <a:pt x="5708" y="270"/>
                </a:lnTo>
                <a:lnTo>
                  <a:pt x="5510" y="270"/>
                </a:lnTo>
                <a:lnTo>
                  <a:pt x="5510" y="416"/>
                </a:lnTo>
                <a:lnTo>
                  <a:pt x="5712" y="416"/>
                </a:lnTo>
                <a:lnTo>
                  <a:pt x="5712" y="444"/>
                </a:lnTo>
                <a:close/>
                <a:moveTo>
                  <a:pt x="5953" y="444"/>
                </a:moveTo>
                <a:lnTo>
                  <a:pt x="5914" y="444"/>
                </a:lnTo>
                <a:lnTo>
                  <a:pt x="5764" y="77"/>
                </a:lnTo>
                <a:lnTo>
                  <a:pt x="5800" y="77"/>
                </a:lnTo>
                <a:lnTo>
                  <a:pt x="5934" y="409"/>
                </a:lnTo>
                <a:lnTo>
                  <a:pt x="6068" y="77"/>
                </a:lnTo>
                <a:lnTo>
                  <a:pt x="6104" y="77"/>
                </a:lnTo>
                <a:lnTo>
                  <a:pt x="5953" y="444"/>
                </a:lnTo>
                <a:close/>
                <a:moveTo>
                  <a:pt x="6347" y="20"/>
                </a:moveTo>
                <a:lnTo>
                  <a:pt x="6346" y="24"/>
                </a:lnTo>
                <a:lnTo>
                  <a:pt x="6345" y="28"/>
                </a:lnTo>
                <a:lnTo>
                  <a:pt x="6343" y="32"/>
                </a:lnTo>
                <a:lnTo>
                  <a:pt x="6341" y="35"/>
                </a:lnTo>
                <a:lnTo>
                  <a:pt x="6338" y="37"/>
                </a:lnTo>
                <a:lnTo>
                  <a:pt x="6334" y="39"/>
                </a:lnTo>
                <a:lnTo>
                  <a:pt x="6331" y="40"/>
                </a:lnTo>
                <a:lnTo>
                  <a:pt x="6327" y="41"/>
                </a:lnTo>
                <a:lnTo>
                  <a:pt x="6322" y="40"/>
                </a:lnTo>
                <a:lnTo>
                  <a:pt x="6319" y="39"/>
                </a:lnTo>
                <a:lnTo>
                  <a:pt x="6315" y="37"/>
                </a:lnTo>
                <a:lnTo>
                  <a:pt x="6312" y="35"/>
                </a:lnTo>
                <a:lnTo>
                  <a:pt x="6310" y="32"/>
                </a:lnTo>
                <a:lnTo>
                  <a:pt x="6308" y="28"/>
                </a:lnTo>
                <a:lnTo>
                  <a:pt x="6307" y="24"/>
                </a:lnTo>
                <a:lnTo>
                  <a:pt x="6306" y="20"/>
                </a:lnTo>
                <a:lnTo>
                  <a:pt x="6307" y="16"/>
                </a:lnTo>
                <a:lnTo>
                  <a:pt x="6308" y="13"/>
                </a:lnTo>
                <a:lnTo>
                  <a:pt x="6310" y="9"/>
                </a:lnTo>
                <a:lnTo>
                  <a:pt x="6312" y="6"/>
                </a:lnTo>
                <a:lnTo>
                  <a:pt x="6315" y="3"/>
                </a:lnTo>
                <a:lnTo>
                  <a:pt x="6319" y="2"/>
                </a:lnTo>
                <a:lnTo>
                  <a:pt x="6322" y="0"/>
                </a:lnTo>
                <a:lnTo>
                  <a:pt x="6327" y="0"/>
                </a:lnTo>
                <a:lnTo>
                  <a:pt x="6331" y="0"/>
                </a:lnTo>
                <a:lnTo>
                  <a:pt x="6334" y="2"/>
                </a:lnTo>
                <a:lnTo>
                  <a:pt x="6338" y="3"/>
                </a:lnTo>
                <a:lnTo>
                  <a:pt x="6341" y="6"/>
                </a:lnTo>
                <a:lnTo>
                  <a:pt x="6343" y="9"/>
                </a:lnTo>
                <a:lnTo>
                  <a:pt x="6345" y="13"/>
                </a:lnTo>
                <a:lnTo>
                  <a:pt x="6346" y="16"/>
                </a:lnTo>
                <a:lnTo>
                  <a:pt x="6347" y="20"/>
                </a:lnTo>
                <a:close/>
                <a:moveTo>
                  <a:pt x="6234" y="20"/>
                </a:moveTo>
                <a:lnTo>
                  <a:pt x="6234" y="24"/>
                </a:lnTo>
                <a:lnTo>
                  <a:pt x="6233" y="28"/>
                </a:lnTo>
                <a:lnTo>
                  <a:pt x="6231" y="32"/>
                </a:lnTo>
                <a:lnTo>
                  <a:pt x="6228" y="35"/>
                </a:lnTo>
                <a:lnTo>
                  <a:pt x="6225" y="37"/>
                </a:lnTo>
                <a:lnTo>
                  <a:pt x="6222" y="39"/>
                </a:lnTo>
                <a:lnTo>
                  <a:pt x="6218" y="40"/>
                </a:lnTo>
                <a:lnTo>
                  <a:pt x="6214" y="41"/>
                </a:lnTo>
                <a:lnTo>
                  <a:pt x="6210" y="40"/>
                </a:lnTo>
                <a:lnTo>
                  <a:pt x="6206" y="39"/>
                </a:lnTo>
                <a:lnTo>
                  <a:pt x="6203" y="37"/>
                </a:lnTo>
                <a:lnTo>
                  <a:pt x="6200" y="35"/>
                </a:lnTo>
                <a:lnTo>
                  <a:pt x="6197" y="32"/>
                </a:lnTo>
                <a:lnTo>
                  <a:pt x="6195" y="28"/>
                </a:lnTo>
                <a:lnTo>
                  <a:pt x="6194" y="24"/>
                </a:lnTo>
                <a:lnTo>
                  <a:pt x="6194" y="20"/>
                </a:lnTo>
                <a:lnTo>
                  <a:pt x="6194" y="16"/>
                </a:lnTo>
                <a:lnTo>
                  <a:pt x="6195" y="13"/>
                </a:lnTo>
                <a:lnTo>
                  <a:pt x="6197" y="9"/>
                </a:lnTo>
                <a:lnTo>
                  <a:pt x="6200" y="6"/>
                </a:lnTo>
                <a:lnTo>
                  <a:pt x="6203" y="3"/>
                </a:lnTo>
                <a:lnTo>
                  <a:pt x="6206" y="2"/>
                </a:lnTo>
                <a:lnTo>
                  <a:pt x="6210" y="0"/>
                </a:lnTo>
                <a:lnTo>
                  <a:pt x="6214" y="0"/>
                </a:lnTo>
                <a:lnTo>
                  <a:pt x="6218" y="0"/>
                </a:lnTo>
                <a:lnTo>
                  <a:pt x="6222" y="2"/>
                </a:lnTo>
                <a:lnTo>
                  <a:pt x="6225" y="3"/>
                </a:lnTo>
                <a:lnTo>
                  <a:pt x="6228" y="6"/>
                </a:lnTo>
                <a:lnTo>
                  <a:pt x="6231" y="9"/>
                </a:lnTo>
                <a:lnTo>
                  <a:pt x="6233" y="13"/>
                </a:lnTo>
                <a:lnTo>
                  <a:pt x="6234" y="16"/>
                </a:lnTo>
                <a:lnTo>
                  <a:pt x="6234" y="20"/>
                </a:lnTo>
                <a:close/>
                <a:moveTo>
                  <a:pt x="6440" y="444"/>
                </a:moveTo>
                <a:lnTo>
                  <a:pt x="6404" y="444"/>
                </a:lnTo>
                <a:lnTo>
                  <a:pt x="6367" y="354"/>
                </a:lnTo>
                <a:lnTo>
                  <a:pt x="6173" y="354"/>
                </a:lnTo>
                <a:lnTo>
                  <a:pt x="6136" y="444"/>
                </a:lnTo>
                <a:lnTo>
                  <a:pt x="6100" y="444"/>
                </a:lnTo>
                <a:lnTo>
                  <a:pt x="6250" y="77"/>
                </a:lnTo>
                <a:lnTo>
                  <a:pt x="6290" y="77"/>
                </a:lnTo>
                <a:lnTo>
                  <a:pt x="6440" y="444"/>
                </a:lnTo>
                <a:close/>
                <a:moveTo>
                  <a:pt x="6357" y="325"/>
                </a:moveTo>
                <a:lnTo>
                  <a:pt x="6270" y="110"/>
                </a:lnTo>
                <a:lnTo>
                  <a:pt x="6183" y="325"/>
                </a:lnTo>
                <a:lnTo>
                  <a:pt x="6357" y="3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2" name="Graphic 11">
            <a:extLst>
              <a:ext uri="{FF2B5EF4-FFF2-40B4-BE49-F238E27FC236}">
                <a16:creationId xmlns:a16="http://schemas.microsoft.com/office/drawing/2014/main" id="{AA114968-20B7-4DBB-B41C-CE265B6A69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54643827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logan Grasslands">
    <p:bg>
      <p:bgPr>
        <a:solidFill>
          <a:schemeClr val="accent3"/>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8ADCE5FC-A60B-48F1-B347-8439FC9E207A}"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6" name="Freeform 6"/>
          <p:cNvSpPr>
            <a:spLocks noChangeAspect="1" noEditPoints="1"/>
          </p:cNvSpPr>
          <p:nvPr userDrawn="1"/>
        </p:nvSpPr>
        <p:spPr bwMode="auto">
          <a:xfrm>
            <a:off x="1910586" y="2565024"/>
            <a:ext cx="8370828" cy="1080000"/>
          </a:xfrm>
          <a:custGeom>
            <a:avLst/>
            <a:gdLst>
              <a:gd name="T0" fmla="*/ 4256 w 5100"/>
              <a:gd name="T1" fmla="*/ 656 h 658"/>
              <a:gd name="T2" fmla="*/ 113 w 5100"/>
              <a:gd name="T3" fmla="*/ 0 h 658"/>
              <a:gd name="T4" fmla="*/ 208 w 5100"/>
              <a:gd name="T5" fmla="*/ 188 h 658"/>
              <a:gd name="T6" fmla="*/ 13 w 5100"/>
              <a:gd name="T7" fmla="*/ 178 h 658"/>
              <a:gd name="T8" fmla="*/ 71 w 5100"/>
              <a:gd name="T9" fmla="*/ 28 h 658"/>
              <a:gd name="T10" fmla="*/ 102 w 5100"/>
              <a:gd name="T11" fmla="*/ 222 h 658"/>
              <a:gd name="T12" fmla="*/ 305 w 5100"/>
              <a:gd name="T13" fmla="*/ 191 h 658"/>
              <a:gd name="T14" fmla="*/ 433 w 5100"/>
              <a:gd name="T15" fmla="*/ 171 h 658"/>
              <a:gd name="T16" fmla="*/ 335 w 5100"/>
              <a:gd name="T17" fmla="*/ 236 h 658"/>
              <a:gd name="T18" fmla="*/ 637 w 5100"/>
              <a:gd name="T19" fmla="*/ 11 h 658"/>
              <a:gd name="T20" fmla="*/ 676 w 5100"/>
              <a:gd name="T21" fmla="*/ 236 h 658"/>
              <a:gd name="T22" fmla="*/ 631 w 5100"/>
              <a:gd name="T23" fmla="*/ 114 h 658"/>
              <a:gd name="T24" fmla="*/ 894 w 5100"/>
              <a:gd name="T25" fmla="*/ 5 h 658"/>
              <a:gd name="T26" fmla="*/ 919 w 5100"/>
              <a:gd name="T27" fmla="*/ 19 h 658"/>
              <a:gd name="T28" fmla="*/ 871 w 5100"/>
              <a:gd name="T29" fmla="*/ 203 h 658"/>
              <a:gd name="T30" fmla="*/ 967 w 5100"/>
              <a:gd name="T31" fmla="*/ 234 h 658"/>
              <a:gd name="T32" fmla="*/ 1049 w 5100"/>
              <a:gd name="T33" fmla="*/ 236 h 658"/>
              <a:gd name="T34" fmla="*/ 1516 w 5100"/>
              <a:gd name="T35" fmla="*/ 236 h 658"/>
              <a:gd name="T36" fmla="*/ 1975 w 5100"/>
              <a:gd name="T37" fmla="*/ 218 h 658"/>
              <a:gd name="T38" fmla="*/ 2038 w 5100"/>
              <a:gd name="T39" fmla="*/ 138 h 658"/>
              <a:gd name="T40" fmla="*/ 1953 w 5100"/>
              <a:gd name="T41" fmla="*/ 13 h 658"/>
              <a:gd name="T42" fmla="*/ 2010 w 5100"/>
              <a:gd name="T43" fmla="*/ 19 h 658"/>
              <a:gd name="T44" fmla="*/ 2029 w 5100"/>
              <a:gd name="T45" fmla="*/ 112 h 658"/>
              <a:gd name="T46" fmla="*/ 2014 w 5100"/>
              <a:gd name="T47" fmla="*/ 240 h 658"/>
              <a:gd name="T48" fmla="*/ 2530 w 5100"/>
              <a:gd name="T49" fmla="*/ 179 h 658"/>
              <a:gd name="T50" fmla="*/ 3088 w 5100"/>
              <a:gd name="T51" fmla="*/ 22 h 658"/>
              <a:gd name="T52" fmla="*/ 3596 w 5100"/>
              <a:gd name="T53" fmla="*/ 108 h 658"/>
              <a:gd name="T54" fmla="*/ 4158 w 5100"/>
              <a:gd name="T55" fmla="*/ 208 h 658"/>
              <a:gd name="T56" fmla="*/ 4396 w 5100"/>
              <a:gd name="T57" fmla="*/ 3 h 658"/>
              <a:gd name="T58" fmla="*/ 4453 w 5100"/>
              <a:gd name="T59" fmla="*/ 206 h 658"/>
              <a:gd name="T60" fmla="*/ 4264 w 5100"/>
              <a:gd name="T61" fmla="*/ 156 h 658"/>
              <a:gd name="T62" fmla="*/ 4318 w 5100"/>
              <a:gd name="T63" fmla="*/ 35 h 658"/>
              <a:gd name="T64" fmla="*/ 4382 w 5100"/>
              <a:gd name="T65" fmla="*/ 222 h 658"/>
              <a:gd name="T66" fmla="*/ 4656 w 5100"/>
              <a:gd name="T67" fmla="*/ 11 h 658"/>
              <a:gd name="T68" fmla="*/ 4695 w 5100"/>
              <a:gd name="T69" fmla="*/ 236 h 658"/>
              <a:gd name="T70" fmla="*/ 4650 w 5100"/>
              <a:gd name="T71" fmla="*/ 114 h 658"/>
              <a:gd name="T72" fmla="*/ 5037 w 5100"/>
              <a:gd name="T73" fmla="*/ 16 h 658"/>
              <a:gd name="T74" fmla="*/ 5061 w 5100"/>
              <a:gd name="T75" fmla="*/ 210 h 658"/>
              <a:gd name="T76" fmla="*/ 5005 w 5100"/>
              <a:gd name="T77" fmla="*/ 24 h 658"/>
              <a:gd name="T78" fmla="*/ 838 w 5100"/>
              <a:gd name="T79" fmla="*/ 489 h 658"/>
              <a:gd name="T80" fmla="*/ 1010 w 5100"/>
              <a:gd name="T81" fmla="*/ 463 h 658"/>
              <a:gd name="T82" fmla="*/ 852 w 5100"/>
              <a:gd name="T83" fmla="*/ 527 h 658"/>
              <a:gd name="T84" fmla="*/ 1010 w 5100"/>
              <a:gd name="T85" fmla="*/ 614 h 658"/>
              <a:gd name="T86" fmla="*/ 864 w 5100"/>
              <a:gd name="T87" fmla="*/ 625 h 658"/>
              <a:gd name="T88" fmla="*/ 1259 w 5100"/>
              <a:gd name="T89" fmla="*/ 636 h 658"/>
              <a:gd name="T90" fmla="*/ 1836 w 5100"/>
              <a:gd name="T91" fmla="*/ 654 h 658"/>
              <a:gd name="T92" fmla="*/ 2244 w 5100"/>
              <a:gd name="T93" fmla="*/ 436 h 658"/>
              <a:gd name="T94" fmla="*/ 2249 w 5100"/>
              <a:gd name="T95" fmla="*/ 490 h 658"/>
              <a:gd name="T96" fmla="*/ 2235 w 5100"/>
              <a:gd name="T97" fmla="*/ 526 h 658"/>
              <a:gd name="T98" fmla="*/ 2644 w 5100"/>
              <a:gd name="T99" fmla="*/ 422 h 658"/>
              <a:gd name="T100" fmla="*/ 3078 w 5100"/>
              <a:gd name="T101" fmla="*/ 504 h 658"/>
              <a:gd name="T102" fmla="*/ 3061 w 5100"/>
              <a:gd name="T103" fmla="*/ 538 h 658"/>
              <a:gd name="T104" fmla="*/ 3023 w 5100"/>
              <a:gd name="T105" fmla="*/ 619 h 658"/>
              <a:gd name="T106" fmla="*/ 3324 w 5100"/>
              <a:gd name="T107" fmla="*/ 637 h 658"/>
              <a:gd name="T108" fmla="*/ 3255 w 5100"/>
              <a:gd name="T109" fmla="*/ 529 h 658"/>
              <a:gd name="T110" fmla="*/ 3299 w 5100"/>
              <a:gd name="T111" fmla="*/ 418 h 658"/>
              <a:gd name="T112" fmla="*/ 3259 w 5100"/>
              <a:gd name="T113" fmla="*/ 448 h 658"/>
              <a:gd name="T114" fmla="*/ 3370 w 5100"/>
              <a:gd name="T115" fmla="*/ 555 h 658"/>
              <a:gd name="T116" fmla="*/ 3231 w 5100"/>
              <a:gd name="T117" fmla="*/ 636 h 658"/>
              <a:gd name="T118" fmla="*/ 3658 w 5100"/>
              <a:gd name="T119" fmla="*/ 654 h 658"/>
              <a:gd name="T120" fmla="*/ 4173 w 5100"/>
              <a:gd name="T121" fmla="*/ 436 h 658"/>
              <a:gd name="T122" fmla="*/ 4177 w 5100"/>
              <a:gd name="T123" fmla="*/ 490 h 658"/>
              <a:gd name="T124" fmla="*/ 4163 w 5100"/>
              <a:gd name="T125" fmla="*/ 526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0" h="658">
                <a:moveTo>
                  <a:pt x="4245" y="642"/>
                </a:moveTo>
                <a:lnTo>
                  <a:pt x="4245" y="639"/>
                </a:lnTo>
                <a:lnTo>
                  <a:pt x="4246" y="636"/>
                </a:lnTo>
                <a:lnTo>
                  <a:pt x="4248" y="634"/>
                </a:lnTo>
                <a:lnTo>
                  <a:pt x="4251" y="631"/>
                </a:lnTo>
                <a:lnTo>
                  <a:pt x="4253" y="629"/>
                </a:lnTo>
                <a:lnTo>
                  <a:pt x="4256" y="628"/>
                </a:lnTo>
                <a:lnTo>
                  <a:pt x="4258" y="627"/>
                </a:lnTo>
                <a:lnTo>
                  <a:pt x="4261" y="627"/>
                </a:lnTo>
                <a:lnTo>
                  <a:pt x="4265" y="627"/>
                </a:lnTo>
                <a:lnTo>
                  <a:pt x="4267" y="628"/>
                </a:lnTo>
                <a:lnTo>
                  <a:pt x="4270" y="629"/>
                </a:lnTo>
                <a:lnTo>
                  <a:pt x="4272" y="631"/>
                </a:lnTo>
                <a:lnTo>
                  <a:pt x="4274" y="634"/>
                </a:lnTo>
                <a:lnTo>
                  <a:pt x="4276" y="636"/>
                </a:lnTo>
                <a:lnTo>
                  <a:pt x="4276" y="639"/>
                </a:lnTo>
                <a:lnTo>
                  <a:pt x="4277" y="642"/>
                </a:lnTo>
                <a:lnTo>
                  <a:pt x="4276" y="645"/>
                </a:lnTo>
                <a:lnTo>
                  <a:pt x="4276" y="648"/>
                </a:lnTo>
                <a:lnTo>
                  <a:pt x="4274" y="650"/>
                </a:lnTo>
                <a:lnTo>
                  <a:pt x="4272" y="653"/>
                </a:lnTo>
                <a:lnTo>
                  <a:pt x="4270" y="654"/>
                </a:lnTo>
                <a:lnTo>
                  <a:pt x="4267" y="656"/>
                </a:lnTo>
                <a:lnTo>
                  <a:pt x="4265" y="657"/>
                </a:lnTo>
                <a:lnTo>
                  <a:pt x="4261" y="657"/>
                </a:lnTo>
                <a:lnTo>
                  <a:pt x="4258" y="657"/>
                </a:lnTo>
                <a:lnTo>
                  <a:pt x="4256" y="656"/>
                </a:lnTo>
                <a:lnTo>
                  <a:pt x="4253" y="654"/>
                </a:lnTo>
                <a:lnTo>
                  <a:pt x="4251" y="653"/>
                </a:lnTo>
                <a:lnTo>
                  <a:pt x="4248" y="650"/>
                </a:lnTo>
                <a:lnTo>
                  <a:pt x="4246" y="648"/>
                </a:lnTo>
                <a:lnTo>
                  <a:pt x="4245" y="645"/>
                </a:lnTo>
                <a:lnTo>
                  <a:pt x="4245" y="642"/>
                </a:lnTo>
                <a:close/>
                <a:moveTo>
                  <a:pt x="0" y="120"/>
                </a:moveTo>
                <a:lnTo>
                  <a:pt x="1" y="108"/>
                </a:lnTo>
                <a:lnTo>
                  <a:pt x="1" y="102"/>
                </a:lnTo>
                <a:lnTo>
                  <a:pt x="2" y="96"/>
                </a:lnTo>
                <a:lnTo>
                  <a:pt x="5" y="84"/>
                </a:lnTo>
                <a:lnTo>
                  <a:pt x="8" y="73"/>
                </a:lnTo>
                <a:lnTo>
                  <a:pt x="13" y="62"/>
                </a:lnTo>
                <a:lnTo>
                  <a:pt x="15" y="57"/>
                </a:lnTo>
                <a:lnTo>
                  <a:pt x="18" y="52"/>
                </a:lnTo>
                <a:lnTo>
                  <a:pt x="24" y="43"/>
                </a:lnTo>
                <a:lnTo>
                  <a:pt x="31" y="35"/>
                </a:lnTo>
                <a:lnTo>
                  <a:pt x="39" y="27"/>
                </a:lnTo>
                <a:lnTo>
                  <a:pt x="43" y="24"/>
                </a:lnTo>
                <a:lnTo>
                  <a:pt x="47" y="20"/>
                </a:lnTo>
                <a:lnTo>
                  <a:pt x="56" y="14"/>
                </a:lnTo>
                <a:lnTo>
                  <a:pt x="66" y="9"/>
                </a:lnTo>
                <a:lnTo>
                  <a:pt x="77" y="6"/>
                </a:lnTo>
                <a:lnTo>
                  <a:pt x="88" y="3"/>
                </a:lnTo>
                <a:lnTo>
                  <a:pt x="100" y="1"/>
                </a:lnTo>
                <a:lnTo>
                  <a:pt x="106" y="0"/>
                </a:lnTo>
                <a:lnTo>
                  <a:pt x="113" y="0"/>
                </a:lnTo>
                <a:lnTo>
                  <a:pt x="125" y="1"/>
                </a:lnTo>
                <a:lnTo>
                  <a:pt x="137" y="3"/>
                </a:lnTo>
                <a:lnTo>
                  <a:pt x="148" y="6"/>
                </a:lnTo>
                <a:lnTo>
                  <a:pt x="159" y="9"/>
                </a:lnTo>
                <a:lnTo>
                  <a:pt x="169" y="14"/>
                </a:lnTo>
                <a:lnTo>
                  <a:pt x="174" y="17"/>
                </a:lnTo>
                <a:lnTo>
                  <a:pt x="178" y="20"/>
                </a:lnTo>
                <a:lnTo>
                  <a:pt x="182" y="24"/>
                </a:lnTo>
                <a:lnTo>
                  <a:pt x="187" y="27"/>
                </a:lnTo>
                <a:lnTo>
                  <a:pt x="194" y="35"/>
                </a:lnTo>
                <a:lnTo>
                  <a:pt x="201" y="43"/>
                </a:lnTo>
                <a:lnTo>
                  <a:pt x="208" y="52"/>
                </a:lnTo>
                <a:lnTo>
                  <a:pt x="210" y="57"/>
                </a:lnTo>
                <a:lnTo>
                  <a:pt x="213" y="62"/>
                </a:lnTo>
                <a:lnTo>
                  <a:pt x="217" y="73"/>
                </a:lnTo>
                <a:lnTo>
                  <a:pt x="221" y="84"/>
                </a:lnTo>
                <a:lnTo>
                  <a:pt x="223" y="96"/>
                </a:lnTo>
                <a:lnTo>
                  <a:pt x="225" y="108"/>
                </a:lnTo>
                <a:lnTo>
                  <a:pt x="225" y="120"/>
                </a:lnTo>
                <a:lnTo>
                  <a:pt x="225" y="133"/>
                </a:lnTo>
                <a:lnTo>
                  <a:pt x="224" y="139"/>
                </a:lnTo>
                <a:lnTo>
                  <a:pt x="223" y="145"/>
                </a:lnTo>
                <a:lnTo>
                  <a:pt x="221" y="156"/>
                </a:lnTo>
                <a:lnTo>
                  <a:pt x="217" y="168"/>
                </a:lnTo>
                <a:lnTo>
                  <a:pt x="213" y="178"/>
                </a:lnTo>
                <a:lnTo>
                  <a:pt x="210" y="183"/>
                </a:lnTo>
                <a:lnTo>
                  <a:pt x="208" y="188"/>
                </a:lnTo>
                <a:lnTo>
                  <a:pt x="201" y="197"/>
                </a:lnTo>
                <a:lnTo>
                  <a:pt x="194" y="206"/>
                </a:lnTo>
                <a:lnTo>
                  <a:pt x="187" y="213"/>
                </a:lnTo>
                <a:lnTo>
                  <a:pt x="182" y="217"/>
                </a:lnTo>
                <a:lnTo>
                  <a:pt x="178" y="220"/>
                </a:lnTo>
                <a:lnTo>
                  <a:pt x="169" y="226"/>
                </a:lnTo>
                <a:lnTo>
                  <a:pt x="159" y="231"/>
                </a:lnTo>
                <a:lnTo>
                  <a:pt x="148" y="235"/>
                </a:lnTo>
                <a:lnTo>
                  <a:pt x="137" y="238"/>
                </a:lnTo>
                <a:lnTo>
                  <a:pt x="125" y="239"/>
                </a:lnTo>
                <a:lnTo>
                  <a:pt x="119" y="240"/>
                </a:lnTo>
                <a:lnTo>
                  <a:pt x="113" y="240"/>
                </a:lnTo>
                <a:lnTo>
                  <a:pt x="100" y="239"/>
                </a:lnTo>
                <a:lnTo>
                  <a:pt x="88" y="238"/>
                </a:lnTo>
                <a:lnTo>
                  <a:pt x="83" y="236"/>
                </a:lnTo>
                <a:lnTo>
                  <a:pt x="77" y="235"/>
                </a:lnTo>
                <a:lnTo>
                  <a:pt x="66" y="231"/>
                </a:lnTo>
                <a:lnTo>
                  <a:pt x="56" y="226"/>
                </a:lnTo>
                <a:lnTo>
                  <a:pt x="52" y="223"/>
                </a:lnTo>
                <a:lnTo>
                  <a:pt x="47" y="220"/>
                </a:lnTo>
                <a:lnTo>
                  <a:pt x="43" y="217"/>
                </a:lnTo>
                <a:lnTo>
                  <a:pt x="39" y="213"/>
                </a:lnTo>
                <a:lnTo>
                  <a:pt x="31" y="206"/>
                </a:lnTo>
                <a:lnTo>
                  <a:pt x="24" y="197"/>
                </a:lnTo>
                <a:lnTo>
                  <a:pt x="18" y="188"/>
                </a:lnTo>
                <a:lnTo>
                  <a:pt x="15" y="183"/>
                </a:lnTo>
                <a:lnTo>
                  <a:pt x="13" y="178"/>
                </a:lnTo>
                <a:lnTo>
                  <a:pt x="8" y="168"/>
                </a:lnTo>
                <a:lnTo>
                  <a:pt x="5" y="156"/>
                </a:lnTo>
                <a:lnTo>
                  <a:pt x="2" y="145"/>
                </a:lnTo>
                <a:lnTo>
                  <a:pt x="1" y="133"/>
                </a:lnTo>
                <a:lnTo>
                  <a:pt x="0" y="120"/>
                </a:lnTo>
                <a:close/>
                <a:moveTo>
                  <a:pt x="204" y="120"/>
                </a:moveTo>
                <a:lnTo>
                  <a:pt x="204" y="109"/>
                </a:lnTo>
                <a:lnTo>
                  <a:pt x="203" y="99"/>
                </a:lnTo>
                <a:lnTo>
                  <a:pt x="201" y="89"/>
                </a:lnTo>
                <a:lnTo>
                  <a:pt x="198" y="79"/>
                </a:lnTo>
                <a:lnTo>
                  <a:pt x="194" y="71"/>
                </a:lnTo>
                <a:lnTo>
                  <a:pt x="190" y="62"/>
                </a:lnTo>
                <a:lnTo>
                  <a:pt x="185" y="54"/>
                </a:lnTo>
                <a:lnTo>
                  <a:pt x="179" y="47"/>
                </a:lnTo>
                <a:lnTo>
                  <a:pt x="173" y="41"/>
                </a:lnTo>
                <a:lnTo>
                  <a:pt x="166" y="35"/>
                </a:lnTo>
                <a:lnTo>
                  <a:pt x="159" y="30"/>
                </a:lnTo>
                <a:lnTo>
                  <a:pt x="151" y="26"/>
                </a:lnTo>
                <a:lnTo>
                  <a:pt x="142" y="23"/>
                </a:lnTo>
                <a:lnTo>
                  <a:pt x="133" y="20"/>
                </a:lnTo>
                <a:lnTo>
                  <a:pt x="123" y="19"/>
                </a:lnTo>
                <a:lnTo>
                  <a:pt x="113" y="18"/>
                </a:lnTo>
                <a:lnTo>
                  <a:pt x="102" y="19"/>
                </a:lnTo>
                <a:lnTo>
                  <a:pt x="93" y="20"/>
                </a:lnTo>
                <a:lnTo>
                  <a:pt x="83" y="23"/>
                </a:lnTo>
                <a:lnTo>
                  <a:pt x="75" y="26"/>
                </a:lnTo>
                <a:lnTo>
                  <a:pt x="71" y="28"/>
                </a:lnTo>
                <a:lnTo>
                  <a:pt x="67" y="30"/>
                </a:lnTo>
                <a:lnTo>
                  <a:pt x="59" y="35"/>
                </a:lnTo>
                <a:lnTo>
                  <a:pt x="52" y="41"/>
                </a:lnTo>
                <a:lnTo>
                  <a:pt x="46" y="47"/>
                </a:lnTo>
                <a:lnTo>
                  <a:pt x="40" y="54"/>
                </a:lnTo>
                <a:lnTo>
                  <a:pt x="35" y="62"/>
                </a:lnTo>
                <a:lnTo>
                  <a:pt x="31" y="71"/>
                </a:lnTo>
                <a:lnTo>
                  <a:pt x="27" y="79"/>
                </a:lnTo>
                <a:lnTo>
                  <a:pt x="25" y="89"/>
                </a:lnTo>
                <a:lnTo>
                  <a:pt x="23" y="99"/>
                </a:lnTo>
                <a:lnTo>
                  <a:pt x="21" y="109"/>
                </a:lnTo>
                <a:lnTo>
                  <a:pt x="21" y="120"/>
                </a:lnTo>
                <a:lnTo>
                  <a:pt x="21" y="131"/>
                </a:lnTo>
                <a:lnTo>
                  <a:pt x="23" y="141"/>
                </a:lnTo>
                <a:lnTo>
                  <a:pt x="25" y="151"/>
                </a:lnTo>
                <a:lnTo>
                  <a:pt x="27" y="161"/>
                </a:lnTo>
                <a:lnTo>
                  <a:pt x="31" y="170"/>
                </a:lnTo>
                <a:lnTo>
                  <a:pt x="35" y="178"/>
                </a:lnTo>
                <a:lnTo>
                  <a:pt x="40" y="186"/>
                </a:lnTo>
                <a:lnTo>
                  <a:pt x="46" y="193"/>
                </a:lnTo>
                <a:lnTo>
                  <a:pt x="52" y="199"/>
                </a:lnTo>
                <a:lnTo>
                  <a:pt x="59" y="205"/>
                </a:lnTo>
                <a:lnTo>
                  <a:pt x="67" y="210"/>
                </a:lnTo>
                <a:lnTo>
                  <a:pt x="75" y="214"/>
                </a:lnTo>
                <a:lnTo>
                  <a:pt x="83" y="218"/>
                </a:lnTo>
                <a:lnTo>
                  <a:pt x="93" y="220"/>
                </a:lnTo>
                <a:lnTo>
                  <a:pt x="102" y="222"/>
                </a:lnTo>
                <a:lnTo>
                  <a:pt x="113" y="222"/>
                </a:lnTo>
                <a:lnTo>
                  <a:pt x="123" y="222"/>
                </a:lnTo>
                <a:lnTo>
                  <a:pt x="133" y="220"/>
                </a:lnTo>
                <a:lnTo>
                  <a:pt x="142" y="218"/>
                </a:lnTo>
                <a:lnTo>
                  <a:pt x="151" y="214"/>
                </a:lnTo>
                <a:lnTo>
                  <a:pt x="159" y="210"/>
                </a:lnTo>
                <a:lnTo>
                  <a:pt x="166" y="205"/>
                </a:lnTo>
                <a:lnTo>
                  <a:pt x="173" y="199"/>
                </a:lnTo>
                <a:lnTo>
                  <a:pt x="179" y="193"/>
                </a:lnTo>
                <a:lnTo>
                  <a:pt x="185" y="186"/>
                </a:lnTo>
                <a:lnTo>
                  <a:pt x="190" y="178"/>
                </a:lnTo>
                <a:lnTo>
                  <a:pt x="194" y="170"/>
                </a:lnTo>
                <a:lnTo>
                  <a:pt x="198" y="161"/>
                </a:lnTo>
                <a:lnTo>
                  <a:pt x="201" y="151"/>
                </a:lnTo>
                <a:lnTo>
                  <a:pt x="203" y="141"/>
                </a:lnTo>
                <a:lnTo>
                  <a:pt x="204" y="131"/>
                </a:lnTo>
                <a:lnTo>
                  <a:pt x="204" y="120"/>
                </a:lnTo>
                <a:close/>
                <a:moveTo>
                  <a:pt x="275" y="147"/>
                </a:moveTo>
                <a:lnTo>
                  <a:pt x="275" y="4"/>
                </a:lnTo>
                <a:lnTo>
                  <a:pt x="295" y="4"/>
                </a:lnTo>
                <a:lnTo>
                  <a:pt x="295" y="147"/>
                </a:lnTo>
                <a:lnTo>
                  <a:pt x="295" y="155"/>
                </a:lnTo>
                <a:lnTo>
                  <a:pt x="296" y="163"/>
                </a:lnTo>
                <a:lnTo>
                  <a:pt x="297" y="171"/>
                </a:lnTo>
                <a:lnTo>
                  <a:pt x="299" y="178"/>
                </a:lnTo>
                <a:lnTo>
                  <a:pt x="302" y="185"/>
                </a:lnTo>
                <a:lnTo>
                  <a:pt x="305" y="191"/>
                </a:lnTo>
                <a:lnTo>
                  <a:pt x="309" y="197"/>
                </a:lnTo>
                <a:lnTo>
                  <a:pt x="313" y="202"/>
                </a:lnTo>
                <a:lnTo>
                  <a:pt x="315" y="204"/>
                </a:lnTo>
                <a:lnTo>
                  <a:pt x="318" y="206"/>
                </a:lnTo>
                <a:lnTo>
                  <a:pt x="323" y="211"/>
                </a:lnTo>
                <a:lnTo>
                  <a:pt x="329" y="214"/>
                </a:lnTo>
                <a:lnTo>
                  <a:pt x="335" y="217"/>
                </a:lnTo>
                <a:lnTo>
                  <a:pt x="342" y="219"/>
                </a:lnTo>
                <a:lnTo>
                  <a:pt x="345" y="220"/>
                </a:lnTo>
                <a:lnTo>
                  <a:pt x="349" y="221"/>
                </a:lnTo>
                <a:lnTo>
                  <a:pt x="357" y="222"/>
                </a:lnTo>
                <a:lnTo>
                  <a:pt x="365" y="222"/>
                </a:lnTo>
                <a:lnTo>
                  <a:pt x="373" y="222"/>
                </a:lnTo>
                <a:lnTo>
                  <a:pt x="381" y="221"/>
                </a:lnTo>
                <a:lnTo>
                  <a:pt x="388" y="219"/>
                </a:lnTo>
                <a:lnTo>
                  <a:pt x="395" y="217"/>
                </a:lnTo>
                <a:lnTo>
                  <a:pt x="401" y="214"/>
                </a:lnTo>
                <a:lnTo>
                  <a:pt x="407" y="211"/>
                </a:lnTo>
                <a:lnTo>
                  <a:pt x="412" y="206"/>
                </a:lnTo>
                <a:lnTo>
                  <a:pt x="417" y="202"/>
                </a:lnTo>
                <a:lnTo>
                  <a:pt x="419" y="199"/>
                </a:lnTo>
                <a:lnTo>
                  <a:pt x="421" y="197"/>
                </a:lnTo>
                <a:lnTo>
                  <a:pt x="425" y="191"/>
                </a:lnTo>
                <a:lnTo>
                  <a:pt x="427" y="188"/>
                </a:lnTo>
                <a:lnTo>
                  <a:pt x="428" y="185"/>
                </a:lnTo>
                <a:lnTo>
                  <a:pt x="431" y="178"/>
                </a:lnTo>
                <a:lnTo>
                  <a:pt x="433" y="171"/>
                </a:lnTo>
                <a:lnTo>
                  <a:pt x="434" y="163"/>
                </a:lnTo>
                <a:lnTo>
                  <a:pt x="435" y="159"/>
                </a:lnTo>
                <a:lnTo>
                  <a:pt x="435" y="155"/>
                </a:lnTo>
                <a:lnTo>
                  <a:pt x="435" y="147"/>
                </a:lnTo>
                <a:lnTo>
                  <a:pt x="435" y="4"/>
                </a:lnTo>
                <a:lnTo>
                  <a:pt x="455" y="4"/>
                </a:lnTo>
                <a:lnTo>
                  <a:pt x="455" y="147"/>
                </a:lnTo>
                <a:lnTo>
                  <a:pt x="455" y="157"/>
                </a:lnTo>
                <a:lnTo>
                  <a:pt x="454" y="167"/>
                </a:lnTo>
                <a:lnTo>
                  <a:pt x="452" y="177"/>
                </a:lnTo>
                <a:lnTo>
                  <a:pt x="450" y="186"/>
                </a:lnTo>
                <a:lnTo>
                  <a:pt x="446" y="194"/>
                </a:lnTo>
                <a:lnTo>
                  <a:pt x="443" y="202"/>
                </a:lnTo>
                <a:lnTo>
                  <a:pt x="438" y="209"/>
                </a:lnTo>
                <a:lnTo>
                  <a:pt x="433" y="215"/>
                </a:lnTo>
                <a:lnTo>
                  <a:pt x="427" y="221"/>
                </a:lnTo>
                <a:lnTo>
                  <a:pt x="423" y="223"/>
                </a:lnTo>
                <a:lnTo>
                  <a:pt x="420" y="226"/>
                </a:lnTo>
                <a:lnTo>
                  <a:pt x="412" y="230"/>
                </a:lnTo>
                <a:lnTo>
                  <a:pt x="404" y="234"/>
                </a:lnTo>
                <a:lnTo>
                  <a:pt x="396" y="236"/>
                </a:lnTo>
                <a:lnTo>
                  <a:pt x="386" y="238"/>
                </a:lnTo>
                <a:lnTo>
                  <a:pt x="376" y="240"/>
                </a:lnTo>
                <a:lnTo>
                  <a:pt x="365" y="240"/>
                </a:lnTo>
                <a:lnTo>
                  <a:pt x="354" y="240"/>
                </a:lnTo>
                <a:lnTo>
                  <a:pt x="344" y="238"/>
                </a:lnTo>
                <a:lnTo>
                  <a:pt x="335" y="236"/>
                </a:lnTo>
                <a:lnTo>
                  <a:pt x="326" y="234"/>
                </a:lnTo>
                <a:lnTo>
                  <a:pt x="318" y="230"/>
                </a:lnTo>
                <a:lnTo>
                  <a:pt x="310" y="226"/>
                </a:lnTo>
                <a:lnTo>
                  <a:pt x="304" y="221"/>
                </a:lnTo>
                <a:lnTo>
                  <a:pt x="301" y="218"/>
                </a:lnTo>
                <a:lnTo>
                  <a:pt x="298" y="215"/>
                </a:lnTo>
                <a:lnTo>
                  <a:pt x="295" y="212"/>
                </a:lnTo>
                <a:lnTo>
                  <a:pt x="292" y="208"/>
                </a:lnTo>
                <a:lnTo>
                  <a:pt x="288" y="201"/>
                </a:lnTo>
                <a:lnTo>
                  <a:pt x="284" y="194"/>
                </a:lnTo>
                <a:lnTo>
                  <a:pt x="280" y="186"/>
                </a:lnTo>
                <a:lnTo>
                  <a:pt x="278" y="177"/>
                </a:lnTo>
                <a:lnTo>
                  <a:pt x="276" y="167"/>
                </a:lnTo>
                <a:lnTo>
                  <a:pt x="275" y="157"/>
                </a:lnTo>
                <a:lnTo>
                  <a:pt x="275" y="147"/>
                </a:lnTo>
                <a:close/>
                <a:moveTo>
                  <a:pt x="652" y="236"/>
                </a:moveTo>
                <a:lnTo>
                  <a:pt x="587" y="140"/>
                </a:lnTo>
                <a:lnTo>
                  <a:pt x="536" y="140"/>
                </a:lnTo>
                <a:lnTo>
                  <a:pt x="536" y="236"/>
                </a:lnTo>
                <a:lnTo>
                  <a:pt x="516" y="236"/>
                </a:lnTo>
                <a:lnTo>
                  <a:pt x="516" y="4"/>
                </a:lnTo>
                <a:lnTo>
                  <a:pt x="603" y="4"/>
                </a:lnTo>
                <a:lnTo>
                  <a:pt x="610" y="4"/>
                </a:lnTo>
                <a:lnTo>
                  <a:pt x="617" y="5"/>
                </a:lnTo>
                <a:lnTo>
                  <a:pt x="624" y="7"/>
                </a:lnTo>
                <a:lnTo>
                  <a:pt x="631" y="9"/>
                </a:lnTo>
                <a:lnTo>
                  <a:pt x="637" y="11"/>
                </a:lnTo>
                <a:lnTo>
                  <a:pt x="643" y="14"/>
                </a:lnTo>
                <a:lnTo>
                  <a:pt x="648" y="18"/>
                </a:lnTo>
                <a:lnTo>
                  <a:pt x="653" y="22"/>
                </a:lnTo>
                <a:lnTo>
                  <a:pt x="658" y="27"/>
                </a:lnTo>
                <a:lnTo>
                  <a:pt x="662" y="32"/>
                </a:lnTo>
                <a:lnTo>
                  <a:pt x="665" y="37"/>
                </a:lnTo>
                <a:lnTo>
                  <a:pt x="668" y="43"/>
                </a:lnTo>
                <a:lnTo>
                  <a:pt x="670" y="50"/>
                </a:lnTo>
                <a:lnTo>
                  <a:pt x="672" y="57"/>
                </a:lnTo>
                <a:lnTo>
                  <a:pt x="673" y="64"/>
                </a:lnTo>
                <a:lnTo>
                  <a:pt x="673" y="72"/>
                </a:lnTo>
                <a:lnTo>
                  <a:pt x="673" y="80"/>
                </a:lnTo>
                <a:lnTo>
                  <a:pt x="672" y="87"/>
                </a:lnTo>
                <a:lnTo>
                  <a:pt x="670" y="94"/>
                </a:lnTo>
                <a:lnTo>
                  <a:pt x="668" y="100"/>
                </a:lnTo>
                <a:lnTo>
                  <a:pt x="665" y="106"/>
                </a:lnTo>
                <a:lnTo>
                  <a:pt x="662" y="111"/>
                </a:lnTo>
                <a:lnTo>
                  <a:pt x="658" y="116"/>
                </a:lnTo>
                <a:lnTo>
                  <a:pt x="654" y="120"/>
                </a:lnTo>
                <a:lnTo>
                  <a:pt x="650" y="124"/>
                </a:lnTo>
                <a:lnTo>
                  <a:pt x="645" y="128"/>
                </a:lnTo>
                <a:lnTo>
                  <a:pt x="639" y="131"/>
                </a:lnTo>
                <a:lnTo>
                  <a:pt x="634" y="133"/>
                </a:lnTo>
                <a:lnTo>
                  <a:pt x="628" y="136"/>
                </a:lnTo>
                <a:lnTo>
                  <a:pt x="622" y="137"/>
                </a:lnTo>
                <a:lnTo>
                  <a:pt x="609" y="139"/>
                </a:lnTo>
                <a:lnTo>
                  <a:pt x="676" y="236"/>
                </a:lnTo>
                <a:lnTo>
                  <a:pt x="652" y="236"/>
                </a:lnTo>
                <a:close/>
                <a:moveTo>
                  <a:pt x="652" y="72"/>
                </a:moveTo>
                <a:lnTo>
                  <a:pt x="652" y="67"/>
                </a:lnTo>
                <a:lnTo>
                  <a:pt x="652" y="61"/>
                </a:lnTo>
                <a:lnTo>
                  <a:pt x="650" y="56"/>
                </a:lnTo>
                <a:lnTo>
                  <a:pt x="649" y="52"/>
                </a:lnTo>
                <a:lnTo>
                  <a:pt x="647" y="47"/>
                </a:lnTo>
                <a:lnTo>
                  <a:pt x="644" y="43"/>
                </a:lnTo>
                <a:lnTo>
                  <a:pt x="642" y="40"/>
                </a:lnTo>
                <a:lnTo>
                  <a:pt x="638" y="36"/>
                </a:lnTo>
                <a:lnTo>
                  <a:pt x="635" y="33"/>
                </a:lnTo>
                <a:lnTo>
                  <a:pt x="631" y="30"/>
                </a:lnTo>
                <a:lnTo>
                  <a:pt x="627" y="28"/>
                </a:lnTo>
                <a:lnTo>
                  <a:pt x="622" y="26"/>
                </a:lnTo>
                <a:lnTo>
                  <a:pt x="617" y="24"/>
                </a:lnTo>
                <a:lnTo>
                  <a:pt x="612" y="23"/>
                </a:lnTo>
                <a:lnTo>
                  <a:pt x="607" y="22"/>
                </a:lnTo>
                <a:lnTo>
                  <a:pt x="601" y="22"/>
                </a:lnTo>
                <a:lnTo>
                  <a:pt x="536" y="22"/>
                </a:lnTo>
                <a:lnTo>
                  <a:pt x="536" y="122"/>
                </a:lnTo>
                <a:lnTo>
                  <a:pt x="601" y="122"/>
                </a:lnTo>
                <a:lnTo>
                  <a:pt x="607" y="122"/>
                </a:lnTo>
                <a:lnTo>
                  <a:pt x="612" y="121"/>
                </a:lnTo>
                <a:lnTo>
                  <a:pt x="617" y="120"/>
                </a:lnTo>
                <a:lnTo>
                  <a:pt x="622" y="118"/>
                </a:lnTo>
                <a:lnTo>
                  <a:pt x="627" y="116"/>
                </a:lnTo>
                <a:lnTo>
                  <a:pt x="631" y="114"/>
                </a:lnTo>
                <a:lnTo>
                  <a:pt x="635" y="111"/>
                </a:lnTo>
                <a:lnTo>
                  <a:pt x="638" y="108"/>
                </a:lnTo>
                <a:lnTo>
                  <a:pt x="642" y="104"/>
                </a:lnTo>
                <a:lnTo>
                  <a:pt x="644" y="101"/>
                </a:lnTo>
                <a:lnTo>
                  <a:pt x="647" y="96"/>
                </a:lnTo>
                <a:lnTo>
                  <a:pt x="649" y="92"/>
                </a:lnTo>
                <a:lnTo>
                  <a:pt x="650" y="90"/>
                </a:lnTo>
                <a:lnTo>
                  <a:pt x="650" y="87"/>
                </a:lnTo>
                <a:lnTo>
                  <a:pt x="652" y="82"/>
                </a:lnTo>
                <a:lnTo>
                  <a:pt x="652" y="77"/>
                </a:lnTo>
                <a:lnTo>
                  <a:pt x="652" y="72"/>
                </a:lnTo>
                <a:close/>
                <a:moveTo>
                  <a:pt x="811" y="120"/>
                </a:moveTo>
                <a:lnTo>
                  <a:pt x="811" y="107"/>
                </a:lnTo>
                <a:lnTo>
                  <a:pt x="813" y="95"/>
                </a:lnTo>
                <a:lnTo>
                  <a:pt x="816" y="83"/>
                </a:lnTo>
                <a:lnTo>
                  <a:pt x="820" y="71"/>
                </a:lnTo>
                <a:lnTo>
                  <a:pt x="822" y="66"/>
                </a:lnTo>
                <a:lnTo>
                  <a:pt x="825" y="61"/>
                </a:lnTo>
                <a:lnTo>
                  <a:pt x="830" y="51"/>
                </a:lnTo>
                <a:lnTo>
                  <a:pt x="834" y="46"/>
                </a:lnTo>
                <a:lnTo>
                  <a:pt x="837" y="42"/>
                </a:lnTo>
                <a:lnTo>
                  <a:pt x="845" y="34"/>
                </a:lnTo>
                <a:lnTo>
                  <a:pt x="854" y="26"/>
                </a:lnTo>
                <a:lnTo>
                  <a:pt x="863" y="19"/>
                </a:lnTo>
                <a:lnTo>
                  <a:pt x="873" y="14"/>
                </a:lnTo>
                <a:lnTo>
                  <a:pt x="883" y="9"/>
                </a:lnTo>
                <a:lnTo>
                  <a:pt x="894" y="5"/>
                </a:lnTo>
                <a:lnTo>
                  <a:pt x="905" y="3"/>
                </a:lnTo>
                <a:lnTo>
                  <a:pt x="917" y="1"/>
                </a:lnTo>
                <a:lnTo>
                  <a:pt x="929" y="0"/>
                </a:lnTo>
                <a:lnTo>
                  <a:pt x="942" y="1"/>
                </a:lnTo>
                <a:lnTo>
                  <a:pt x="949" y="2"/>
                </a:lnTo>
                <a:lnTo>
                  <a:pt x="955" y="3"/>
                </a:lnTo>
                <a:lnTo>
                  <a:pt x="967" y="7"/>
                </a:lnTo>
                <a:lnTo>
                  <a:pt x="978" y="12"/>
                </a:lnTo>
                <a:lnTo>
                  <a:pt x="983" y="14"/>
                </a:lnTo>
                <a:lnTo>
                  <a:pt x="988" y="17"/>
                </a:lnTo>
                <a:lnTo>
                  <a:pt x="997" y="24"/>
                </a:lnTo>
                <a:lnTo>
                  <a:pt x="1006" y="32"/>
                </a:lnTo>
                <a:lnTo>
                  <a:pt x="1013" y="41"/>
                </a:lnTo>
                <a:lnTo>
                  <a:pt x="997" y="52"/>
                </a:lnTo>
                <a:lnTo>
                  <a:pt x="994" y="48"/>
                </a:lnTo>
                <a:lnTo>
                  <a:pt x="991" y="45"/>
                </a:lnTo>
                <a:lnTo>
                  <a:pt x="984" y="38"/>
                </a:lnTo>
                <a:lnTo>
                  <a:pt x="976" y="33"/>
                </a:lnTo>
                <a:lnTo>
                  <a:pt x="968" y="28"/>
                </a:lnTo>
                <a:lnTo>
                  <a:pt x="959" y="24"/>
                </a:lnTo>
                <a:lnTo>
                  <a:pt x="954" y="22"/>
                </a:lnTo>
                <a:lnTo>
                  <a:pt x="949" y="21"/>
                </a:lnTo>
                <a:lnTo>
                  <a:pt x="944" y="20"/>
                </a:lnTo>
                <a:lnTo>
                  <a:pt x="939" y="19"/>
                </a:lnTo>
                <a:lnTo>
                  <a:pt x="934" y="19"/>
                </a:lnTo>
                <a:lnTo>
                  <a:pt x="929" y="18"/>
                </a:lnTo>
                <a:lnTo>
                  <a:pt x="919" y="19"/>
                </a:lnTo>
                <a:lnTo>
                  <a:pt x="909" y="20"/>
                </a:lnTo>
                <a:lnTo>
                  <a:pt x="905" y="21"/>
                </a:lnTo>
                <a:lnTo>
                  <a:pt x="900" y="23"/>
                </a:lnTo>
                <a:lnTo>
                  <a:pt x="891" y="26"/>
                </a:lnTo>
                <a:lnTo>
                  <a:pt x="883" y="30"/>
                </a:lnTo>
                <a:lnTo>
                  <a:pt x="875" y="35"/>
                </a:lnTo>
                <a:lnTo>
                  <a:pt x="867" y="40"/>
                </a:lnTo>
                <a:lnTo>
                  <a:pt x="864" y="43"/>
                </a:lnTo>
                <a:lnTo>
                  <a:pt x="860" y="47"/>
                </a:lnTo>
                <a:lnTo>
                  <a:pt x="854" y="54"/>
                </a:lnTo>
                <a:lnTo>
                  <a:pt x="848" y="61"/>
                </a:lnTo>
                <a:lnTo>
                  <a:pt x="843" y="70"/>
                </a:lnTo>
                <a:lnTo>
                  <a:pt x="839" y="79"/>
                </a:lnTo>
                <a:lnTo>
                  <a:pt x="836" y="88"/>
                </a:lnTo>
                <a:lnTo>
                  <a:pt x="833" y="98"/>
                </a:lnTo>
                <a:lnTo>
                  <a:pt x="832" y="109"/>
                </a:lnTo>
                <a:lnTo>
                  <a:pt x="831" y="120"/>
                </a:lnTo>
                <a:lnTo>
                  <a:pt x="832" y="131"/>
                </a:lnTo>
                <a:lnTo>
                  <a:pt x="833" y="142"/>
                </a:lnTo>
                <a:lnTo>
                  <a:pt x="836" y="152"/>
                </a:lnTo>
                <a:lnTo>
                  <a:pt x="839" y="161"/>
                </a:lnTo>
                <a:lnTo>
                  <a:pt x="843" y="170"/>
                </a:lnTo>
                <a:lnTo>
                  <a:pt x="848" y="179"/>
                </a:lnTo>
                <a:lnTo>
                  <a:pt x="854" y="186"/>
                </a:lnTo>
                <a:lnTo>
                  <a:pt x="860" y="194"/>
                </a:lnTo>
                <a:lnTo>
                  <a:pt x="867" y="200"/>
                </a:lnTo>
                <a:lnTo>
                  <a:pt x="871" y="203"/>
                </a:lnTo>
                <a:lnTo>
                  <a:pt x="875" y="206"/>
                </a:lnTo>
                <a:lnTo>
                  <a:pt x="883" y="210"/>
                </a:lnTo>
                <a:lnTo>
                  <a:pt x="891" y="214"/>
                </a:lnTo>
                <a:lnTo>
                  <a:pt x="900" y="218"/>
                </a:lnTo>
                <a:lnTo>
                  <a:pt x="909" y="220"/>
                </a:lnTo>
                <a:lnTo>
                  <a:pt x="919" y="222"/>
                </a:lnTo>
                <a:lnTo>
                  <a:pt x="929" y="222"/>
                </a:lnTo>
                <a:lnTo>
                  <a:pt x="939" y="221"/>
                </a:lnTo>
                <a:lnTo>
                  <a:pt x="949" y="220"/>
                </a:lnTo>
                <a:lnTo>
                  <a:pt x="954" y="218"/>
                </a:lnTo>
                <a:lnTo>
                  <a:pt x="959" y="217"/>
                </a:lnTo>
                <a:lnTo>
                  <a:pt x="968" y="213"/>
                </a:lnTo>
                <a:lnTo>
                  <a:pt x="972" y="210"/>
                </a:lnTo>
                <a:lnTo>
                  <a:pt x="976" y="208"/>
                </a:lnTo>
                <a:lnTo>
                  <a:pt x="984" y="202"/>
                </a:lnTo>
                <a:lnTo>
                  <a:pt x="991" y="196"/>
                </a:lnTo>
                <a:lnTo>
                  <a:pt x="994" y="192"/>
                </a:lnTo>
                <a:lnTo>
                  <a:pt x="997" y="188"/>
                </a:lnTo>
                <a:lnTo>
                  <a:pt x="1014" y="199"/>
                </a:lnTo>
                <a:lnTo>
                  <a:pt x="1010" y="203"/>
                </a:lnTo>
                <a:lnTo>
                  <a:pt x="1006" y="208"/>
                </a:lnTo>
                <a:lnTo>
                  <a:pt x="997" y="216"/>
                </a:lnTo>
                <a:lnTo>
                  <a:pt x="992" y="220"/>
                </a:lnTo>
                <a:lnTo>
                  <a:pt x="988" y="223"/>
                </a:lnTo>
                <a:lnTo>
                  <a:pt x="977" y="229"/>
                </a:lnTo>
                <a:lnTo>
                  <a:pt x="972" y="231"/>
                </a:lnTo>
                <a:lnTo>
                  <a:pt x="967" y="234"/>
                </a:lnTo>
                <a:lnTo>
                  <a:pt x="961" y="236"/>
                </a:lnTo>
                <a:lnTo>
                  <a:pt x="955" y="237"/>
                </a:lnTo>
                <a:lnTo>
                  <a:pt x="949" y="238"/>
                </a:lnTo>
                <a:lnTo>
                  <a:pt x="942" y="239"/>
                </a:lnTo>
                <a:lnTo>
                  <a:pt x="929" y="240"/>
                </a:lnTo>
                <a:lnTo>
                  <a:pt x="917" y="240"/>
                </a:lnTo>
                <a:lnTo>
                  <a:pt x="911" y="239"/>
                </a:lnTo>
                <a:lnTo>
                  <a:pt x="905" y="238"/>
                </a:lnTo>
                <a:lnTo>
                  <a:pt x="894" y="235"/>
                </a:lnTo>
                <a:lnTo>
                  <a:pt x="888" y="233"/>
                </a:lnTo>
                <a:lnTo>
                  <a:pt x="883" y="231"/>
                </a:lnTo>
                <a:lnTo>
                  <a:pt x="873" y="227"/>
                </a:lnTo>
                <a:lnTo>
                  <a:pt x="863" y="221"/>
                </a:lnTo>
                <a:lnTo>
                  <a:pt x="854" y="214"/>
                </a:lnTo>
                <a:lnTo>
                  <a:pt x="849" y="211"/>
                </a:lnTo>
                <a:lnTo>
                  <a:pt x="845" y="207"/>
                </a:lnTo>
                <a:lnTo>
                  <a:pt x="837" y="199"/>
                </a:lnTo>
                <a:lnTo>
                  <a:pt x="830" y="189"/>
                </a:lnTo>
                <a:lnTo>
                  <a:pt x="825" y="180"/>
                </a:lnTo>
                <a:lnTo>
                  <a:pt x="820" y="169"/>
                </a:lnTo>
                <a:lnTo>
                  <a:pt x="816" y="158"/>
                </a:lnTo>
                <a:lnTo>
                  <a:pt x="814" y="152"/>
                </a:lnTo>
                <a:lnTo>
                  <a:pt x="813" y="146"/>
                </a:lnTo>
                <a:lnTo>
                  <a:pt x="811" y="133"/>
                </a:lnTo>
                <a:lnTo>
                  <a:pt x="811" y="127"/>
                </a:lnTo>
                <a:lnTo>
                  <a:pt x="811" y="120"/>
                </a:lnTo>
                <a:close/>
                <a:moveTo>
                  <a:pt x="1049" y="236"/>
                </a:moveTo>
                <a:lnTo>
                  <a:pt x="1049" y="4"/>
                </a:lnTo>
                <a:lnTo>
                  <a:pt x="1069" y="4"/>
                </a:lnTo>
                <a:lnTo>
                  <a:pt x="1069" y="218"/>
                </a:lnTo>
                <a:lnTo>
                  <a:pt x="1181" y="218"/>
                </a:lnTo>
                <a:lnTo>
                  <a:pt x="1181" y="236"/>
                </a:lnTo>
                <a:lnTo>
                  <a:pt x="1049" y="236"/>
                </a:lnTo>
                <a:close/>
                <a:moveTo>
                  <a:pt x="1220" y="236"/>
                </a:moveTo>
                <a:lnTo>
                  <a:pt x="1220" y="4"/>
                </a:lnTo>
                <a:lnTo>
                  <a:pt x="1240" y="4"/>
                </a:lnTo>
                <a:lnTo>
                  <a:pt x="1240" y="236"/>
                </a:lnTo>
                <a:lnTo>
                  <a:pt x="1220" y="236"/>
                </a:lnTo>
                <a:close/>
                <a:moveTo>
                  <a:pt x="1301" y="236"/>
                </a:moveTo>
                <a:lnTo>
                  <a:pt x="1301" y="4"/>
                </a:lnTo>
                <a:lnTo>
                  <a:pt x="1448" y="4"/>
                </a:lnTo>
                <a:lnTo>
                  <a:pt x="1448" y="22"/>
                </a:lnTo>
                <a:lnTo>
                  <a:pt x="1320" y="22"/>
                </a:lnTo>
                <a:lnTo>
                  <a:pt x="1320" y="108"/>
                </a:lnTo>
                <a:lnTo>
                  <a:pt x="1445" y="108"/>
                </a:lnTo>
                <a:lnTo>
                  <a:pt x="1445" y="126"/>
                </a:lnTo>
                <a:lnTo>
                  <a:pt x="1320" y="126"/>
                </a:lnTo>
                <a:lnTo>
                  <a:pt x="1320" y="218"/>
                </a:lnTo>
                <a:lnTo>
                  <a:pt x="1448" y="218"/>
                </a:lnTo>
                <a:lnTo>
                  <a:pt x="1448" y="236"/>
                </a:lnTo>
                <a:lnTo>
                  <a:pt x="1301" y="236"/>
                </a:lnTo>
                <a:close/>
                <a:moveTo>
                  <a:pt x="1662" y="236"/>
                </a:moveTo>
                <a:lnTo>
                  <a:pt x="1516" y="37"/>
                </a:lnTo>
                <a:lnTo>
                  <a:pt x="1516" y="236"/>
                </a:lnTo>
                <a:lnTo>
                  <a:pt x="1496" y="236"/>
                </a:lnTo>
                <a:lnTo>
                  <a:pt x="1496" y="4"/>
                </a:lnTo>
                <a:lnTo>
                  <a:pt x="1516" y="4"/>
                </a:lnTo>
                <a:lnTo>
                  <a:pt x="1662" y="200"/>
                </a:lnTo>
                <a:lnTo>
                  <a:pt x="1662" y="4"/>
                </a:lnTo>
                <a:lnTo>
                  <a:pt x="1681" y="4"/>
                </a:lnTo>
                <a:lnTo>
                  <a:pt x="1681" y="236"/>
                </a:lnTo>
                <a:lnTo>
                  <a:pt x="1662" y="236"/>
                </a:lnTo>
                <a:close/>
                <a:moveTo>
                  <a:pt x="1798" y="236"/>
                </a:moveTo>
                <a:lnTo>
                  <a:pt x="1798" y="22"/>
                </a:lnTo>
                <a:lnTo>
                  <a:pt x="1722" y="22"/>
                </a:lnTo>
                <a:lnTo>
                  <a:pt x="1722" y="4"/>
                </a:lnTo>
                <a:lnTo>
                  <a:pt x="1893" y="4"/>
                </a:lnTo>
                <a:lnTo>
                  <a:pt x="1893" y="22"/>
                </a:lnTo>
                <a:lnTo>
                  <a:pt x="1818" y="22"/>
                </a:lnTo>
                <a:lnTo>
                  <a:pt x="1818" y="236"/>
                </a:lnTo>
                <a:lnTo>
                  <a:pt x="1798" y="236"/>
                </a:lnTo>
                <a:close/>
                <a:moveTo>
                  <a:pt x="1918" y="203"/>
                </a:moveTo>
                <a:lnTo>
                  <a:pt x="1931" y="188"/>
                </a:lnTo>
                <a:lnTo>
                  <a:pt x="1934" y="191"/>
                </a:lnTo>
                <a:lnTo>
                  <a:pt x="1937" y="195"/>
                </a:lnTo>
                <a:lnTo>
                  <a:pt x="1940" y="198"/>
                </a:lnTo>
                <a:lnTo>
                  <a:pt x="1944" y="201"/>
                </a:lnTo>
                <a:lnTo>
                  <a:pt x="1952" y="206"/>
                </a:lnTo>
                <a:lnTo>
                  <a:pt x="1960" y="212"/>
                </a:lnTo>
                <a:lnTo>
                  <a:pt x="1970" y="216"/>
                </a:lnTo>
                <a:lnTo>
                  <a:pt x="1975" y="218"/>
                </a:lnTo>
                <a:lnTo>
                  <a:pt x="1980" y="219"/>
                </a:lnTo>
                <a:lnTo>
                  <a:pt x="1986" y="220"/>
                </a:lnTo>
                <a:lnTo>
                  <a:pt x="1992" y="221"/>
                </a:lnTo>
                <a:lnTo>
                  <a:pt x="2004" y="222"/>
                </a:lnTo>
                <a:lnTo>
                  <a:pt x="2012" y="222"/>
                </a:lnTo>
                <a:lnTo>
                  <a:pt x="2020" y="221"/>
                </a:lnTo>
                <a:lnTo>
                  <a:pt x="2027" y="219"/>
                </a:lnTo>
                <a:lnTo>
                  <a:pt x="2033" y="218"/>
                </a:lnTo>
                <a:lnTo>
                  <a:pt x="2039" y="215"/>
                </a:lnTo>
                <a:lnTo>
                  <a:pt x="2044" y="213"/>
                </a:lnTo>
                <a:lnTo>
                  <a:pt x="2048" y="210"/>
                </a:lnTo>
                <a:lnTo>
                  <a:pt x="2052" y="206"/>
                </a:lnTo>
                <a:lnTo>
                  <a:pt x="2055" y="203"/>
                </a:lnTo>
                <a:lnTo>
                  <a:pt x="2058" y="199"/>
                </a:lnTo>
                <a:lnTo>
                  <a:pt x="2060" y="195"/>
                </a:lnTo>
                <a:lnTo>
                  <a:pt x="2062" y="191"/>
                </a:lnTo>
                <a:lnTo>
                  <a:pt x="2064" y="183"/>
                </a:lnTo>
                <a:lnTo>
                  <a:pt x="2064" y="176"/>
                </a:lnTo>
                <a:lnTo>
                  <a:pt x="2064" y="170"/>
                </a:lnTo>
                <a:lnTo>
                  <a:pt x="2063" y="164"/>
                </a:lnTo>
                <a:lnTo>
                  <a:pt x="2061" y="159"/>
                </a:lnTo>
                <a:lnTo>
                  <a:pt x="2058" y="155"/>
                </a:lnTo>
                <a:lnTo>
                  <a:pt x="2055" y="151"/>
                </a:lnTo>
                <a:lnTo>
                  <a:pt x="2052" y="147"/>
                </a:lnTo>
                <a:lnTo>
                  <a:pt x="2047" y="144"/>
                </a:lnTo>
                <a:lnTo>
                  <a:pt x="2043" y="141"/>
                </a:lnTo>
                <a:lnTo>
                  <a:pt x="2038" y="138"/>
                </a:lnTo>
                <a:lnTo>
                  <a:pt x="2032" y="136"/>
                </a:lnTo>
                <a:lnTo>
                  <a:pt x="2020" y="131"/>
                </a:lnTo>
                <a:lnTo>
                  <a:pt x="2008" y="127"/>
                </a:lnTo>
                <a:lnTo>
                  <a:pt x="1995" y="124"/>
                </a:lnTo>
                <a:lnTo>
                  <a:pt x="1982" y="120"/>
                </a:lnTo>
                <a:lnTo>
                  <a:pt x="1969" y="116"/>
                </a:lnTo>
                <a:lnTo>
                  <a:pt x="1958" y="111"/>
                </a:lnTo>
                <a:lnTo>
                  <a:pt x="1952" y="108"/>
                </a:lnTo>
                <a:lnTo>
                  <a:pt x="1947" y="104"/>
                </a:lnTo>
                <a:lnTo>
                  <a:pt x="1942" y="101"/>
                </a:lnTo>
                <a:lnTo>
                  <a:pt x="1938" y="97"/>
                </a:lnTo>
                <a:lnTo>
                  <a:pt x="1935" y="92"/>
                </a:lnTo>
                <a:lnTo>
                  <a:pt x="1931" y="87"/>
                </a:lnTo>
                <a:lnTo>
                  <a:pt x="1929" y="82"/>
                </a:lnTo>
                <a:lnTo>
                  <a:pt x="1927" y="76"/>
                </a:lnTo>
                <a:lnTo>
                  <a:pt x="1926" y="69"/>
                </a:lnTo>
                <a:lnTo>
                  <a:pt x="1925" y="62"/>
                </a:lnTo>
                <a:lnTo>
                  <a:pt x="1926" y="55"/>
                </a:lnTo>
                <a:lnTo>
                  <a:pt x="1927" y="49"/>
                </a:lnTo>
                <a:lnTo>
                  <a:pt x="1929" y="42"/>
                </a:lnTo>
                <a:lnTo>
                  <a:pt x="1931" y="36"/>
                </a:lnTo>
                <a:lnTo>
                  <a:pt x="1935" y="31"/>
                </a:lnTo>
                <a:lnTo>
                  <a:pt x="1938" y="26"/>
                </a:lnTo>
                <a:lnTo>
                  <a:pt x="1941" y="24"/>
                </a:lnTo>
                <a:lnTo>
                  <a:pt x="1943" y="21"/>
                </a:lnTo>
                <a:lnTo>
                  <a:pt x="1948" y="17"/>
                </a:lnTo>
                <a:lnTo>
                  <a:pt x="1953" y="13"/>
                </a:lnTo>
                <a:lnTo>
                  <a:pt x="1959" y="10"/>
                </a:lnTo>
                <a:lnTo>
                  <a:pt x="1965" y="7"/>
                </a:lnTo>
                <a:lnTo>
                  <a:pt x="1972" y="5"/>
                </a:lnTo>
                <a:lnTo>
                  <a:pt x="1979" y="3"/>
                </a:lnTo>
                <a:lnTo>
                  <a:pt x="1986" y="1"/>
                </a:lnTo>
                <a:lnTo>
                  <a:pt x="1994" y="1"/>
                </a:lnTo>
                <a:lnTo>
                  <a:pt x="2002" y="0"/>
                </a:lnTo>
                <a:lnTo>
                  <a:pt x="2014" y="1"/>
                </a:lnTo>
                <a:lnTo>
                  <a:pt x="2020" y="2"/>
                </a:lnTo>
                <a:lnTo>
                  <a:pt x="2026" y="2"/>
                </a:lnTo>
                <a:lnTo>
                  <a:pt x="2037" y="5"/>
                </a:lnTo>
                <a:lnTo>
                  <a:pt x="2042" y="7"/>
                </a:lnTo>
                <a:lnTo>
                  <a:pt x="2047" y="9"/>
                </a:lnTo>
                <a:lnTo>
                  <a:pt x="2057" y="14"/>
                </a:lnTo>
                <a:lnTo>
                  <a:pt x="2065" y="19"/>
                </a:lnTo>
                <a:lnTo>
                  <a:pt x="2073" y="26"/>
                </a:lnTo>
                <a:lnTo>
                  <a:pt x="2080" y="33"/>
                </a:lnTo>
                <a:lnTo>
                  <a:pt x="2067" y="48"/>
                </a:lnTo>
                <a:lnTo>
                  <a:pt x="2060" y="41"/>
                </a:lnTo>
                <a:lnTo>
                  <a:pt x="2057" y="37"/>
                </a:lnTo>
                <a:lnTo>
                  <a:pt x="2053" y="34"/>
                </a:lnTo>
                <a:lnTo>
                  <a:pt x="2045" y="29"/>
                </a:lnTo>
                <a:lnTo>
                  <a:pt x="2037" y="25"/>
                </a:lnTo>
                <a:lnTo>
                  <a:pt x="2033" y="24"/>
                </a:lnTo>
                <a:lnTo>
                  <a:pt x="2029" y="22"/>
                </a:lnTo>
                <a:lnTo>
                  <a:pt x="2020" y="20"/>
                </a:lnTo>
                <a:lnTo>
                  <a:pt x="2010" y="19"/>
                </a:lnTo>
                <a:lnTo>
                  <a:pt x="2000" y="18"/>
                </a:lnTo>
                <a:lnTo>
                  <a:pt x="1989" y="19"/>
                </a:lnTo>
                <a:lnTo>
                  <a:pt x="1984" y="20"/>
                </a:lnTo>
                <a:lnTo>
                  <a:pt x="1979" y="22"/>
                </a:lnTo>
                <a:lnTo>
                  <a:pt x="1974" y="23"/>
                </a:lnTo>
                <a:lnTo>
                  <a:pt x="1970" y="25"/>
                </a:lnTo>
                <a:lnTo>
                  <a:pt x="1962" y="30"/>
                </a:lnTo>
                <a:lnTo>
                  <a:pt x="1958" y="33"/>
                </a:lnTo>
                <a:lnTo>
                  <a:pt x="1955" y="37"/>
                </a:lnTo>
                <a:lnTo>
                  <a:pt x="1953" y="40"/>
                </a:lnTo>
                <a:lnTo>
                  <a:pt x="1950" y="44"/>
                </a:lnTo>
                <a:lnTo>
                  <a:pt x="1949" y="48"/>
                </a:lnTo>
                <a:lnTo>
                  <a:pt x="1947" y="52"/>
                </a:lnTo>
                <a:lnTo>
                  <a:pt x="1947" y="56"/>
                </a:lnTo>
                <a:lnTo>
                  <a:pt x="1946" y="61"/>
                </a:lnTo>
                <a:lnTo>
                  <a:pt x="1947" y="66"/>
                </a:lnTo>
                <a:lnTo>
                  <a:pt x="1948" y="71"/>
                </a:lnTo>
                <a:lnTo>
                  <a:pt x="1950" y="76"/>
                </a:lnTo>
                <a:lnTo>
                  <a:pt x="1952" y="79"/>
                </a:lnTo>
                <a:lnTo>
                  <a:pt x="1955" y="83"/>
                </a:lnTo>
                <a:lnTo>
                  <a:pt x="1959" y="86"/>
                </a:lnTo>
                <a:lnTo>
                  <a:pt x="1968" y="92"/>
                </a:lnTo>
                <a:lnTo>
                  <a:pt x="1973" y="94"/>
                </a:lnTo>
                <a:lnTo>
                  <a:pt x="1979" y="96"/>
                </a:lnTo>
                <a:lnTo>
                  <a:pt x="1990" y="100"/>
                </a:lnTo>
                <a:lnTo>
                  <a:pt x="2016" y="108"/>
                </a:lnTo>
                <a:lnTo>
                  <a:pt x="2029" y="112"/>
                </a:lnTo>
                <a:lnTo>
                  <a:pt x="2041" y="116"/>
                </a:lnTo>
                <a:lnTo>
                  <a:pt x="2053" y="122"/>
                </a:lnTo>
                <a:lnTo>
                  <a:pt x="2058" y="125"/>
                </a:lnTo>
                <a:lnTo>
                  <a:pt x="2064" y="129"/>
                </a:lnTo>
                <a:lnTo>
                  <a:pt x="2068" y="133"/>
                </a:lnTo>
                <a:lnTo>
                  <a:pt x="2070" y="135"/>
                </a:lnTo>
                <a:lnTo>
                  <a:pt x="2072" y="137"/>
                </a:lnTo>
                <a:lnTo>
                  <a:pt x="2076" y="142"/>
                </a:lnTo>
                <a:lnTo>
                  <a:pt x="2079" y="147"/>
                </a:lnTo>
                <a:lnTo>
                  <a:pt x="2082" y="153"/>
                </a:lnTo>
                <a:lnTo>
                  <a:pt x="2084" y="160"/>
                </a:lnTo>
                <a:lnTo>
                  <a:pt x="2085" y="167"/>
                </a:lnTo>
                <a:lnTo>
                  <a:pt x="2085" y="174"/>
                </a:lnTo>
                <a:lnTo>
                  <a:pt x="2085" y="180"/>
                </a:lnTo>
                <a:lnTo>
                  <a:pt x="2084" y="186"/>
                </a:lnTo>
                <a:lnTo>
                  <a:pt x="2081" y="197"/>
                </a:lnTo>
                <a:lnTo>
                  <a:pt x="2079" y="203"/>
                </a:lnTo>
                <a:lnTo>
                  <a:pt x="2076" y="208"/>
                </a:lnTo>
                <a:lnTo>
                  <a:pt x="2072" y="214"/>
                </a:lnTo>
                <a:lnTo>
                  <a:pt x="2068" y="218"/>
                </a:lnTo>
                <a:lnTo>
                  <a:pt x="2062" y="223"/>
                </a:lnTo>
                <a:lnTo>
                  <a:pt x="2056" y="227"/>
                </a:lnTo>
                <a:lnTo>
                  <a:pt x="2050" y="231"/>
                </a:lnTo>
                <a:lnTo>
                  <a:pt x="2042" y="234"/>
                </a:lnTo>
                <a:lnTo>
                  <a:pt x="2034" y="237"/>
                </a:lnTo>
                <a:lnTo>
                  <a:pt x="2024" y="238"/>
                </a:lnTo>
                <a:lnTo>
                  <a:pt x="2014" y="240"/>
                </a:lnTo>
                <a:lnTo>
                  <a:pt x="2003" y="240"/>
                </a:lnTo>
                <a:lnTo>
                  <a:pt x="1989" y="239"/>
                </a:lnTo>
                <a:lnTo>
                  <a:pt x="1976" y="237"/>
                </a:lnTo>
                <a:lnTo>
                  <a:pt x="1964" y="234"/>
                </a:lnTo>
                <a:lnTo>
                  <a:pt x="1953" y="230"/>
                </a:lnTo>
                <a:lnTo>
                  <a:pt x="1943" y="224"/>
                </a:lnTo>
                <a:lnTo>
                  <a:pt x="1933" y="218"/>
                </a:lnTo>
                <a:lnTo>
                  <a:pt x="1929" y="215"/>
                </a:lnTo>
                <a:lnTo>
                  <a:pt x="1925" y="211"/>
                </a:lnTo>
                <a:lnTo>
                  <a:pt x="1918" y="203"/>
                </a:lnTo>
                <a:close/>
                <a:moveTo>
                  <a:pt x="2427" y="236"/>
                </a:moveTo>
                <a:lnTo>
                  <a:pt x="2427" y="29"/>
                </a:lnTo>
                <a:lnTo>
                  <a:pt x="2342" y="236"/>
                </a:lnTo>
                <a:lnTo>
                  <a:pt x="2334" y="236"/>
                </a:lnTo>
                <a:lnTo>
                  <a:pt x="2250" y="29"/>
                </a:lnTo>
                <a:lnTo>
                  <a:pt x="2250" y="236"/>
                </a:lnTo>
                <a:lnTo>
                  <a:pt x="2230" y="236"/>
                </a:lnTo>
                <a:lnTo>
                  <a:pt x="2230" y="4"/>
                </a:lnTo>
                <a:lnTo>
                  <a:pt x="2259" y="4"/>
                </a:lnTo>
                <a:lnTo>
                  <a:pt x="2338" y="197"/>
                </a:lnTo>
                <a:lnTo>
                  <a:pt x="2417" y="4"/>
                </a:lnTo>
                <a:lnTo>
                  <a:pt x="2447" y="4"/>
                </a:lnTo>
                <a:lnTo>
                  <a:pt x="2447" y="236"/>
                </a:lnTo>
                <a:lnTo>
                  <a:pt x="2427" y="236"/>
                </a:lnTo>
                <a:close/>
                <a:moveTo>
                  <a:pt x="2676" y="236"/>
                </a:moveTo>
                <a:lnTo>
                  <a:pt x="2653" y="179"/>
                </a:lnTo>
                <a:lnTo>
                  <a:pt x="2530" y="179"/>
                </a:lnTo>
                <a:lnTo>
                  <a:pt x="2507" y="236"/>
                </a:lnTo>
                <a:lnTo>
                  <a:pt x="2484" y="236"/>
                </a:lnTo>
                <a:lnTo>
                  <a:pt x="2580" y="4"/>
                </a:lnTo>
                <a:lnTo>
                  <a:pt x="2604" y="4"/>
                </a:lnTo>
                <a:lnTo>
                  <a:pt x="2699" y="236"/>
                </a:lnTo>
                <a:lnTo>
                  <a:pt x="2676" y="236"/>
                </a:lnTo>
                <a:close/>
                <a:moveTo>
                  <a:pt x="2592" y="25"/>
                </a:moveTo>
                <a:lnTo>
                  <a:pt x="2536" y="161"/>
                </a:lnTo>
                <a:lnTo>
                  <a:pt x="2647" y="161"/>
                </a:lnTo>
                <a:lnTo>
                  <a:pt x="2592" y="25"/>
                </a:lnTo>
                <a:close/>
                <a:moveTo>
                  <a:pt x="2877" y="236"/>
                </a:moveTo>
                <a:lnTo>
                  <a:pt x="2782" y="127"/>
                </a:lnTo>
                <a:lnTo>
                  <a:pt x="2756" y="155"/>
                </a:lnTo>
                <a:lnTo>
                  <a:pt x="2756" y="236"/>
                </a:lnTo>
                <a:lnTo>
                  <a:pt x="2736" y="236"/>
                </a:lnTo>
                <a:lnTo>
                  <a:pt x="2736" y="4"/>
                </a:lnTo>
                <a:lnTo>
                  <a:pt x="2756" y="4"/>
                </a:lnTo>
                <a:lnTo>
                  <a:pt x="2756" y="131"/>
                </a:lnTo>
                <a:lnTo>
                  <a:pt x="2868" y="4"/>
                </a:lnTo>
                <a:lnTo>
                  <a:pt x="2893" y="4"/>
                </a:lnTo>
                <a:lnTo>
                  <a:pt x="2795" y="115"/>
                </a:lnTo>
                <a:lnTo>
                  <a:pt x="2903" y="236"/>
                </a:lnTo>
                <a:lnTo>
                  <a:pt x="2877" y="236"/>
                </a:lnTo>
                <a:close/>
                <a:moveTo>
                  <a:pt x="2941" y="236"/>
                </a:moveTo>
                <a:lnTo>
                  <a:pt x="2941" y="4"/>
                </a:lnTo>
                <a:lnTo>
                  <a:pt x="3088" y="4"/>
                </a:lnTo>
                <a:lnTo>
                  <a:pt x="3088" y="22"/>
                </a:lnTo>
                <a:lnTo>
                  <a:pt x="2961" y="22"/>
                </a:lnTo>
                <a:lnTo>
                  <a:pt x="2961" y="108"/>
                </a:lnTo>
                <a:lnTo>
                  <a:pt x="3085" y="108"/>
                </a:lnTo>
                <a:lnTo>
                  <a:pt x="3085" y="126"/>
                </a:lnTo>
                <a:lnTo>
                  <a:pt x="2961" y="126"/>
                </a:lnTo>
                <a:lnTo>
                  <a:pt x="2961" y="218"/>
                </a:lnTo>
                <a:lnTo>
                  <a:pt x="3088" y="218"/>
                </a:lnTo>
                <a:lnTo>
                  <a:pt x="3088" y="236"/>
                </a:lnTo>
                <a:lnTo>
                  <a:pt x="2941" y="236"/>
                </a:lnTo>
                <a:close/>
                <a:moveTo>
                  <a:pt x="3293" y="236"/>
                </a:moveTo>
                <a:lnTo>
                  <a:pt x="3293" y="22"/>
                </a:lnTo>
                <a:lnTo>
                  <a:pt x="3217" y="22"/>
                </a:lnTo>
                <a:lnTo>
                  <a:pt x="3217" y="4"/>
                </a:lnTo>
                <a:lnTo>
                  <a:pt x="3388" y="4"/>
                </a:lnTo>
                <a:lnTo>
                  <a:pt x="3388" y="22"/>
                </a:lnTo>
                <a:lnTo>
                  <a:pt x="3313" y="22"/>
                </a:lnTo>
                <a:lnTo>
                  <a:pt x="3313" y="236"/>
                </a:lnTo>
                <a:lnTo>
                  <a:pt x="3293" y="236"/>
                </a:lnTo>
                <a:close/>
                <a:moveTo>
                  <a:pt x="3596" y="236"/>
                </a:moveTo>
                <a:lnTo>
                  <a:pt x="3596" y="126"/>
                </a:lnTo>
                <a:lnTo>
                  <a:pt x="3449" y="126"/>
                </a:lnTo>
                <a:lnTo>
                  <a:pt x="3449" y="236"/>
                </a:lnTo>
                <a:lnTo>
                  <a:pt x="3429" y="236"/>
                </a:lnTo>
                <a:lnTo>
                  <a:pt x="3429" y="4"/>
                </a:lnTo>
                <a:lnTo>
                  <a:pt x="3449" y="4"/>
                </a:lnTo>
                <a:lnTo>
                  <a:pt x="3449" y="108"/>
                </a:lnTo>
                <a:lnTo>
                  <a:pt x="3596" y="108"/>
                </a:lnTo>
                <a:lnTo>
                  <a:pt x="3596" y="4"/>
                </a:lnTo>
                <a:lnTo>
                  <a:pt x="3615" y="4"/>
                </a:lnTo>
                <a:lnTo>
                  <a:pt x="3615" y="236"/>
                </a:lnTo>
                <a:lnTo>
                  <a:pt x="3596" y="236"/>
                </a:lnTo>
                <a:close/>
                <a:moveTo>
                  <a:pt x="3677" y="236"/>
                </a:moveTo>
                <a:lnTo>
                  <a:pt x="3677" y="4"/>
                </a:lnTo>
                <a:lnTo>
                  <a:pt x="3824" y="4"/>
                </a:lnTo>
                <a:lnTo>
                  <a:pt x="3824" y="22"/>
                </a:lnTo>
                <a:lnTo>
                  <a:pt x="3697" y="22"/>
                </a:lnTo>
                <a:lnTo>
                  <a:pt x="3697" y="108"/>
                </a:lnTo>
                <a:lnTo>
                  <a:pt x="3822" y="108"/>
                </a:lnTo>
                <a:lnTo>
                  <a:pt x="3822" y="126"/>
                </a:lnTo>
                <a:lnTo>
                  <a:pt x="3697" y="126"/>
                </a:lnTo>
                <a:lnTo>
                  <a:pt x="3697" y="218"/>
                </a:lnTo>
                <a:lnTo>
                  <a:pt x="3824" y="218"/>
                </a:lnTo>
                <a:lnTo>
                  <a:pt x="3824" y="236"/>
                </a:lnTo>
                <a:lnTo>
                  <a:pt x="3677" y="236"/>
                </a:lnTo>
                <a:close/>
                <a:moveTo>
                  <a:pt x="4148" y="236"/>
                </a:moveTo>
                <a:lnTo>
                  <a:pt x="4092" y="37"/>
                </a:lnTo>
                <a:lnTo>
                  <a:pt x="4036" y="236"/>
                </a:lnTo>
                <a:lnTo>
                  <a:pt x="4014" y="236"/>
                </a:lnTo>
                <a:lnTo>
                  <a:pt x="3948" y="4"/>
                </a:lnTo>
                <a:lnTo>
                  <a:pt x="3970" y="4"/>
                </a:lnTo>
                <a:lnTo>
                  <a:pt x="4026" y="208"/>
                </a:lnTo>
                <a:lnTo>
                  <a:pt x="4083" y="4"/>
                </a:lnTo>
                <a:lnTo>
                  <a:pt x="4101" y="4"/>
                </a:lnTo>
                <a:lnTo>
                  <a:pt x="4158" y="208"/>
                </a:lnTo>
                <a:lnTo>
                  <a:pt x="4214" y="4"/>
                </a:lnTo>
                <a:lnTo>
                  <a:pt x="4236" y="4"/>
                </a:lnTo>
                <a:lnTo>
                  <a:pt x="4170" y="236"/>
                </a:lnTo>
                <a:lnTo>
                  <a:pt x="4148" y="236"/>
                </a:lnTo>
                <a:close/>
                <a:moveTo>
                  <a:pt x="4259" y="120"/>
                </a:moveTo>
                <a:lnTo>
                  <a:pt x="4260" y="108"/>
                </a:lnTo>
                <a:lnTo>
                  <a:pt x="4260" y="102"/>
                </a:lnTo>
                <a:lnTo>
                  <a:pt x="4261" y="96"/>
                </a:lnTo>
                <a:lnTo>
                  <a:pt x="4264" y="84"/>
                </a:lnTo>
                <a:lnTo>
                  <a:pt x="4267" y="73"/>
                </a:lnTo>
                <a:lnTo>
                  <a:pt x="4271" y="62"/>
                </a:lnTo>
                <a:lnTo>
                  <a:pt x="4274" y="57"/>
                </a:lnTo>
                <a:lnTo>
                  <a:pt x="4277" y="52"/>
                </a:lnTo>
                <a:lnTo>
                  <a:pt x="4283" y="43"/>
                </a:lnTo>
                <a:lnTo>
                  <a:pt x="4290" y="35"/>
                </a:lnTo>
                <a:lnTo>
                  <a:pt x="4298" y="27"/>
                </a:lnTo>
                <a:lnTo>
                  <a:pt x="4302" y="24"/>
                </a:lnTo>
                <a:lnTo>
                  <a:pt x="4306" y="20"/>
                </a:lnTo>
                <a:lnTo>
                  <a:pt x="4315" y="14"/>
                </a:lnTo>
                <a:lnTo>
                  <a:pt x="4325" y="9"/>
                </a:lnTo>
                <a:lnTo>
                  <a:pt x="4336" y="6"/>
                </a:lnTo>
                <a:lnTo>
                  <a:pt x="4347" y="3"/>
                </a:lnTo>
                <a:lnTo>
                  <a:pt x="4359" y="1"/>
                </a:lnTo>
                <a:lnTo>
                  <a:pt x="4365" y="0"/>
                </a:lnTo>
                <a:lnTo>
                  <a:pt x="4372" y="0"/>
                </a:lnTo>
                <a:lnTo>
                  <a:pt x="4384" y="1"/>
                </a:lnTo>
                <a:lnTo>
                  <a:pt x="4396" y="3"/>
                </a:lnTo>
                <a:lnTo>
                  <a:pt x="4407" y="6"/>
                </a:lnTo>
                <a:lnTo>
                  <a:pt x="4418" y="9"/>
                </a:lnTo>
                <a:lnTo>
                  <a:pt x="4428" y="14"/>
                </a:lnTo>
                <a:lnTo>
                  <a:pt x="4432" y="17"/>
                </a:lnTo>
                <a:lnTo>
                  <a:pt x="4437" y="20"/>
                </a:lnTo>
                <a:lnTo>
                  <a:pt x="4441" y="24"/>
                </a:lnTo>
                <a:lnTo>
                  <a:pt x="4446" y="27"/>
                </a:lnTo>
                <a:lnTo>
                  <a:pt x="4453" y="35"/>
                </a:lnTo>
                <a:lnTo>
                  <a:pt x="4460" y="43"/>
                </a:lnTo>
                <a:lnTo>
                  <a:pt x="4466" y="52"/>
                </a:lnTo>
                <a:lnTo>
                  <a:pt x="4469" y="57"/>
                </a:lnTo>
                <a:lnTo>
                  <a:pt x="4472" y="62"/>
                </a:lnTo>
                <a:lnTo>
                  <a:pt x="4476" y="73"/>
                </a:lnTo>
                <a:lnTo>
                  <a:pt x="4480" y="84"/>
                </a:lnTo>
                <a:lnTo>
                  <a:pt x="4482" y="96"/>
                </a:lnTo>
                <a:lnTo>
                  <a:pt x="4484" y="108"/>
                </a:lnTo>
                <a:lnTo>
                  <a:pt x="4484" y="120"/>
                </a:lnTo>
                <a:lnTo>
                  <a:pt x="4484" y="133"/>
                </a:lnTo>
                <a:lnTo>
                  <a:pt x="4483" y="139"/>
                </a:lnTo>
                <a:lnTo>
                  <a:pt x="4482" y="145"/>
                </a:lnTo>
                <a:lnTo>
                  <a:pt x="4480" y="156"/>
                </a:lnTo>
                <a:lnTo>
                  <a:pt x="4476" y="168"/>
                </a:lnTo>
                <a:lnTo>
                  <a:pt x="4472" y="178"/>
                </a:lnTo>
                <a:lnTo>
                  <a:pt x="4469" y="183"/>
                </a:lnTo>
                <a:lnTo>
                  <a:pt x="4466" y="188"/>
                </a:lnTo>
                <a:lnTo>
                  <a:pt x="4460" y="197"/>
                </a:lnTo>
                <a:lnTo>
                  <a:pt x="4453" y="206"/>
                </a:lnTo>
                <a:lnTo>
                  <a:pt x="4446" y="213"/>
                </a:lnTo>
                <a:lnTo>
                  <a:pt x="4441" y="217"/>
                </a:lnTo>
                <a:lnTo>
                  <a:pt x="4437" y="220"/>
                </a:lnTo>
                <a:lnTo>
                  <a:pt x="4428" y="226"/>
                </a:lnTo>
                <a:lnTo>
                  <a:pt x="4418" y="231"/>
                </a:lnTo>
                <a:lnTo>
                  <a:pt x="4407" y="235"/>
                </a:lnTo>
                <a:lnTo>
                  <a:pt x="4396" y="238"/>
                </a:lnTo>
                <a:lnTo>
                  <a:pt x="4384" y="239"/>
                </a:lnTo>
                <a:lnTo>
                  <a:pt x="4378" y="240"/>
                </a:lnTo>
                <a:lnTo>
                  <a:pt x="4372" y="240"/>
                </a:lnTo>
                <a:lnTo>
                  <a:pt x="4359" y="239"/>
                </a:lnTo>
                <a:lnTo>
                  <a:pt x="4347" y="238"/>
                </a:lnTo>
                <a:lnTo>
                  <a:pt x="4342" y="236"/>
                </a:lnTo>
                <a:lnTo>
                  <a:pt x="4336" y="235"/>
                </a:lnTo>
                <a:lnTo>
                  <a:pt x="4325" y="231"/>
                </a:lnTo>
                <a:lnTo>
                  <a:pt x="4315" y="226"/>
                </a:lnTo>
                <a:lnTo>
                  <a:pt x="4311" y="223"/>
                </a:lnTo>
                <a:lnTo>
                  <a:pt x="4306" y="220"/>
                </a:lnTo>
                <a:lnTo>
                  <a:pt x="4302" y="217"/>
                </a:lnTo>
                <a:lnTo>
                  <a:pt x="4298" y="213"/>
                </a:lnTo>
                <a:lnTo>
                  <a:pt x="4290" y="206"/>
                </a:lnTo>
                <a:lnTo>
                  <a:pt x="4283" y="197"/>
                </a:lnTo>
                <a:lnTo>
                  <a:pt x="4277" y="188"/>
                </a:lnTo>
                <a:lnTo>
                  <a:pt x="4274" y="183"/>
                </a:lnTo>
                <a:lnTo>
                  <a:pt x="4271" y="178"/>
                </a:lnTo>
                <a:lnTo>
                  <a:pt x="4267" y="168"/>
                </a:lnTo>
                <a:lnTo>
                  <a:pt x="4264" y="156"/>
                </a:lnTo>
                <a:lnTo>
                  <a:pt x="4261" y="145"/>
                </a:lnTo>
                <a:lnTo>
                  <a:pt x="4260" y="133"/>
                </a:lnTo>
                <a:lnTo>
                  <a:pt x="4259" y="120"/>
                </a:lnTo>
                <a:close/>
                <a:moveTo>
                  <a:pt x="4463" y="120"/>
                </a:moveTo>
                <a:lnTo>
                  <a:pt x="4463" y="109"/>
                </a:lnTo>
                <a:lnTo>
                  <a:pt x="4462" y="99"/>
                </a:lnTo>
                <a:lnTo>
                  <a:pt x="4460" y="89"/>
                </a:lnTo>
                <a:lnTo>
                  <a:pt x="4457" y="79"/>
                </a:lnTo>
                <a:lnTo>
                  <a:pt x="4453" y="71"/>
                </a:lnTo>
                <a:lnTo>
                  <a:pt x="4449" y="62"/>
                </a:lnTo>
                <a:lnTo>
                  <a:pt x="4444" y="54"/>
                </a:lnTo>
                <a:lnTo>
                  <a:pt x="4438" y="47"/>
                </a:lnTo>
                <a:lnTo>
                  <a:pt x="4432" y="41"/>
                </a:lnTo>
                <a:lnTo>
                  <a:pt x="4425" y="35"/>
                </a:lnTo>
                <a:lnTo>
                  <a:pt x="4418" y="30"/>
                </a:lnTo>
                <a:lnTo>
                  <a:pt x="4409" y="26"/>
                </a:lnTo>
                <a:lnTo>
                  <a:pt x="4401" y="23"/>
                </a:lnTo>
                <a:lnTo>
                  <a:pt x="4392" y="20"/>
                </a:lnTo>
                <a:lnTo>
                  <a:pt x="4382" y="19"/>
                </a:lnTo>
                <a:lnTo>
                  <a:pt x="4372" y="18"/>
                </a:lnTo>
                <a:lnTo>
                  <a:pt x="4361" y="19"/>
                </a:lnTo>
                <a:lnTo>
                  <a:pt x="4352" y="20"/>
                </a:lnTo>
                <a:lnTo>
                  <a:pt x="4342" y="23"/>
                </a:lnTo>
                <a:lnTo>
                  <a:pt x="4334" y="26"/>
                </a:lnTo>
                <a:lnTo>
                  <a:pt x="4330" y="28"/>
                </a:lnTo>
                <a:lnTo>
                  <a:pt x="4326" y="30"/>
                </a:lnTo>
                <a:lnTo>
                  <a:pt x="4318" y="35"/>
                </a:lnTo>
                <a:lnTo>
                  <a:pt x="4311" y="41"/>
                </a:lnTo>
                <a:lnTo>
                  <a:pt x="4305" y="47"/>
                </a:lnTo>
                <a:lnTo>
                  <a:pt x="4299" y="54"/>
                </a:lnTo>
                <a:lnTo>
                  <a:pt x="4294" y="62"/>
                </a:lnTo>
                <a:lnTo>
                  <a:pt x="4290" y="71"/>
                </a:lnTo>
                <a:lnTo>
                  <a:pt x="4286" y="79"/>
                </a:lnTo>
                <a:lnTo>
                  <a:pt x="4284" y="89"/>
                </a:lnTo>
                <a:lnTo>
                  <a:pt x="4282" y="99"/>
                </a:lnTo>
                <a:lnTo>
                  <a:pt x="4280" y="109"/>
                </a:lnTo>
                <a:lnTo>
                  <a:pt x="4280" y="120"/>
                </a:lnTo>
                <a:lnTo>
                  <a:pt x="4280" y="131"/>
                </a:lnTo>
                <a:lnTo>
                  <a:pt x="4282" y="141"/>
                </a:lnTo>
                <a:lnTo>
                  <a:pt x="4284" y="151"/>
                </a:lnTo>
                <a:lnTo>
                  <a:pt x="4286" y="161"/>
                </a:lnTo>
                <a:lnTo>
                  <a:pt x="4290" y="170"/>
                </a:lnTo>
                <a:lnTo>
                  <a:pt x="4294" y="178"/>
                </a:lnTo>
                <a:lnTo>
                  <a:pt x="4299" y="186"/>
                </a:lnTo>
                <a:lnTo>
                  <a:pt x="4305" y="193"/>
                </a:lnTo>
                <a:lnTo>
                  <a:pt x="4311" y="199"/>
                </a:lnTo>
                <a:lnTo>
                  <a:pt x="4318" y="205"/>
                </a:lnTo>
                <a:lnTo>
                  <a:pt x="4326" y="210"/>
                </a:lnTo>
                <a:lnTo>
                  <a:pt x="4334" y="214"/>
                </a:lnTo>
                <a:lnTo>
                  <a:pt x="4342" y="218"/>
                </a:lnTo>
                <a:lnTo>
                  <a:pt x="4352" y="220"/>
                </a:lnTo>
                <a:lnTo>
                  <a:pt x="4361" y="222"/>
                </a:lnTo>
                <a:lnTo>
                  <a:pt x="4372" y="222"/>
                </a:lnTo>
                <a:lnTo>
                  <a:pt x="4382" y="222"/>
                </a:lnTo>
                <a:lnTo>
                  <a:pt x="4392" y="220"/>
                </a:lnTo>
                <a:lnTo>
                  <a:pt x="4401" y="218"/>
                </a:lnTo>
                <a:lnTo>
                  <a:pt x="4409" y="214"/>
                </a:lnTo>
                <a:lnTo>
                  <a:pt x="4418" y="210"/>
                </a:lnTo>
                <a:lnTo>
                  <a:pt x="4425" y="205"/>
                </a:lnTo>
                <a:lnTo>
                  <a:pt x="4432" y="199"/>
                </a:lnTo>
                <a:lnTo>
                  <a:pt x="4438" y="193"/>
                </a:lnTo>
                <a:lnTo>
                  <a:pt x="4444" y="186"/>
                </a:lnTo>
                <a:lnTo>
                  <a:pt x="4449" y="178"/>
                </a:lnTo>
                <a:lnTo>
                  <a:pt x="4453" y="170"/>
                </a:lnTo>
                <a:lnTo>
                  <a:pt x="4457" y="161"/>
                </a:lnTo>
                <a:lnTo>
                  <a:pt x="4460" y="151"/>
                </a:lnTo>
                <a:lnTo>
                  <a:pt x="4462" y="141"/>
                </a:lnTo>
                <a:lnTo>
                  <a:pt x="4463" y="131"/>
                </a:lnTo>
                <a:lnTo>
                  <a:pt x="4463" y="120"/>
                </a:lnTo>
                <a:close/>
                <a:moveTo>
                  <a:pt x="4671" y="236"/>
                </a:moveTo>
                <a:lnTo>
                  <a:pt x="4606" y="140"/>
                </a:lnTo>
                <a:lnTo>
                  <a:pt x="4555" y="140"/>
                </a:lnTo>
                <a:lnTo>
                  <a:pt x="4555" y="236"/>
                </a:lnTo>
                <a:lnTo>
                  <a:pt x="4535" y="236"/>
                </a:lnTo>
                <a:lnTo>
                  <a:pt x="4535" y="4"/>
                </a:lnTo>
                <a:lnTo>
                  <a:pt x="4622" y="4"/>
                </a:lnTo>
                <a:lnTo>
                  <a:pt x="4629" y="4"/>
                </a:lnTo>
                <a:lnTo>
                  <a:pt x="4636" y="5"/>
                </a:lnTo>
                <a:lnTo>
                  <a:pt x="4643" y="7"/>
                </a:lnTo>
                <a:lnTo>
                  <a:pt x="4649" y="9"/>
                </a:lnTo>
                <a:lnTo>
                  <a:pt x="4656" y="11"/>
                </a:lnTo>
                <a:lnTo>
                  <a:pt x="4661" y="14"/>
                </a:lnTo>
                <a:lnTo>
                  <a:pt x="4667" y="18"/>
                </a:lnTo>
                <a:lnTo>
                  <a:pt x="4672" y="22"/>
                </a:lnTo>
                <a:lnTo>
                  <a:pt x="4676" y="27"/>
                </a:lnTo>
                <a:lnTo>
                  <a:pt x="4680" y="32"/>
                </a:lnTo>
                <a:lnTo>
                  <a:pt x="4684" y="37"/>
                </a:lnTo>
                <a:lnTo>
                  <a:pt x="4687" y="43"/>
                </a:lnTo>
                <a:lnTo>
                  <a:pt x="4689" y="50"/>
                </a:lnTo>
                <a:lnTo>
                  <a:pt x="4691" y="57"/>
                </a:lnTo>
                <a:lnTo>
                  <a:pt x="4692" y="64"/>
                </a:lnTo>
                <a:lnTo>
                  <a:pt x="4692" y="72"/>
                </a:lnTo>
                <a:lnTo>
                  <a:pt x="4692" y="80"/>
                </a:lnTo>
                <a:lnTo>
                  <a:pt x="4691" y="87"/>
                </a:lnTo>
                <a:lnTo>
                  <a:pt x="4689" y="94"/>
                </a:lnTo>
                <a:lnTo>
                  <a:pt x="4687" y="100"/>
                </a:lnTo>
                <a:lnTo>
                  <a:pt x="4684" y="106"/>
                </a:lnTo>
                <a:lnTo>
                  <a:pt x="4681" y="111"/>
                </a:lnTo>
                <a:lnTo>
                  <a:pt x="4677" y="116"/>
                </a:lnTo>
                <a:lnTo>
                  <a:pt x="4673" y="120"/>
                </a:lnTo>
                <a:lnTo>
                  <a:pt x="4668" y="124"/>
                </a:lnTo>
                <a:lnTo>
                  <a:pt x="4663" y="128"/>
                </a:lnTo>
                <a:lnTo>
                  <a:pt x="4658" y="131"/>
                </a:lnTo>
                <a:lnTo>
                  <a:pt x="4652" y="133"/>
                </a:lnTo>
                <a:lnTo>
                  <a:pt x="4647" y="136"/>
                </a:lnTo>
                <a:lnTo>
                  <a:pt x="4641" y="137"/>
                </a:lnTo>
                <a:lnTo>
                  <a:pt x="4628" y="139"/>
                </a:lnTo>
                <a:lnTo>
                  <a:pt x="4695" y="236"/>
                </a:lnTo>
                <a:lnTo>
                  <a:pt x="4671" y="236"/>
                </a:lnTo>
                <a:close/>
                <a:moveTo>
                  <a:pt x="4671" y="72"/>
                </a:moveTo>
                <a:lnTo>
                  <a:pt x="4671" y="67"/>
                </a:lnTo>
                <a:lnTo>
                  <a:pt x="4670" y="61"/>
                </a:lnTo>
                <a:lnTo>
                  <a:pt x="4669" y="56"/>
                </a:lnTo>
                <a:lnTo>
                  <a:pt x="4668" y="52"/>
                </a:lnTo>
                <a:lnTo>
                  <a:pt x="4666" y="47"/>
                </a:lnTo>
                <a:lnTo>
                  <a:pt x="4663" y="43"/>
                </a:lnTo>
                <a:lnTo>
                  <a:pt x="4660" y="40"/>
                </a:lnTo>
                <a:lnTo>
                  <a:pt x="4657" y="36"/>
                </a:lnTo>
                <a:lnTo>
                  <a:pt x="4654" y="33"/>
                </a:lnTo>
                <a:lnTo>
                  <a:pt x="4650" y="30"/>
                </a:lnTo>
                <a:lnTo>
                  <a:pt x="4645" y="28"/>
                </a:lnTo>
                <a:lnTo>
                  <a:pt x="4641" y="26"/>
                </a:lnTo>
                <a:lnTo>
                  <a:pt x="4636" y="24"/>
                </a:lnTo>
                <a:lnTo>
                  <a:pt x="4631" y="23"/>
                </a:lnTo>
                <a:lnTo>
                  <a:pt x="4625" y="22"/>
                </a:lnTo>
                <a:lnTo>
                  <a:pt x="4620" y="22"/>
                </a:lnTo>
                <a:lnTo>
                  <a:pt x="4555" y="22"/>
                </a:lnTo>
                <a:lnTo>
                  <a:pt x="4555" y="122"/>
                </a:lnTo>
                <a:lnTo>
                  <a:pt x="4620" y="122"/>
                </a:lnTo>
                <a:lnTo>
                  <a:pt x="4625" y="122"/>
                </a:lnTo>
                <a:lnTo>
                  <a:pt x="4631" y="121"/>
                </a:lnTo>
                <a:lnTo>
                  <a:pt x="4636" y="120"/>
                </a:lnTo>
                <a:lnTo>
                  <a:pt x="4641" y="118"/>
                </a:lnTo>
                <a:lnTo>
                  <a:pt x="4645" y="116"/>
                </a:lnTo>
                <a:lnTo>
                  <a:pt x="4650" y="114"/>
                </a:lnTo>
                <a:lnTo>
                  <a:pt x="4654" y="111"/>
                </a:lnTo>
                <a:lnTo>
                  <a:pt x="4657" y="108"/>
                </a:lnTo>
                <a:lnTo>
                  <a:pt x="4660" y="104"/>
                </a:lnTo>
                <a:lnTo>
                  <a:pt x="4663" y="101"/>
                </a:lnTo>
                <a:lnTo>
                  <a:pt x="4666" y="96"/>
                </a:lnTo>
                <a:lnTo>
                  <a:pt x="4668" y="92"/>
                </a:lnTo>
                <a:lnTo>
                  <a:pt x="4668" y="90"/>
                </a:lnTo>
                <a:lnTo>
                  <a:pt x="4669" y="87"/>
                </a:lnTo>
                <a:lnTo>
                  <a:pt x="4670" y="82"/>
                </a:lnTo>
                <a:lnTo>
                  <a:pt x="4671" y="77"/>
                </a:lnTo>
                <a:lnTo>
                  <a:pt x="4671" y="72"/>
                </a:lnTo>
                <a:close/>
                <a:moveTo>
                  <a:pt x="4738" y="236"/>
                </a:moveTo>
                <a:lnTo>
                  <a:pt x="4738" y="4"/>
                </a:lnTo>
                <a:lnTo>
                  <a:pt x="4758" y="4"/>
                </a:lnTo>
                <a:lnTo>
                  <a:pt x="4758" y="218"/>
                </a:lnTo>
                <a:lnTo>
                  <a:pt x="4870" y="218"/>
                </a:lnTo>
                <a:lnTo>
                  <a:pt x="4870" y="236"/>
                </a:lnTo>
                <a:lnTo>
                  <a:pt x="4738" y="236"/>
                </a:lnTo>
                <a:close/>
                <a:moveTo>
                  <a:pt x="4909" y="236"/>
                </a:moveTo>
                <a:lnTo>
                  <a:pt x="4909" y="4"/>
                </a:lnTo>
                <a:lnTo>
                  <a:pt x="4983" y="4"/>
                </a:lnTo>
                <a:lnTo>
                  <a:pt x="4996" y="5"/>
                </a:lnTo>
                <a:lnTo>
                  <a:pt x="5009" y="6"/>
                </a:lnTo>
                <a:lnTo>
                  <a:pt x="5015" y="8"/>
                </a:lnTo>
                <a:lnTo>
                  <a:pt x="5021" y="9"/>
                </a:lnTo>
                <a:lnTo>
                  <a:pt x="5032" y="13"/>
                </a:lnTo>
                <a:lnTo>
                  <a:pt x="5037" y="16"/>
                </a:lnTo>
                <a:lnTo>
                  <a:pt x="5042" y="18"/>
                </a:lnTo>
                <a:lnTo>
                  <a:pt x="5052" y="24"/>
                </a:lnTo>
                <a:lnTo>
                  <a:pt x="5056" y="27"/>
                </a:lnTo>
                <a:lnTo>
                  <a:pt x="5061" y="31"/>
                </a:lnTo>
                <a:lnTo>
                  <a:pt x="5069" y="38"/>
                </a:lnTo>
                <a:lnTo>
                  <a:pt x="5076" y="47"/>
                </a:lnTo>
                <a:lnTo>
                  <a:pt x="5079" y="51"/>
                </a:lnTo>
                <a:lnTo>
                  <a:pt x="5082" y="56"/>
                </a:lnTo>
                <a:lnTo>
                  <a:pt x="5088" y="65"/>
                </a:lnTo>
                <a:lnTo>
                  <a:pt x="5090" y="70"/>
                </a:lnTo>
                <a:lnTo>
                  <a:pt x="5092" y="75"/>
                </a:lnTo>
                <a:lnTo>
                  <a:pt x="5096" y="86"/>
                </a:lnTo>
                <a:lnTo>
                  <a:pt x="5098" y="97"/>
                </a:lnTo>
                <a:lnTo>
                  <a:pt x="5099" y="103"/>
                </a:lnTo>
                <a:lnTo>
                  <a:pt x="5100" y="108"/>
                </a:lnTo>
                <a:lnTo>
                  <a:pt x="5100" y="120"/>
                </a:lnTo>
                <a:lnTo>
                  <a:pt x="5100" y="132"/>
                </a:lnTo>
                <a:lnTo>
                  <a:pt x="5099" y="138"/>
                </a:lnTo>
                <a:lnTo>
                  <a:pt x="5098" y="144"/>
                </a:lnTo>
                <a:lnTo>
                  <a:pt x="5096" y="155"/>
                </a:lnTo>
                <a:lnTo>
                  <a:pt x="5092" y="165"/>
                </a:lnTo>
                <a:lnTo>
                  <a:pt x="5090" y="171"/>
                </a:lnTo>
                <a:lnTo>
                  <a:pt x="5088" y="176"/>
                </a:lnTo>
                <a:lnTo>
                  <a:pt x="5082" y="185"/>
                </a:lnTo>
                <a:lnTo>
                  <a:pt x="5076" y="194"/>
                </a:lnTo>
                <a:lnTo>
                  <a:pt x="5069" y="202"/>
                </a:lnTo>
                <a:lnTo>
                  <a:pt x="5061" y="210"/>
                </a:lnTo>
                <a:lnTo>
                  <a:pt x="5052" y="216"/>
                </a:lnTo>
                <a:lnTo>
                  <a:pt x="5042" y="222"/>
                </a:lnTo>
                <a:lnTo>
                  <a:pt x="5037" y="225"/>
                </a:lnTo>
                <a:lnTo>
                  <a:pt x="5032" y="227"/>
                </a:lnTo>
                <a:lnTo>
                  <a:pt x="5026" y="229"/>
                </a:lnTo>
                <a:lnTo>
                  <a:pt x="5021" y="231"/>
                </a:lnTo>
                <a:lnTo>
                  <a:pt x="5009" y="234"/>
                </a:lnTo>
                <a:lnTo>
                  <a:pt x="4996" y="235"/>
                </a:lnTo>
                <a:lnTo>
                  <a:pt x="4990" y="236"/>
                </a:lnTo>
                <a:lnTo>
                  <a:pt x="4983" y="236"/>
                </a:lnTo>
                <a:lnTo>
                  <a:pt x="4909" y="236"/>
                </a:lnTo>
                <a:close/>
                <a:moveTo>
                  <a:pt x="5080" y="120"/>
                </a:moveTo>
                <a:lnTo>
                  <a:pt x="5079" y="110"/>
                </a:lnTo>
                <a:lnTo>
                  <a:pt x="5078" y="100"/>
                </a:lnTo>
                <a:lnTo>
                  <a:pt x="5076" y="91"/>
                </a:lnTo>
                <a:lnTo>
                  <a:pt x="5073" y="82"/>
                </a:lnTo>
                <a:lnTo>
                  <a:pt x="5070" y="73"/>
                </a:lnTo>
                <a:lnTo>
                  <a:pt x="5065" y="65"/>
                </a:lnTo>
                <a:lnTo>
                  <a:pt x="5060" y="58"/>
                </a:lnTo>
                <a:lnTo>
                  <a:pt x="5054" y="51"/>
                </a:lnTo>
                <a:lnTo>
                  <a:pt x="5048" y="45"/>
                </a:lnTo>
                <a:lnTo>
                  <a:pt x="5041" y="39"/>
                </a:lnTo>
                <a:lnTo>
                  <a:pt x="5033" y="34"/>
                </a:lnTo>
                <a:lnTo>
                  <a:pt x="5029" y="32"/>
                </a:lnTo>
                <a:lnTo>
                  <a:pt x="5024" y="30"/>
                </a:lnTo>
                <a:lnTo>
                  <a:pt x="5015" y="27"/>
                </a:lnTo>
                <a:lnTo>
                  <a:pt x="5005" y="24"/>
                </a:lnTo>
                <a:lnTo>
                  <a:pt x="4995" y="23"/>
                </a:lnTo>
                <a:lnTo>
                  <a:pt x="4983" y="22"/>
                </a:lnTo>
                <a:lnTo>
                  <a:pt x="4929" y="22"/>
                </a:lnTo>
                <a:lnTo>
                  <a:pt x="4929" y="218"/>
                </a:lnTo>
                <a:lnTo>
                  <a:pt x="4983" y="218"/>
                </a:lnTo>
                <a:lnTo>
                  <a:pt x="4994" y="217"/>
                </a:lnTo>
                <a:lnTo>
                  <a:pt x="5000" y="217"/>
                </a:lnTo>
                <a:lnTo>
                  <a:pt x="5005" y="216"/>
                </a:lnTo>
                <a:lnTo>
                  <a:pt x="5015" y="213"/>
                </a:lnTo>
                <a:lnTo>
                  <a:pt x="5024" y="210"/>
                </a:lnTo>
                <a:lnTo>
                  <a:pt x="5033" y="206"/>
                </a:lnTo>
                <a:lnTo>
                  <a:pt x="5041" y="201"/>
                </a:lnTo>
                <a:lnTo>
                  <a:pt x="5048" y="196"/>
                </a:lnTo>
                <a:lnTo>
                  <a:pt x="5054" y="189"/>
                </a:lnTo>
                <a:lnTo>
                  <a:pt x="5060" y="182"/>
                </a:lnTo>
                <a:lnTo>
                  <a:pt x="5065" y="175"/>
                </a:lnTo>
                <a:lnTo>
                  <a:pt x="5070" y="167"/>
                </a:lnTo>
                <a:lnTo>
                  <a:pt x="5073" y="158"/>
                </a:lnTo>
                <a:lnTo>
                  <a:pt x="5076" y="149"/>
                </a:lnTo>
                <a:lnTo>
                  <a:pt x="5078" y="140"/>
                </a:lnTo>
                <a:lnTo>
                  <a:pt x="5079" y="130"/>
                </a:lnTo>
                <a:lnTo>
                  <a:pt x="5080" y="120"/>
                </a:lnTo>
                <a:close/>
                <a:moveTo>
                  <a:pt x="829" y="538"/>
                </a:moveTo>
                <a:lnTo>
                  <a:pt x="830" y="525"/>
                </a:lnTo>
                <a:lnTo>
                  <a:pt x="832" y="513"/>
                </a:lnTo>
                <a:lnTo>
                  <a:pt x="835" y="501"/>
                </a:lnTo>
                <a:lnTo>
                  <a:pt x="838" y="489"/>
                </a:lnTo>
                <a:lnTo>
                  <a:pt x="841" y="484"/>
                </a:lnTo>
                <a:lnTo>
                  <a:pt x="843" y="479"/>
                </a:lnTo>
                <a:lnTo>
                  <a:pt x="849" y="469"/>
                </a:lnTo>
                <a:lnTo>
                  <a:pt x="853" y="464"/>
                </a:lnTo>
                <a:lnTo>
                  <a:pt x="857" y="460"/>
                </a:lnTo>
                <a:lnTo>
                  <a:pt x="864" y="452"/>
                </a:lnTo>
                <a:lnTo>
                  <a:pt x="873" y="444"/>
                </a:lnTo>
                <a:lnTo>
                  <a:pt x="882" y="437"/>
                </a:lnTo>
                <a:lnTo>
                  <a:pt x="891" y="432"/>
                </a:lnTo>
                <a:lnTo>
                  <a:pt x="902" y="427"/>
                </a:lnTo>
                <a:lnTo>
                  <a:pt x="913" y="423"/>
                </a:lnTo>
                <a:lnTo>
                  <a:pt x="924" y="421"/>
                </a:lnTo>
                <a:lnTo>
                  <a:pt x="936" y="419"/>
                </a:lnTo>
                <a:lnTo>
                  <a:pt x="948" y="418"/>
                </a:lnTo>
                <a:lnTo>
                  <a:pt x="961" y="419"/>
                </a:lnTo>
                <a:lnTo>
                  <a:pt x="968" y="420"/>
                </a:lnTo>
                <a:lnTo>
                  <a:pt x="974" y="421"/>
                </a:lnTo>
                <a:lnTo>
                  <a:pt x="986" y="425"/>
                </a:lnTo>
                <a:lnTo>
                  <a:pt x="997" y="430"/>
                </a:lnTo>
                <a:lnTo>
                  <a:pt x="1002" y="432"/>
                </a:lnTo>
                <a:lnTo>
                  <a:pt x="1007" y="436"/>
                </a:lnTo>
                <a:lnTo>
                  <a:pt x="1016" y="443"/>
                </a:lnTo>
                <a:lnTo>
                  <a:pt x="1025" y="450"/>
                </a:lnTo>
                <a:lnTo>
                  <a:pt x="1032" y="459"/>
                </a:lnTo>
                <a:lnTo>
                  <a:pt x="1016" y="470"/>
                </a:lnTo>
                <a:lnTo>
                  <a:pt x="1013" y="466"/>
                </a:lnTo>
                <a:lnTo>
                  <a:pt x="1010" y="463"/>
                </a:lnTo>
                <a:lnTo>
                  <a:pt x="1003" y="456"/>
                </a:lnTo>
                <a:lnTo>
                  <a:pt x="995" y="451"/>
                </a:lnTo>
                <a:lnTo>
                  <a:pt x="987" y="446"/>
                </a:lnTo>
                <a:lnTo>
                  <a:pt x="978" y="442"/>
                </a:lnTo>
                <a:lnTo>
                  <a:pt x="973" y="440"/>
                </a:lnTo>
                <a:lnTo>
                  <a:pt x="968" y="439"/>
                </a:lnTo>
                <a:lnTo>
                  <a:pt x="963" y="438"/>
                </a:lnTo>
                <a:lnTo>
                  <a:pt x="958" y="437"/>
                </a:lnTo>
                <a:lnTo>
                  <a:pt x="953" y="437"/>
                </a:lnTo>
                <a:lnTo>
                  <a:pt x="948" y="436"/>
                </a:lnTo>
                <a:lnTo>
                  <a:pt x="938" y="437"/>
                </a:lnTo>
                <a:lnTo>
                  <a:pt x="928" y="438"/>
                </a:lnTo>
                <a:lnTo>
                  <a:pt x="923" y="439"/>
                </a:lnTo>
                <a:lnTo>
                  <a:pt x="919" y="441"/>
                </a:lnTo>
                <a:lnTo>
                  <a:pt x="910" y="444"/>
                </a:lnTo>
                <a:lnTo>
                  <a:pt x="901" y="448"/>
                </a:lnTo>
                <a:lnTo>
                  <a:pt x="893" y="453"/>
                </a:lnTo>
                <a:lnTo>
                  <a:pt x="886" y="458"/>
                </a:lnTo>
                <a:lnTo>
                  <a:pt x="883" y="461"/>
                </a:lnTo>
                <a:lnTo>
                  <a:pt x="879" y="465"/>
                </a:lnTo>
                <a:lnTo>
                  <a:pt x="873" y="472"/>
                </a:lnTo>
                <a:lnTo>
                  <a:pt x="867" y="479"/>
                </a:lnTo>
                <a:lnTo>
                  <a:pt x="863" y="488"/>
                </a:lnTo>
                <a:lnTo>
                  <a:pt x="859" y="497"/>
                </a:lnTo>
                <a:lnTo>
                  <a:pt x="855" y="506"/>
                </a:lnTo>
                <a:lnTo>
                  <a:pt x="853" y="516"/>
                </a:lnTo>
                <a:lnTo>
                  <a:pt x="852" y="527"/>
                </a:lnTo>
                <a:lnTo>
                  <a:pt x="851" y="538"/>
                </a:lnTo>
                <a:lnTo>
                  <a:pt x="852" y="549"/>
                </a:lnTo>
                <a:lnTo>
                  <a:pt x="853" y="560"/>
                </a:lnTo>
                <a:lnTo>
                  <a:pt x="855" y="570"/>
                </a:lnTo>
                <a:lnTo>
                  <a:pt x="859" y="579"/>
                </a:lnTo>
                <a:lnTo>
                  <a:pt x="863" y="588"/>
                </a:lnTo>
                <a:lnTo>
                  <a:pt x="867" y="597"/>
                </a:lnTo>
                <a:lnTo>
                  <a:pt x="873" y="604"/>
                </a:lnTo>
                <a:lnTo>
                  <a:pt x="879" y="612"/>
                </a:lnTo>
                <a:lnTo>
                  <a:pt x="886" y="618"/>
                </a:lnTo>
                <a:lnTo>
                  <a:pt x="890" y="621"/>
                </a:lnTo>
                <a:lnTo>
                  <a:pt x="893" y="624"/>
                </a:lnTo>
                <a:lnTo>
                  <a:pt x="901" y="628"/>
                </a:lnTo>
                <a:lnTo>
                  <a:pt x="910" y="633"/>
                </a:lnTo>
                <a:lnTo>
                  <a:pt x="919" y="636"/>
                </a:lnTo>
                <a:lnTo>
                  <a:pt x="928" y="638"/>
                </a:lnTo>
                <a:lnTo>
                  <a:pt x="938" y="640"/>
                </a:lnTo>
                <a:lnTo>
                  <a:pt x="948" y="640"/>
                </a:lnTo>
                <a:lnTo>
                  <a:pt x="958" y="639"/>
                </a:lnTo>
                <a:lnTo>
                  <a:pt x="968" y="638"/>
                </a:lnTo>
                <a:lnTo>
                  <a:pt x="973" y="636"/>
                </a:lnTo>
                <a:lnTo>
                  <a:pt x="978" y="635"/>
                </a:lnTo>
                <a:lnTo>
                  <a:pt x="987" y="631"/>
                </a:lnTo>
                <a:lnTo>
                  <a:pt x="991" y="628"/>
                </a:lnTo>
                <a:lnTo>
                  <a:pt x="995" y="626"/>
                </a:lnTo>
                <a:lnTo>
                  <a:pt x="1003" y="620"/>
                </a:lnTo>
                <a:lnTo>
                  <a:pt x="1010" y="614"/>
                </a:lnTo>
                <a:lnTo>
                  <a:pt x="1013" y="610"/>
                </a:lnTo>
                <a:lnTo>
                  <a:pt x="1016" y="606"/>
                </a:lnTo>
                <a:lnTo>
                  <a:pt x="1033" y="617"/>
                </a:lnTo>
                <a:lnTo>
                  <a:pt x="1029" y="621"/>
                </a:lnTo>
                <a:lnTo>
                  <a:pt x="1024" y="626"/>
                </a:lnTo>
                <a:lnTo>
                  <a:pt x="1016" y="634"/>
                </a:lnTo>
                <a:lnTo>
                  <a:pt x="1011" y="638"/>
                </a:lnTo>
                <a:lnTo>
                  <a:pt x="1006" y="641"/>
                </a:lnTo>
                <a:lnTo>
                  <a:pt x="996" y="647"/>
                </a:lnTo>
                <a:lnTo>
                  <a:pt x="991" y="649"/>
                </a:lnTo>
                <a:lnTo>
                  <a:pt x="985" y="652"/>
                </a:lnTo>
                <a:lnTo>
                  <a:pt x="980" y="654"/>
                </a:lnTo>
                <a:lnTo>
                  <a:pt x="974" y="655"/>
                </a:lnTo>
                <a:lnTo>
                  <a:pt x="968" y="656"/>
                </a:lnTo>
                <a:lnTo>
                  <a:pt x="961" y="657"/>
                </a:lnTo>
                <a:lnTo>
                  <a:pt x="948" y="658"/>
                </a:lnTo>
                <a:lnTo>
                  <a:pt x="936" y="658"/>
                </a:lnTo>
                <a:lnTo>
                  <a:pt x="930" y="657"/>
                </a:lnTo>
                <a:lnTo>
                  <a:pt x="924" y="656"/>
                </a:lnTo>
                <a:lnTo>
                  <a:pt x="913" y="653"/>
                </a:lnTo>
                <a:lnTo>
                  <a:pt x="907" y="651"/>
                </a:lnTo>
                <a:lnTo>
                  <a:pt x="902" y="649"/>
                </a:lnTo>
                <a:lnTo>
                  <a:pt x="891" y="645"/>
                </a:lnTo>
                <a:lnTo>
                  <a:pt x="882" y="639"/>
                </a:lnTo>
                <a:lnTo>
                  <a:pt x="873" y="632"/>
                </a:lnTo>
                <a:lnTo>
                  <a:pt x="869" y="629"/>
                </a:lnTo>
                <a:lnTo>
                  <a:pt x="864" y="625"/>
                </a:lnTo>
                <a:lnTo>
                  <a:pt x="857" y="617"/>
                </a:lnTo>
                <a:lnTo>
                  <a:pt x="849" y="607"/>
                </a:lnTo>
                <a:lnTo>
                  <a:pt x="843" y="598"/>
                </a:lnTo>
                <a:lnTo>
                  <a:pt x="838" y="587"/>
                </a:lnTo>
                <a:lnTo>
                  <a:pt x="835" y="576"/>
                </a:lnTo>
                <a:lnTo>
                  <a:pt x="833" y="570"/>
                </a:lnTo>
                <a:lnTo>
                  <a:pt x="832" y="564"/>
                </a:lnTo>
                <a:lnTo>
                  <a:pt x="830" y="551"/>
                </a:lnTo>
                <a:lnTo>
                  <a:pt x="830" y="545"/>
                </a:lnTo>
                <a:lnTo>
                  <a:pt x="829" y="538"/>
                </a:lnTo>
                <a:close/>
                <a:moveTo>
                  <a:pt x="1068" y="654"/>
                </a:moveTo>
                <a:lnTo>
                  <a:pt x="1068" y="422"/>
                </a:lnTo>
                <a:lnTo>
                  <a:pt x="1088" y="422"/>
                </a:lnTo>
                <a:lnTo>
                  <a:pt x="1088" y="636"/>
                </a:lnTo>
                <a:lnTo>
                  <a:pt x="1200" y="636"/>
                </a:lnTo>
                <a:lnTo>
                  <a:pt x="1200" y="654"/>
                </a:lnTo>
                <a:lnTo>
                  <a:pt x="1068" y="654"/>
                </a:lnTo>
                <a:close/>
                <a:moveTo>
                  <a:pt x="1239" y="654"/>
                </a:moveTo>
                <a:lnTo>
                  <a:pt x="1239" y="422"/>
                </a:lnTo>
                <a:lnTo>
                  <a:pt x="1386" y="422"/>
                </a:lnTo>
                <a:lnTo>
                  <a:pt x="1386" y="440"/>
                </a:lnTo>
                <a:lnTo>
                  <a:pt x="1259" y="440"/>
                </a:lnTo>
                <a:lnTo>
                  <a:pt x="1259" y="526"/>
                </a:lnTo>
                <a:lnTo>
                  <a:pt x="1384" y="526"/>
                </a:lnTo>
                <a:lnTo>
                  <a:pt x="1384" y="544"/>
                </a:lnTo>
                <a:lnTo>
                  <a:pt x="1259" y="544"/>
                </a:lnTo>
                <a:lnTo>
                  <a:pt x="1259" y="636"/>
                </a:lnTo>
                <a:lnTo>
                  <a:pt x="1386" y="636"/>
                </a:lnTo>
                <a:lnTo>
                  <a:pt x="1386" y="654"/>
                </a:lnTo>
                <a:lnTo>
                  <a:pt x="1239" y="654"/>
                </a:lnTo>
                <a:close/>
                <a:moveTo>
                  <a:pt x="1610" y="654"/>
                </a:moveTo>
                <a:lnTo>
                  <a:pt x="1587" y="597"/>
                </a:lnTo>
                <a:lnTo>
                  <a:pt x="1465" y="597"/>
                </a:lnTo>
                <a:lnTo>
                  <a:pt x="1442" y="654"/>
                </a:lnTo>
                <a:lnTo>
                  <a:pt x="1419" y="654"/>
                </a:lnTo>
                <a:lnTo>
                  <a:pt x="1514" y="422"/>
                </a:lnTo>
                <a:lnTo>
                  <a:pt x="1538" y="422"/>
                </a:lnTo>
                <a:lnTo>
                  <a:pt x="1633" y="654"/>
                </a:lnTo>
                <a:lnTo>
                  <a:pt x="1610" y="654"/>
                </a:lnTo>
                <a:close/>
                <a:moveTo>
                  <a:pt x="1526" y="443"/>
                </a:moveTo>
                <a:lnTo>
                  <a:pt x="1471" y="579"/>
                </a:lnTo>
                <a:lnTo>
                  <a:pt x="1581" y="579"/>
                </a:lnTo>
                <a:lnTo>
                  <a:pt x="1526" y="443"/>
                </a:lnTo>
                <a:close/>
                <a:moveTo>
                  <a:pt x="1836" y="654"/>
                </a:moveTo>
                <a:lnTo>
                  <a:pt x="1690" y="455"/>
                </a:lnTo>
                <a:lnTo>
                  <a:pt x="1690" y="654"/>
                </a:lnTo>
                <a:lnTo>
                  <a:pt x="1670" y="654"/>
                </a:lnTo>
                <a:lnTo>
                  <a:pt x="1670" y="422"/>
                </a:lnTo>
                <a:lnTo>
                  <a:pt x="1690" y="422"/>
                </a:lnTo>
                <a:lnTo>
                  <a:pt x="1835" y="619"/>
                </a:lnTo>
                <a:lnTo>
                  <a:pt x="1835" y="422"/>
                </a:lnTo>
                <a:lnTo>
                  <a:pt x="1855" y="422"/>
                </a:lnTo>
                <a:lnTo>
                  <a:pt x="1855" y="654"/>
                </a:lnTo>
                <a:lnTo>
                  <a:pt x="1836" y="654"/>
                </a:lnTo>
                <a:close/>
                <a:moveTo>
                  <a:pt x="1917" y="654"/>
                </a:moveTo>
                <a:lnTo>
                  <a:pt x="1917" y="422"/>
                </a:lnTo>
                <a:lnTo>
                  <a:pt x="2064" y="422"/>
                </a:lnTo>
                <a:lnTo>
                  <a:pt x="2064" y="440"/>
                </a:lnTo>
                <a:lnTo>
                  <a:pt x="1937" y="440"/>
                </a:lnTo>
                <a:lnTo>
                  <a:pt x="1937" y="526"/>
                </a:lnTo>
                <a:lnTo>
                  <a:pt x="2061" y="526"/>
                </a:lnTo>
                <a:lnTo>
                  <a:pt x="2061" y="544"/>
                </a:lnTo>
                <a:lnTo>
                  <a:pt x="1937" y="544"/>
                </a:lnTo>
                <a:lnTo>
                  <a:pt x="1937" y="636"/>
                </a:lnTo>
                <a:lnTo>
                  <a:pt x="2064" y="636"/>
                </a:lnTo>
                <a:lnTo>
                  <a:pt x="2064" y="654"/>
                </a:lnTo>
                <a:lnTo>
                  <a:pt x="1917" y="654"/>
                </a:lnTo>
                <a:close/>
                <a:moveTo>
                  <a:pt x="2248" y="654"/>
                </a:moveTo>
                <a:lnTo>
                  <a:pt x="2183" y="558"/>
                </a:lnTo>
                <a:lnTo>
                  <a:pt x="2132" y="558"/>
                </a:lnTo>
                <a:lnTo>
                  <a:pt x="2132" y="654"/>
                </a:lnTo>
                <a:lnTo>
                  <a:pt x="2112" y="654"/>
                </a:lnTo>
                <a:lnTo>
                  <a:pt x="2112" y="422"/>
                </a:lnTo>
                <a:lnTo>
                  <a:pt x="2199" y="422"/>
                </a:lnTo>
                <a:lnTo>
                  <a:pt x="2206" y="422"/>
                </a:lnTo>
                <a:lnTo>
                  <a:pt x="2213" y="423"/>
                </a:lnTo>
                <a:lnTo>
                  <a:pt x="2220" y="425"/>
                </a:lnTo>
                <a:lnTo>
                  <a:pt x="2227" y="427"/>
                </a:lnTo>
                <a:lnTo>
                  <a:pt x="2233" y="429"/>
                </a:lnTo>
                <a:lnTo>
                  <a:pt x="2239" y="432"/>
                </a:lnTo>
                <a:lnTo>
                  <a:pt x="2244" y="436"/>
                </a:lnTo>
                <a:lnTo>
                  <a:pt x="2249" y="440"/>
                </a:lnTo>
                <a:lnTo>
                  <a:pt x="2254" y="445"/>
                </a:lnTo>
                <a:lnTo>
                  <a:pt x="2258" y="450"/>
                </a:lnTo>
                <a:lnTo>
                  <a:pt x="2261" y="455"/>
                </a:lnTo>
                <a:lnTo>
                  <a:pt x="2264" y="461"/>
                </a:lnTo>
                <a:lnTo>
                  <a:pt x="2266" y="468"/>
                </a:lnTo>
                <a:lnTo>
                  <a:pt x="2268" y="475"/>
                </a:lnTo>
                <a:lnTo>
                  <a:pt x="2269" y="482"/>
                </a:lnTo>
                <a:lnTo>
                  <a:pt x="2269" y="490"/>
                </a:lnTo>
                <a:lnTo>
                  <a:pt x="2269" y="498"/>
                </a:lnTo>
                <a:lnTo>
                  <a:pt x="2268" y="505"/>
                </a:lnTo>
                <a:lnTo>
                  <a:pt x="2267" y="512"/>
                </a:lnTo>
                <a:lnTo>
                  <a:pt x="2264" y="518"/>
                </a:lnTo>
                <a:lnTo>
                  <a:pt x="2262" y="524"/>
                </a:lnTo>
                <a:lnTo>
                  <a:pt x="2258" y="529"/>
                </a:lnTo>
                <a:lnTo>
                  <a:pt x="2255" y="534"/>
                </a:lnTo>
                <a:lnTo>
                  <a:pt x="2250" y="539"/>
                </a:lnTo>
                <a:lnTo>
                  <a:pt x="2246" y="543"/>
                </a:lnTo>
                <a:lnTo>
                  <a:pt x="2241" y="546"/>
                </a:lnTo>
                <a:lnTo>
                  <a:pt x="2236" y="549"/>
                </a:lnTo>
                <a:lnTo>
                  <a:pt x="2230" y="552"/>
                </a:lnTo>
                <a:lnTo>
                  <a:pt x="2224" y="554"/>
                </a:lnTo>
                <a:lnTo>
                  <a:pt x="2218" y="555"/>
                </a:lnTo>
                <a:lnTo>
                  <a:pt x="2205" y="557"/>
                </a:lnTo>
                <a:lnTo>
                  <a:pt x="2272" y="654"/>
                </a:lnTo>
                <a:lnTo>
                  <a:pt x="2248" y="654"/>
                </a:lnTo>
                <a:close/>
                <a:moveTo>
                  <a:pt x="2249" y="490"/>
                </a:moveTo>
                <a:lnTo>
                  <a:pt x="2248" y="485"/>
                </a:lnTo>
                <a:lnTo>
                  <a:pt x="2248" y="479"/>
                </a:lnTo>
                <a:lnTo>
                  <a:pt x="2247" y="474"/>
                </a:lnTo>
                <a:lnTo>
                  <a:pt x="2245" y="470"/>
                </a:lnTo>
                <a:lnTo>
                  <a:pt x="2243" y="465"/>
                </a:lnTo>
                <a:lnTo>
                  <a:pt x="2241" y="461"/>
                </a:lnTo>
                <a:lnTo>
                  <a:pt x="2238" y="458"/>
                </a:lnTo>
                <a:lnTo>
                  <a:pt x="2235" y="454"/>
                </a:lnTo>
                <a:lnTo>
                  <a:pt x="2231" y="451"/>
                </a:lnTo>
                <a:lnTo>
                  <a:pt x="2227" y="448"/>
                </a:lnTo>
                <a:lnTo>
                  <a:pt x="2223" y="446"/>
                </a:lnTo>
                <a:lnTo>
                  <a:pt x="2218" y="444"/>
                </a:lnTo>
                <a:lnTo>
                  <a:pt x="2213" y="442"/>
                </a:lnTo>
                <a:lnTo>
                  <a:pt x="2208" y="441"/>
                </a:lnTo>
                <a:lnTo>
                  <a:pt x="2203" y="440"/>
                </a:lnTo>
                <a:lnTo>
                  <a:pt x="2197" y="440"/>
                </a:lnTo>
                <a:lnTo>
                  <a:pt x="2132" y="440"/>
                </a:lnTo>
                <a:lnTo>
                  <a:pt x="2132" y="540"/>
                </a:lnTo>
                <a:lnTo>
                  <a:pt x="2197" y="540"/>
                </a:lnTo>
                <a:lnTo>
                  <a:pt x="2203" y="540"/>
                </a:lnTo>
                <a:lnTo>
                  <a:pt x="2208" y="539"/>
                </a:lnTo>
                <a:lnTo>
                  <a:pt x="2213" y="538"/>
                </a:lnTo>
                <a:lnTo>
                  <a:pt x="2218" y="536"/>
                </a:lnTo>
                <a:lnTo>
                  <a:pt x="2223" y="534"/>
                </a:lnTo>
                <a:lnTo>
                  <a:pt x="2227" y="532"/>
                </a:lnTo>
                <a:lnTo>
                  <a:pt x="2231" y="529"/>
                </a:lnTo>
                <a:lnTo>
                  <a:pt x="2235" y="526"/>
                </a:lnTo>
                <a:lnTo>
                  <a:pt x="2238" y="522"/>
                </a:lnTo>
                <a:lnTo>
                  <a:pt x="2241" y="519"/>
                </a:lnTo>
                <a:lnTo>
                  <a:pt x="2243" y="514"/>
                </a:lnTo>
                <a:lnTo>
                  <a:pt x="2245" y="510"/>
                </a:lnTo>
                <a:lnTo>
                  <a:pt x="2246" y="508"/>
                </a:lnTo>
                <a:lnTo>
                  <a:pt x="2247" y="505"/>
                </a:lnTo>
                <a:lnTo>
                  <a:pt x="2248" y="500"/>
                </a:lnTo>
                <a:lnTo>
                  <a:pt x="2248" y="495"/>
                </a:lnTo>
                <a:lnTo>
                  <a:pt x="2249" y="490"/>
                </a:lnTo>
                <a:close/>
                <a:moveTo>
                  <a:pt x="2585" y="654"/>
                </a:moveTo>
                <a:lnTo>
                  <a:pt x="2562" y="597"/>
                </a:lnTo>
                <a:lnTo>
                  <a:pt x="2438" y="597"/>
                </a:lnTo>
                <a:lnTo>
                  <a:pt x="2415" y="654"/>
                </a:lnTo>
                <a:lnTo>
                  <a:pt x="2392" y="654"/>
                </a:lnTo>
                <a:lnTo>
                  <a:pt x="2487" y="422"/>
                </a:lnTo>
                <a:lnTo>
                  <a:pt x="2512" y="422"/>
                </a:lnTo>
                <a:lnTo>
                  <a:pt x="2608" y="654"/>
                </a:lnTo>
                <a:lnTo>
                  <a:pt x="2585" y="654"/>
                </a:lnTo>
                <a:close/>
                <a:moveTo>
                  <a:pt x="2500" y="443"/>
                </a:moveTo>
                <a:lnTo>
                  <a:pt x="2445" y="579"/>
                </a:lnTo>
                <a:lnTo>
                  <a:pt x="2555" y="579"/>
                </a:lnTo>
                <a:lnTo>
                  <a:pt x="2500" y="443"/>
                </a:lnTo>
                <a:close/>
                <a:moveTo>
                  <a:pt x="2810" y="654"/>
                </a:moveTo>
                <a:lnTo>
                  <a:pt x="2664" y="455"/>
                </a:lnTo>
                <a:lnTo>
                  <a:pt x="2664" y="654"/>
                </a:lnTo>
                <a:lnTo>
                  <a:pt x="2644" y="654"/>
                </a:lnTo>
                <a:lnTo>
                  <a:pt x="2644" y="422"/>
                </a:lnTo>
                <a:lnTo>
                  <a:pt x="2665" y="422"/>
                </a:lnTo>
                <a:lnTo>
                  <a:pt x="2810" y="619"/>
                </a:lnTo>
                <a:lnTo>
                  <a:pt x="2810" y="422"/>
                </a:lnTo>
                <a:lnTo>
                  <a:pt x="2830" y="422"/>
                </a:lnTo>
                <a:lnTo>
                  <a:pt x="2830" y="654"/>
                </a:lnTo>
                <a:lnTo>
                  <a:pt x="2810" y="654"/>
                </a:lnTo>
                <a:close/>
                <a:moveTo>
                  <a:pt x="2891" y="654"/>
                </a:moveTo>
                <a:lnTo>
                  <a:pt x="2891" y="422"/>
                </a:lnTo>
                <a:lnTo>
                  <a:pt x="2965" y="422"/>
                </a:lnTo>
                <a:lnTo>
                  <a:pt x="2978" y="423"/>
                </a:lnTo>
                <a:lnTo>
                  <a:pt x="2991" y="425"/>
                </a:lnTo>
                <a:lnTo>
                  <a:pt x="2997" y="426"/>
                </a:lnTo>
                <a:lnTo>
                  <a:pt x="3003" y="427"/>
                </a:lnTo>
                <a:lnTo>
                  <a:pt x="3014" y="431"/>
                </a:lnTo>
                <a:lnTo>
                  <a:pt x="3019" y="434"/>
                </a:lnTo>
                <a:lnTo>
                  <a:pt x="3024" y="436"/>
                </a:lnTo>
                <a:lnTo>
                  <a:pt x="3034" y="442"/>
                </a:lnTo>
                <a:lnTo>
                  <a:pt x="3038" y="445"/>
                </a:lnTo>
                <a:lnTo>
                  <a:pt x="3043" y="449"/>
                </a:lnTo>
                <a:lnTo>
                  <a:pt x="3051" y="456"/>
                </a:lnTo>
                <a:lnTo>
                  <a:pt x="3058" y="465"/>
                </a:lnTo>
                <a:lnTo>
                  <a:pt x="3061" y="469"/>
                </a:lnTo>
                <a:lnTo>
                  <a:pt x="3064" y="474"/>
                </a:lnTo>
                <a:lnTo>
                  <a:pt x="3070" y="483"/>
                </a:lnTo>
                <a:lnTo>
                  <a:pt x="3072" y="488"/>
                </a:lnTo>
                <a:lnTo>
                  <a:pt x="3074" y="493"/>
                </a:lnTo>
                <a:lnTo>
                  <a:pt x="3078" y="504"/>
                </a:lnTo>
                <a:lnTo>
                  <a:pt x="3080" y="515"/>
                </a:lnTo>
                <a:lnTo>
                  <a:pt x="3081" y="521"/>
                </a:lnTo>
                <a:lnTo>
                  <a:pt x="3082" y="526"/>
                </a:lnTo>
                <a:lnTo>
                  <a:pt x="3082" y="538"/>
                </a:lnTo>
                <a:lnTo>
                  <a:pt x="3082" y="550"/>
                </a:lnTo>
                <a:lnTo>
                  <a:pt x="3081" y="556"/>
                </a:lnTo>
                <a:lnTo>
                  <a:pt x="3080" y="562"/>
                </a:lnTo>
                <a:lnTo>
                  <a:pt x="3078" y="573"/>
                </a:lnTo>
                <a:lnTo>
                  <a:pt x="3074" y="583"/>
                </a:lnTo>
                <a:lnTo>
                  <a:pt x="3072" y="589"/>
                </a:lnTo>
                <a:lnTo>
                  <a:pt x="3070" y="594"/>
                </a:lnTo>
                <a:lnTo>
                  <a:pt x="3064" y="603"/>
                </a:lnTo>
                <a:lnTo>
                  <a:pt x="3058" y="612"/>
                </a:lnTo>
                <a:lnTo>
                  <a:pt x="3051" y="620"/>
                </a:lnTo>
                <a:lnTo>
                  <a:pt x="3043" y="628"/>
                </a:lnTo>
                <a:lnTo>
                  <a:pt x="3034" y="634"/>
                </a:lnTo>
                <a:lnTo>
                  <a:pt x="3024" y="640"/>
                </a:lnTo>
                <a:lnTo>
                  <a:pt x="3019" y="643"/>
                </a:lnTo>
                <a:lnTo>
                  <a:pt x="3014" y="645"/>
                </a:lnTo>
                <a:lnTo>
                  <a:pt x="3008" y="647"/>
                </a:lnTo>
                <a:lnTo>
                  <a:pt x="3003" y="649"/>
                </a:lnTo>
                <a:lnTo>
                  <a:pt x="2991" y="652"/>
                </a:lnTo>
                <a:lnTo>
                  <a:pt x="2978" y="653"/>
                </a:lnTo>
                <a:lnTo>
                  <a:pt x="2972" y="654"/>
                </a:lnTo>
                <a:lnTo>
                  <a:pt x="2965" y="654"/>
                </a:lnTo>
                <a:lnTo>
                  <a:pt x="2891" y="654"/>
                </a:lnTo>
                <a:close/>
                <a:moveTo>
                  <a:pt x="3061" y="538"/>
                </a:moveTo>
                <a:lnTo>
                  <a:pt x="3061" y="528"/>
                </a:lnTo>
                <a:lnTo>
                  <a:pt x="3060" y="518"/>
                </a:lnTo>
                <a:lnTo>
                  <a:pt x="3058" y="509"/>
                </a:lnTo>
                <a:lnTo>
                  <a:pt x="3055" y="500"/>
                </a:lnTo>
                <a:lnTo>
                  <a:pt x="3052" y="491"/>
                </a:lnTo>
                <a:lnTo>
                  <a:pt x="3047" y="483"/>
                </a:lnTo>
                <a:lnTo>
                  <a:pt x="3042" y="476"/>
                </a:lnTo>
                <a:lnTo>
                  <a:pt x="3036" y="469"/>
                </a:lnTo>
                <a:lnTo>
                  <a:pt x="3030" y="463"/>
                </a:lnTo>
                <a:lnTo>
                  <a:pt x="3023" y="457"/>
                </a:lnTo>
                <a:lnTo>
                  <a:pt x="3015" y="452"/>
                </a:lnTo>
                <a:lnTo>
                  <a:pt x="3011" y="450"/>
                </a:lnTo>
                <a:lnTo>
                  <a:pt x="3006" y="448"/>
                </a:lnTo>
                <a:lnTo>
                  <a:pt x="2997" y="445"/>
                </a:lnTo>
                <a:lnTo>
                  <a:pt x="2987" y="442"/>
                </a:lnTo>
                <a:lnTo>
                  <a:pt x="2976" y="441"/>
                </a:lnTo>
                <a:lnTo>
                  <a:pt x="2965" y="440"/>
                </a:lnTo>
                <a:lnTo>
                  <a:pt x="2911" y="440"/>
                </a:lnTo>
                <a:lnTo>
                  <a:pt x="2911" y="636"/>
                </a:lnTo>
                <a:lnTo>
                  <a:pt x="2965" y="636"/>
                </a:lnTo>
                <a:lnTo>
                  <a:pt x="2976" y="635"/>
                </a:lnTo>
                <a:lnTo>
                  <a:pt x="2982" y="635"/>
                </a:lnTo>
                <a:lnTo>
                  <a:pt x="2987" y="634"/>
                </a:lnTo>
                <a:lnTo>
                  <a:pt x="2997" y="632"/>
                </a:lnTo>
                <a:lnTo>
                  <a:pt x="3006" y="628"/>
                </a:lnTo>
                <a:lnTo>
                  <a:pt x="3015" y="624"/>
                </a:lnTo>
                <a:lnTo>
                  <a:pt x="3023" y="619"/>
                </a:lnTo>
                <a:lnTo>
                  <a:pt x="3030" y="614"/>
                </a:lnTo>
                <a:lnTo>
                  <a:pt x="3036" y="607"/>
                </a:lnTo>
                <a:lnTo>
                  <a:pt x="3042" y="600"/>
                </a:lnTo>
                <a:lnTo>
                  <a:pt x="3047" y="593"/>
                </a:lnTo>
                <a:lnTo>
                  <a:pt x="3051" y="585"/>
                </a:lnTo>
                <a:lnTo>
                  <a:pt x="3055" y="576"/>
                </a:lnTo>
                <a:lnTo>
                  <a:pt x="3058" y="567"/>
                </a:lnTo>
                <a:lnTo>
                  <a:pt x="3060" y="558"/>
                </a:lnTo>
                <a:lnTo>
                  <a:pt x="3061" y="548"/>
                </a:lnTo>
                <a:lnTo>
                  <a:pt x="3061" y="538"/>
                </a:lnTo>
                <a:close/>
                <a:moveTo>
                  <a:pt x="3216" y="621"/>
                </a:moveTo>
                <a:lnTo>
                  <a:pt x="3229" y="606"/>
                </a:lnTo>
                <a:lnTo>
                  <a:pt x="3232" y="610"/>
                </a:lnTo>
                <a:lnTo>
                  <a:pt x="3235" y="613"/>
                </a:lnTo>
                <a:lnTo>
                  <a:pt x="3238" y="616"/>
                </a:lnTo>
                <a:lnTo>
                  <a:pt x="3242" y="619"/>
                </a:lnTo>
                <a:lnTo>
                  <a:pt x="3249" y="624"/>
                </a:lnTo>
                <a:lnTo>
                  <a:pt x="3258" y="630"/>
                </a:lnTo>
                <a:lnTo>
                  <a:pt x="3268" y="634"/>
                </a:lnTo>
                <a:lnTo>
                  <a:pt x="3273" y="636"/>
                </a:lnTo>
                <a:lnTo>
                  <a:pt x="3278" y="637"/>
                </a:lnTo>
                <a:lnTo>
                  <a:pt x="3283" y="638"/>
                </a:lnTo>
                <a:lnTo>
                  <a:pt x="3289" y="639"/>
                </a:lnTo>
                <a:lnTo>
                  <a:pt x="3301" y="640"/>
                </a:lnTo>
                <a:lnTo>
                  <a:pt x="3310" y="640"/>
                </a:lnTo>
                <a:lnTo>
                  <a:pt x="3317" y="639"/>
                </a:lnTo>
                <a:lnTo>
                  <a:pt x="3324" y="637"/>
                </a:lnTo>
                <a:lnTo>
                  <a:pt x="3331" y="636"/>
                </a:lnTo>
                <a:lnTo>
                  <a:pt x="3336" y="633"/>
                </a:lnTo>
                <a:lnTo>
                  <a:pt x="3341" y="631"/>
                </a:lnTo>
                <a:lnTo>
                  <a:pt x="3346" y="628"/>
                </a:lnTo>
                <a:lnTo>
                  <a:pt x="3349" y="624"/>
                </a:lnTo>
                <a:lnTo>
                  <a:pt x="3353" y="621"/>
                </a:lnTo>
                <a:lnTo>
                  <a:pt x="3355" y="617"/>
                </a:lnTo>
                <a:lnTo>
                  <a:pt x="3358" y="613"/>
                </a:lnTo>
                <a:lnTo>
                  <a:pt x="3359" y="609"/>
                </a:lnTo>
                <a:lnTo>
                  <a:pt x="3361" y="602"/>
                </a:lnTo>
                <a:lnTo>
                  <a:pt x="3362" y="594"/>
                </a:lnTo>
                <a:lnTo>
                  <a:pt x="3362" y="588"/>
                </a:lnTo>
                <a:lnTo>
                  <a:pt x="3361" y="582"/>
                </a:lnTo>
                <a:lnTo>
                  <a:pt x="3359" y="577"/>
                </a:lnTo>
                <a:lnTo>
                  <a:pt x="3356" y="573"/>
                </a:lnTo>
                <a:lnTo>
                  <a:pt x="3353" y="569"/>
                </a:lnTo>
                <a:lnTo>
                  <a:pt x="3349" y="565"/>
                </a:lnTo>
                <a:lnTo>
                  <a:pt x="3345" y="562"/>
                </a:lnTo>
                <a:lnTo>
                  <a:pt x="3340" y="559"/>
                </a:lnTo>
                <a:lnTo>
                  <a:pt x="3335" y="556"/>
                </a:lnTo>
                <a:lnTo>
                  <a:pt x="3330" y="554"/>
                </a:lnTo>
                <a:lnTo>
                  <a:pt x="3318" y="549"/>
                </a:lnTo>
                <a:lnTo>
                  <a:pt x="3306" y="545"/>
                </a:lnTo>
                <a:lnTo>
                  <a:pt x="3293" y="542"/>
                </a:lnTo>
                <a:lnTo>
                  <a:pt x="3280" y="538"/>
                </a:lnTo>
                <a:lnTo>
                  <a:pt x="3267" y="534"/>
                </a:lnTo>
                <a:lnTo>
                  <a:pt x="3255" y="529"/>
                </a:lnTo>
                <a:lnTo>
                  <a:pt x="3250" y="526"/>
                </a:lnTo>
                <a:lnTo>
                  <a:pt x="3245" y="523"/>
                </a:lnTo>
                <a:lnTo>
                  <a:pt x="3240" y="519"/>
                </a:lnTo>
                <a:lnTo>
                  <a:pt x="3236" y="515"/>
                </a:lnTo>
                <a:lnTo>
                  <a:pt x="3232" y="510"/>
                </a:lnTo>
                <a:lnTo>
                  <a:pt x="3229" y="506"/>
                </a:lnTo>
                <a:lnTo>
                  <a:pt x="3227" y="500"/>
                </a:lnTo>
                <a:lnTo>
                  <a:pt x="3225" y="494"/>
                </a:lnTo>
                <a:lnTo>
                  <a:pt x="3223" y="487"/>
                </a:lnTo>
                <a:lnTo>
                  <a:pt x="3223" y="480"/>
                </a:lnTo>
                <a:lnTo>
                  <a:pt x="3223" y="473"/>
                </a:lnTo>
                <a:lnTo>
                  <a:pt x="3225" y="467"/>
                </a:lnTo>
                <a:lnTo>
                  <a:pt x="3226" y="460"/>
                </a:lnTo>
                <a:lnTo>
                  <a:pt x="3229" y="455"/>
                </a:lnTo>
                <a:lnTo>
                  <a:pt x="3232" y="449"/>
                </a:lnTo>
                <a:lnTo>
                  <a:pt x="3236" y="444"/>
                </a:lnTo>
                <a:lnTo>
                  <a:pt x="3238" y="442"/>
                </a:lnTo>
                <a:lnTo>
                  <a:pt x="3240" y="439"/>
                </a:lnTo>
                <a:lnTo>
                  <a:pt x="3245" y="435"/>
                </a:lnTo>
                <a:lnTo>
                  <a:pt x="3251" y="431"/>
                </a:lnTo>
                <a:lnTo>
                  <a:pt x="3257" y="428"/>
                </a:lnTo>
                <a:lnTo>
                  <a:pt x="3263" y="425"/>
                </a:lnTo>
                <a:lnTo>
                  <a:pt x="3270" y="423"/>
                </a:lnTo>
                <a:lnTo>
                  <a:pt x="3277" y="421"/>
                </a:lnTo>
                <a:lnTo>
                  <a:pt x="3284" y="419"/>
                </a:lnTo>
                <a:lnTo>
                  <a:pt x="3291" y="419"/>
                </a:lnTo>
                <a:lnTo>
                  <a:pt x="3299" y="418"/>
                </a:lnTo>
                <a:lnTo>
                  <a:pt x="3312" y="419"/>
                </a:lnTo>
                <a:lnTo>
                  <a:pt x="3318" y="420"/>
                </a:lnTo>
                <a:lnTo>
                  <a:pt x="3323" y="421"/>
                </a:lnTo>
                <a:lnTo>
                  <a:pt x="3334" y="423"/>
                </a:lnTo>
                <a:lnTo>
                  <a:pt x="3340" y="425"/>
                </a:lnTo>
                <a:lnTo>
                  <a:pt x="3345" y="427"/>
                </a:lnTo>
                <a:lnTo>
                  <a:pt x="3354" y="432"/>
                </a:lnTo>
                <a:lnTo>
                  <a:pt x="3363" y="437"/>
                </a:lnTo>
                <a:lnTo>
                  <a:pt x="3371" y="444"/>
                </a:lnTo>
                <a:lnTo>
                  <a:pt x="3378" y="451"/>
                </a:lnTo>
                <a:lnTo>
                  <a:pt x="3365" y="466"/>
                </a:lnTo>
                <a:lnTo>
                  <a:pt x="3358" y="459"/>
                </a:lnTo>
                <a:lnTo>
                  <a:pt x="3354" y="455"/>
                </a:lnTo>
                <a:lnTo>
                  <a:pt x="3351" y="453"/>
                </a:lnTo>
                <a:lnTo>
                  <a:pt x="3343" y="447"/>
                </a:lnTo>
                <a:lnTo>
                  <a:pt x="3335" y="443"/>
                </a:lnTo>
                <a:lnTo>
                  <a:pt x="3331" y="442"/>
                </a:lnTo>
                <a:lnTo>
                  <a:pt x="3326" y="440"/>
                </a:lnTo>
                <a:lnTo>
                  <a:pt x="3317" y="438"/>
                </a:lnTo>
                <a:lnTo>
                  <a:pt x="3308" y="437"/>
                </a:lnTo>
                <a:lnTo>
                  <a:pt x="3298" y="436"/>
                </a:lnTo>
                <a:lnTo>
                  <a:pt x="3287" y="437"/>
                </a:lnTo>
                <a:lnTo>
                  <a:pt x="3282" y="438"/>
                </a:lnTo>
                <a:lnTo>
                  <a:pt x="3277" y="440"/>
                </a:lnTo>
                <a:lnTo>
                  <a:pt x="3272" y="441"/>
                </a:lnTo>
                <a:lnTo>
                  <a:pt x="3267" y="443"/>
                </a:lnTo>
                <a:lnTo>
                  <a:pt x="3259" y="448"/>
                </a:lnTo>
                <a:lnTo>
                  <a:pt x="3256" y="451"/>
                </a:lnTo>
                <a:lnTo>
                  <a:pt x="3253" y="455"/>
                </a:lnTo>
                <a:lnTo>
                  <a:pt x="3250" y="458"/>
                </a:lnTo>
                <a:lnTo>
                  <a:pt x="3248" y="462"/>
                </a:lnTo>
                <a:lnTo>
                  <a:pt x="3246" y="466"/>
                </a:lnTo>
                <a:lnTo>
                  <a:pt x="3245" y="470"/>
                </a:lnTo>
                <a:lnTo>
                  <a:pt x="3244" y="475"/>
                </a:lnTo>
                <a:lnTo>
                  <a:pt x="3244" y="479"/>
                </a:lnTo>
                <a:lnTo>
                  <a:pt x="3244" y="484"/>
                </a:lnTo>
                <a:lnTo>
                  <a:pt x="3245" y="489"/>
                </a:lnTo>
                <a:lnTo>
                  <a:pt x="3247" y="494"/>
                </a:lnTo>
                <a:lnTo>
                  <a:pt x="3250" y="498"/>
                </a:lnTo>
                <a:lnTo>
                  <a:pt x="3253" y="501"/>
                </a:lnTo>
                <a:lnTo>
                  <a:pt x="3257" y="504"/>
                </a:lnTo>
                <a:lnTo>
                  <a:pt x="3266" y="510"/>
                </a:lnTo>
                <a:lnTo>
                  <a:pt x="3271" y="512"/>
                </a:lnTo>
                <a:lnTo>
                  <a:pt x="3276" y="514"/>
                </a:lnTo>
                <a:lnTo>
                  <a:pt x="3288" y="518"/>
                </a:lnTo>
                <a:lnTo>
                  <a:pt x="3313" y="526"/>
                </a:lnTo>
                <a:lnTo>
                  <a:pt x="3326" y="530"/>
                </a:lnTo>
                <a:lnTo>
                  <a:pt x="3339" y="534"/>
                </a:lnTo>
                <a:lnTo>
                  <a:pt x="3351" y="540"/>
                </a:lnTo>
                <a:lnTo>
                  <a:pt x="3356" y="543"/>
                </a:lnTo>
                <a:lnTo>
                  <a:pt x="3361" y="547"/>
                </a:lnTo>
                <a:lnTo>
                  <a:pt x="3366" y="551"/>
                </a:lnTo>
                <a:lnTo>
                  <a:pt x="3368" y="553"/>
                </a:lnTo>
                <a:lnTo>
                  <a:pt x="3370" y="555"/>
                </a:lnTo>
                <a:lnTo>
                  <a:pt x="3374" y="560"/>
                </a:lnTo>
                <a:lnTo>
                  <a:pt x="3377" y="565"/>
                </a:lnTo>
                <a:lnTo>
                  <a:pt x="3380" y="571"/>
                </a:lnTo>
                <a:lnTo>
                  <a:pt x="3381" y="578"/>
                </a:lnTo>
                <a:lnTo>
                  <a:pt x="3383" y="585"/>
                </a:lnTo>
                <a:lnTo>
                  <a:pt x="3383" y="592"/>
                </a:lnTo>
                <a:lnTo>
                  <a:pt x="3383" y="598"/>
                </a:lnTo>
                <a:lnTo>
                  <a:pt x="3382" y="604"/>
                </a:lnTo>
                <a:lnTo>
                  <a:pt x="3379" y="615"/>
                </a:lnTo>
                <a:lnTo>
                  <a:pt x="3376" y="621"/>
                </a:lnTo>
                <a:lnTo>
                  <a:pt x="3373" y="626"/>
                </a:lnTo>
                <a:lnTo>
                  <a:pt x="3370" y="632"/>
                </a:lnTo>
                <a:lnTo>
                  <a:pt x="3365" y="636"/>
                </a:lnTo>
                <a:lnTo>
                  <a:pt x="3360" y="641"/>
                </a:lnTo>
                <a:lnTo>
                  <a:pt x="3354" y="645"/>
                </a:lnTo>
                <a:lnTo>
                  <a:pt x="3347" y="649"/>
                </a:lnTo>
                <a:lnTo>
                  <a:pt x="3340" y="652"/>
                </a:lnTo>
                <a:lnTo>
                  <a:pt x="3331" y="655"/>
                </a:lnTo>
                <a:lnTo>
                  <a:pt x="3322" y="657"/>
                </a:lnTo>
                <a:lnTo>
                  <a:pt x="3312" y="658"/>
                </a:lnTo>
                <a:lnTo>
                  <a:pt x="3301" y="658"/>
                </a:lnTo>
                <a:lnTo>
                  <a:pt x="3287" y="657"/>
                </a:lnTo>
                <a:lnTo>
                  <a:pt x="3274" y="655"/>
                </a:lnTo>
                <a:lnTo>
                  <a:pt x="3262" y="652"/>
                </a:lnTo>
                <a:lnTo>
                  <a:pt x="3250" y="648"/>
                </a:lnTo>
                <a:lnTo>
                  <a:pt x="3240" y="642"/>
                </a:lnTo>
                <a:lnTo>
                  <a:pt x="3231" y="636"/>
                </a:lnTo>
                <a:lnTo>
                  <a:pt x="3227" y="633"/>
                </a:lnTo>
                <a:lnTo>
                  <a:pt x="3223" y="629"/>
                </a:lnTo>
                <a:lnTo>
                  <a:pt x="3216" y="621"/>
                </a:lnTo>
                <a:close/>
                <a:moveTo>
                  <a:pt x="3598" y="654"/>
                </a:moveTo>
                <a:lnTo>
                  <a:pt x="3575" y="597"/>
                </a:lnTo>
                <a:lnTo>
                  <a:pt x="3452" y="597"/>
                </a:lnTo>
                <a:lnTo>
                  <a:pt x="3430" y="654"/>
                </a:lnTo>
                <a:lnTo>
                  <a:pt x="3407" y="654"/>
                </a:lnTo>
                <a:lnTo>
                  <a:pt x="3501" y="422"/>
                </a:lnTo>
                <a:lnTo>
                  <a:pt x="3526" y="422"/>
                </a:lnTo>
                <a:lnTo>
                  <a:pt x="3621" y="654"/>
                </a:lnTo>
                <a:lnTo>
                  <a:pt x="3598" y="654"/>
                </a:lnTo>
                <a:close/>
                <a:moveTo>
                  <a:pt x="3514" y="443"/>
                </a:moveTo>
                <a:lnTo>
                  <a:pt x="3459" y="579"/>
                </a:lnTo>
                <a:lnTo>
                  <a:pt x="3569" y="579"/>
                </a:lnTo>
                <a:lnTo>
                  <a:pt x="3514" y="443"/>
                </a:lnTo>
                <a:close/>
                <a:moveTo>
                  <a:pt x="3658" y="654"/>
                </a:moveTo>
                <a:lnTo>
                  <a:pt x="3658" y="422"/>
                </a:lnTo>
                <a:lnTo>
                  <a:pt x="3805" y="422"/>
                </a:lnTo>
                <a:lnTo>
                  <a:pt x="3805" y="440"/>
                </a:lnTo>
                <a:lnTo>
                  <a:pt x="3678" y="440"/>
                </a:lnTo>
                <a:lnTo>
                  <a:pt x="3678" y="526"/>
                </a:lnTo>
                <a:lnTo>
                  <a:pt x="3802" y="526"/>
                </a:lnTo>
                <a:lnTo>
                  <a:pt x="3802" y="544"/>
                </a:lnTo>
                <a:lnTo>
                  <a:pt x="3678" y="544"/>
                </a:lnTo>
                <a:lnTo>
                  <a:pt x="3678" y="654"/>
                </a:lnTo>
                <a:lnTo>
                  <a:pt x="3658" y="654"/>
                </a:lnTo>
                <a:close/>
                <a:moveTo>
                  <a:pt x="3845" y="654"/>
                </a:moveTo>
                <a:lnTo>
                  <a:pt x="3845" y="422"/>
                </a:lnTo>
                <a:lnTo>
                  <a:pt x="3992" y="422"/>
                </a:lnTo>
                <a:lnTo>
                  <a:pt x="3992" y="440"/>
                </a:lnTo>
                <a:lnTo>
                  <a:pt x="3865" y="440"/>
                </a:lnTo>
                <a:lnTo>
                  <a:pt x="3865" y="526"/>
                </a:lnTo>
                <a:lnTo>
                  <a:pt x="3990" y="526"/>
                </a:lnTo>
                <a:lnTo>
                  <a:pt x="3990" y="544"/>
                </a:lnTo>
                <a:lnTo>
                  <a:pt x="3865" y="544"/>
                </a:lnTo>
                <a:lnTo>
                  <a:pt x="3865" y="636"/>
                </a:lnTo>
                <a:lnTo>
                  <a:pt x="3992" y="636"/>
                </a:lnTo>
                <a:lnTo>
                  <a:pt x="3992" y="654"/>
                </a:lnTo>
                <a:lnTo>
                  <a:pt x="3845" y="654"/>
                </a:lnTo>
                <a:close/>
                <a:moveTo>
                  <a:pt x="4177" y="654"/>
                </a:moveTo>
                <a:lnTo>
                  <a:pt x="4112" y="558"/>
                </a:lnTo>
                <a:lnTo>
                  <a:pt x="4061" y="558"/>
                </a:lnTo>
                <a:lnTo>
                  <a:pt x="4061" y="654"/>
                </a:lnTo>
                <a:lnTo>
                  <a:pt x="4041" y="654"/>
                </a:lnTo>
                <a:lnTo>
                  <a:pt x="4041" y="422"/>
                </a:lnTo>
                <a:lnTo>
                  <a:pt x="4127" y="422"/>
                </a:lnTo>
                <a:lnTo>
                  <a:pt x="4135" y="422"/>
                </a:lnTo>
                <a:lnTo>
                  <a:pt x="4142" y="423"/>
                </a:lnTo>
                <a:lnTo>
                  <a:pt x="4149" y="425"/>
                </a:lnTo>
                <a:lnTo>
                  <a:pt x="4155" y="427"/>
                </a:lnTo>
                <a:lnTo>
                  <a:pt x="4161" y="429"/>
                </a:lnTo>
                <a:lnTo>
                  <a:pt x="4167" y="432"/>
                </a:lnTo>
                <a:lnTo>
                  <a:pt x="4173" y="436"/>
                </a:lnTo>
                <a:lnTo>
                  <a:pt x="4178" y="440"/>
                </a:lnTo>
                <a:lnTo>
                  <a:pt x="4182" y="445"/>
                </a:lnTo>
                <a:lnTo>
                  <a:pt x="4186" y="450"/>
                </a:lnTo>
                <a:lnTo>
                  <a:pt x="4190" y="455"/>
                </a:lnTo>
                <a:lnTo>
                  <a:pt x="4193" y="461"/>
                </a:lnTo>
                <a:lnTo>
                  <a:pt x="4195" y="468"/>
                </a:lnTo>
                <a:lnTo>
                  <a:pt x="4197" y="475"/>
                </a:lnTo>
                <a:lnTo>
                  <a:pt x="4198" y="482"/>
                </a:lnTo>
                <a:lnTo>
                  <a:pt x="4198" y="490"/>
                </a:lnTo>
                <a:lnTo>
                  <a:pt x="4198" y="498"/>
                </a:lnTo>
                <a:lnTo>
                  <a:pt x="4197" y="505"/>
                </a:lnTo>
                <a:lnTo>
                  <a:pt x="4195" y="512"/>
                </a:lnTo>
                <a:lnTo>
                  <a:pt x="4193" y="518"/>
                </a:lnTo>
                <a:lnTo>
                  <a:pt x="4190" y="524"/>
                </a:lnTo>
                <a:lnTo>
                  <a:pt x="4187" y="529"/>
                </a:lnTo>
                <a:lnTo>
                  <a:pt x="4183" y="534"/>
                </a:lnTo>
                <a:lnTo>
                  <a:pt x="4179" y="539"/>
                </a:lnTo>
                <a:lnTo>
                  <a:pt x="4174" y="543"/>
                </a:lnTo>
                <a:lnTo>
                  <a:pt x="4169" y="546"/>
                </a:lnTo>
                <a:lnTo>
                  <a:pt x="4164" y="549"/>
                </a:lnTo>
                <a:lnTo>
                  <a:pt x="4158" y="552"/>
                </a:lnTo>
                <a:lnTo>
                  <a:pt x="4152" y="554"/>
                </a:lnTo>
                <a:lnTo>
                  <a:pt x="4146" y="555"/>
                </a:lnTo>
                <a:lnTo>
                  <a:pt x="4134" y="557"/>
                </a:lnTo>
                <a:lnTo>
                  <a:pt x="4201" y="654"/>
                </a:lnTo>
                <a:lnTo>
                  <a:pt x="4177" y="654"/>
                </a:lnTo>
                <a:close/>
                <a:moveTo>
                  <a:pt x="4177" y="490"/>
                </a:moveTo>
                <a:lnTo>
                  <a:pt x="4177" y="485"/>
                </a:lnTo>
                <a:lnTo>
                  <a:pt x="4176" y="479"/>
                </a:lnTo>
                <a:lnTo>
                  <a:pt x="4175" y="474"/>
                </a:lnTo>
                <a:lnTo>
                  <a:pt x="4173" y="470"/>
                </a:lnTo>
                <a:lnTo>
                  <a:pt x="4171" y="465"/>
                </a:lnTo>
                <a:lnTo>
                  <a:pt x="4169" y="461"/>
                </a:lnTo>
                <a:lnTo>
                  <a:pt x="4166" y="458"/>
                </a:lnTo>
                <a:lnTo>
                  <a:pt x="4163" y="454"/>
                </a:lnTo>
                <a:lnTo>
                  <a:pt x="4159" y="451"/>
                </a:lnTo>
                <a:lnTo>
                  <a:pt x="4155" y="448"/>
                </a:lnTo>
                <a:lnTo>
                  <a:pt x="4151" y="446"/>
                </a:lnTo>
                <a:lnTo>
                  <a:pt x="4147" y="444"/>
                </a:lnTo>
                <a:lnTo>
                  <a:pt x="4142" y="442"/>
                </a:lnTo>
                <a:lnTo>
                  <a:pt x="4137" y="441"/>
                </a:lnTo>
                <a:lnTo>
                  <a:pt x="4131" y="440"/>
                </a:lnTo>
                <a:lnTo>
                  <a:pt x="4126" y="440"/>
                </a:lnTo>
                <a:lnTo>
                  <a:pt x="4061" y="440"/>
                </a:lnTo>
                <a:lnTo>
                  <a:pt x="4061" y="540"/>
                </a:lnTo>
                <a:lnTo>
                  <a:pt x="4126" y="540"/>
                </a:lnTo>
                <a:lnTo>
                  <a:pt x="4131" y="540"/>
                </a:lnTo>
                <a:lnTo>
                  <a:pt x="4137" y="539"/>
                </a:lnTo>
                <a:lnTo>
                  <a:pt x="4142" y="538"/>
                </a:lnTo>
                <a:lnTo>
                  <a:pt x="4147" y="536"/>
                </a:lnTo>
                <a:lnTo>
                  <a:pt x="4151" y="534"/>
                </a:lnTo>
                <a:lnTo>
                  <a:pt x="4155" y="532"/>
                </a:lnTo>
                <a:lnTo>
                  <a:pt x="4159" y="529"/>
                </a:lnTo>
                <a:lnTo>
                  <a:pt x="4163" y="526"/>
                </a:lnTo>
                <a:lnTo>
                  <a:pt x="4166" y="522"/>
                </a:lnTo>
                <a:lnTo>
                  <a:pt x="4169" y="519"/>
                </a:lnTo>
                <a:lnTo>
                  <a:pt x="4171" y="514"/>
                </a:lnTo>
                <a:lnTo>
                  <a:pt x="4173" y="510"/>
                </a:lnTo>
                <a:lnTo>
                  <a:pt x="4174" y="508"/>
                </a:lnTo>
                <a:lnTo>
                  <a:pt x="4175" y="505"/>
                </a:lnTo>
                <a:lnTo>
                  <a:pt x="4176" y="500"/>
                </a:lnTo>
                <a:lnTo>
                  <a:pt x="4177" y="495"/>
                </a:lnTo>
                <a:lnTo>
                  <a:pt x="4177" y="4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0" name="Graphic 9">
            <a:extLst>
              <a:ext uri="{FF2B5EF4-FFF2-40B4-BE49-F238E27FC236}">
                <a16:creationId xmlns:a16="http://schemas.microsoft.com/office/drawing/2014/main" id="{AB376F9D-0A84-4D52-88CC-4DBD1E46556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25069421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I Slogan Grasslands">
    <p:bg>
      <p:bgPr>
        <a:solidFill>
          <a:schemeClr val="accent3"/>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8ADCE5FC-A60B-48F1-B347-8439FC9E207A}"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0" name="Freeform 5">
            <a:extLst>
              <a:ext uri="{FF2B5EF4-FFF2-40B4-BE49-F238E27FC236}">
                <a16:creationId xmlns:a16="http://schemas.microsoft.com/office/drawing/2014/main" id="{E4226840-FA81-4A3B-B102-07E4D154C778}"/>
              </a:ext>
            </a:extLst>
          </p:cNvPr>
          <p:cNvSpPr>
            <a:spLocks noChangeAspect="1" noEditPoints="1"/>
          </p:cNvSpPr>
          <p:nvPr userDrawn="1"/>
        </p:nvSpPr>
        <p:spPr bwMode="auto">
          <a:xfrm>
            <a:off x="2063552" y="2204864"/>
            <a:ext cx="8064896" cy="1735371"/>
          </a:xfrm>
          <a:custGeom>
            <a:avLst/>
            <a:gdLst>
              <a:gd name="T0" fmla="*/ 813 w 7222"/>
              <a:gd name="T1" fmla="*/ 1485 h 1554"/>
              <a:gd name="T2" fmla="*/ 967 w 7222"/>
              <a:gd name="T3" fmla="*/ 1450 h 1554"/>
              <a:gd name="T4" fmla="*/ 1356 w 7222"/>
              <a:gd name="T5" fmla="*/ 1548 h 1554"/>
              <a:gd name="T6" fmla="*/ 2030 w 7222"/>
              <a:gd name="T7" fmla="*/ 1548 h 1554"/>
              <a:gd name="T8" fmla="*/ 1970 w 7222"/>
              <a:gd name="T9" fmla="*/ 1439 h 1554"/>
              <a:gd name="T10" fmla="*/ 2145 w 7222"/>
              <a:gd name="T11" fmla="*/ 1507 h 1554"/>
              <a:gd name="T12" fmla="*/ 2165 w 7222"/>
              <a:gd name="T13" fmla="*/ 1532 h 1554"/>
              <a:gd name="T14" fmla="*/ 2524 w 7222"/>
              <a:gd name="T15" fmla="*/ 1196 h 1554"/>
              <a:gd name="T16" fmla="*/ 2527 w 7222"/>
              <a:gd name="T17" fmla="*/ 1376 h 1554"/>
              <a:gd name="T18" fmla="*/ 2540 w 7222"/>
              <a:gd name="T19" fmla="*/ 1287 h 1554"/>
              <a:gd name="T20" fmla="*/ 2790 w 7222"/>
              <a:gd name="T21" fmla="*/ 1512 h 1554"/>
              <a:gd name="T22" fmla="*/ 3631 w 7222"/>
              <a:gd name="T23" fmla="*/ 1180 h 1554"/>
              <a:gd name="T24" fmla="*/ 4030 w 7222"/>
              <a:gd name="T25" fmla="*/ 1496 h 1554"/>
              <a:gd name="T26" fmla="*/ 4249 w 7222"/>
              <a:gd name="T27" fmla="*/ 1493 h 1554"/>
              <a:gd name="T28" fmla="*/ 4090 w 7222"/>
              <a:gd name="T29" fmla="*/ 1347 h 1554"/>
              <a:gd name="T30" fmla="*/ 4116 w 7222"/>
              <a:gd name="T31" fmla="*/ 1181 h 1554"/>
              <a:gd name="T32" fmla="*/ 4232 w 7222"/>
              <a:gd name="T33" fmla="*/ 1220 h 1554"/>
              <a:gd name="T34" fmla="*/ 4076 w 7222"/>
              <a:gd name="T35" fmla="*/ 1277 h 1554"/>
              <a:gd name="T36" fmla="*/ 4282 w 7222"/>
              <a:gd name="T37" fmla="*/ 1400 h 1554"/>
              <a:gd name="T38" fmla="*/ 4177 w 7222"/>
              <a:gd name="T39" fmla="*/ 1554 h 1554"/>
              <a:gd name="T40" fmla="*/ 5001 w 7222"/>
              <a:gd name="T41" fmla="*/ 1180 h 1554"/>
              <a:gd name="T42" fmla="*/ 5817 w 7222"/>
              <a:gd name="T43" fmla="*/ 1428 h 1554"/>
              <a:gd name="T44" fmla="*/ 6354 w 7222"/>
              <a:gd name="T45" fmla="*/ 1519 h 1554"/>
              <a:gd name="T46" fmla="*/ 6377 w 7222"/>
              <a:gd name="T47" fmla="*/ 1552 h 1554"/>
              <a:gd name="T48" fmla="*/ 492 w 7222"/>
              <a:gd name="T49" fmla="*/ 877 h 1554"/>
              <a:gd name="T50" fmla="*/ 1518 w 7222"/>
              <a:gd name="T51" fmla="*/ 996 h 1554"/>
              <a:gd name="T52" fmla="*/ 2086 w 7222"/>
              <a:gd name="T53" fmla="*/ 877 h 1554"/>
              <a:gd name="T54" fmla="*/ 2460 w 7222"/>
              <a:gd name="T55" fmla="*/ 964 h 1554"/>
              <a:gd name="T56" fmla="*/ 2608 w 7222"/>
              <a:gd name="T57" fmla="*/ 886 h 1554"/>
              <a:gd name="T58" fmla="*/ 2393 w 7222"/>
              <a:gd name="T59" fmla="*/ 746 h 1554"/>
              <a:gd name="T60" fmla="*/ 2549 w 7222"/>
              <a:gd name="T61" fmla="*/ 626 h 1554"/>
              <a:gd name="T62" fmla="*/ 2524 w 7222"/>
              <a:gd name="T63" fmla="*/ 651 h 1554"/>
              <a:gd name="T64" fmla="*/ 2457 w 7222"/>
              <a:gd name="T65" fmla="*/ 767 h 1554"/>
              <a:gd name="T66" fmla="*/ 2643 w 7222"/>
              <a:gd name="T67" fmla="*/ 911 h 1554"/>
              <a:gd name="T68" fmla="*/ 2973 w 7222"/>
              <a:gd name="T69" fmla="*/ 657 h 1554"/>
              <a:gd name="T70" fmla="*/ 3738 w 7222"/>
              <a:gd name="T71" fmla="*/ 647 h 1554"/>
              <a:gd name="T72" fmla="*/ 3719 w 7222"/>
              <a:gd name="T73" fmla="*/ 835 h 1554"/>
              <a:gd name="T74" fmla="*/ 3749 w 7222"/>
              <a:gd name="T75" fmla="*/ 727 h 1554"/>
              <a:gd name="T76" fmla="*/ 3947 w 7222"/>
              <a:gd name="T77" fmla="*/ 995 h 1554"/>
              <a:gd name="T78" fmla="*/ 3895 w 7222"/>
              <a:gd name="T79" fmla="*/ 893 h 1554"/>
              <a:gd name="T80" fmla="*/ 4074 w 7222"/>
              <a:gd name="T81" fmla="*/ 953 h 1554"/>
              <a:gd name="T82" fmla="*/ 4084 w 7222"/>
              <a:gd name="T83" fmla="*/ 983 h 1554"/>
              <a:gd name="T84" fmla="*/ 4621 w 7222"/>
              <a:gd name="T85" fmla="*/ 657 h 1554"/>
              <a:gd name="T86" fmla="*/ 5453 w 7222"/>
              <a:gd name="T87" fmla="*/ 628 h 1554"/>
              <a:gd name="T88" fmla="*/ 6146 w 7222"/>
              <a:gd name="T89" fmla="*/ 996 h 1554"/>
              <a:gd name="T90" fmla="*/ 6928 w 7222"/>
              <a:gd name="T91" fmla="*/ 628 h 1554"/>
              <a:gd name="T92" fmla="*/ 936 w 7222"/>
              <a:gd name="T93" fmla="*/ 438 h 1554"/>
              <a:gd name="T94" fmla="*/ 1034 w 7222"/>
              <a:gd name="T95" fmla="*/ 421 h 1554"/>
              <a:gd name="T96" fmla="*/ 1064 w 7222"/>
              <a:gd name="T97" fmla="*/ 290 h 1554"/>
              <a:gd name="T98" fmla="*/ 899 w 7222"/>
              <a:gd name="T99" fmla="*/ 119 h 1554"/>
              <a:gd name="T100" fmla="*/ 1118 w 7222"/>
              <a:gd name="T101" fmla="*/ 111 h 1554"/>
              <a:gd name="T102" fmla="*/ 942 w 7222"/>
              <a:gd name="T103" fmla="*/ 118 h 1554"/>
              <a:gd name="T104" fmla="*/ 1076 w 7222"/>
              <a:gd name="T105" fmla="*/ 258 h 1554"/>
              <a:gd name="T106" fmla="*/ 1099 w 7222"/>
              <a:gd name="T107" fmla="*/ 426 h 1554"/>
              <a:gd name="T108" fmla="*/ 1491 w 7222"/>
              <a:gd name="T109" fmla="*/ 110 h 1554"/>
              <a:gd name="T110" fmla="*/ 2310 w 7222"/>
              <a:gd name="T111" fmla="*/ 77 h 1554"/>
              <a:gd name="T112" fmla="*/ 2895 w 7222"/>
              <a:gd name="T113" fmla="*/ 110 h 1554"/>
              <a:gd name="T114" fmla="*/ 3623 w 7222"/>
              <a:gd name="T115" fmla="*/ 77 h 1554"/>
              <a:gd name="T116" fmla="*/ 4625 w 7222"/>
              <a:gd name="T117" fmla="*/ 444 h 1554"/>
              <a:gd name="T118" fmla="*/ 5408 w 7222"/>
              <a:gd name="T119" fmla="*/ 444 h 1554"/>
              <a:gd name="T120" fmla="*/ 6341 w 7222"/>
              <a:gd name="T121" fmla="*/ 35 h 1554"/>
              <a:gd name="T122" fmla="*/ 6345 w 7222"/>
              <a:gd name="T123" fmla="*/ 13 h 1554"/>
              <a:gd name="T124" fmla="*/ 6210 w 7222"/>
              <a:gd name="T125" fmla="*/ 0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2" h="1554">
                <a:moveTo>
                  <a:pt x="6593" y="444"/>
                </a:moveTo>
                <a:lnTo>
                  <a:pt x="6561" y="444"/>
                </a:lnTo>
                <a:lnTo>
                  <a:pt x="6561" y="105"/>
                </a:lnTo>
                <a:lnTo>
                  <a:pt x="6441" y="105"/>
                </a:lnTo>
                <a:lnTo>
                  <a:pt x="6441" y="77"/>
                </a:lnTo>
                <a:lnTo>
                  <a:pt x="6713" y="77"/>
                </a:lnTo>
                <a:lnTo>
                  <a:pt x="6713" y="105"/>
                </a:lnTo>
                <a:lnTo>
                  <a:pt x="6593" y="105"/>
                </a:lnTo>
                <a:lnTo>
                  <a:pt x="6593" y="444"/>
                </a:lnTo>
                <a:close/>
                <a:moveTo>
                  <a:pt x="888" y="1554"/>
                </a:moveTo>
                <a:lnTo>
                  <a:pt x="873" y="1553"/>
                </a:lnTo>
                <a:lnTo>
                  <a:pt x="867" y="1553"/>
                </a:lnTo>
                <a:lnTo>
                  <a:pt x="860" y="1551"/>
                </a:lnTo>
                <a:lnTo>
                  <a:pt x="853" y="1550"/>
                </a:lnTo>
                <a:lnTo>
                  <a:pt x="847" y="1548"/>
                </a:lnTo>
                <a:lnTo>
                  <a:pt x="841" y="1546"/>
                </a:lnTo>
                <a:lnTo>
                  <a:pt x="835" y="1543"/>
                </a:lnTo>
                <a:lnTo>
                  <a:pt x="829" y="1540"/>
                </a:lnTo>
                <a:lnTo>
                  <a:pt x="824" y="1537"/>
                </a:lnTo>
                <a:lnTo>
                  <a:pt x="818" y="1533"/>
                </a:lnTo>
                <a:lnTo>
                  <a:pt x="813" y="1529"/>
                </a:lnTo>
                <a:lnTo>
                  <a:pt x="808" y="1525"/>
                </a:lnTo>
                <a:lnTo>
                  <a:pt x="803" y="1520"/>
                </a:lnTo>
                <a:lnTo>
                  <a:pt x="798" y="1515"/>
                </a:lnTo>
                <a:lnTo>
                  <a:pt x="794" y="1509"/>
                </a:lnTo>
                <a:lnTo>
                  <a:pt x="813" y="1485"/>
                </a:lnTo>
                <a:lnTo>
                  <a:pt x="819" y="1493"/>
                </a:lnTo>
                <a:lnTo>
                  <a:pt x="827" y="1500"/>
                </a:lnTo>
                <a:lnTo>
                  <a:pt x="834" y="1507"/>
                </a:lnTo>
                <a:lnTo>
                  <a:pt x="843" y="1513"/>
                </a:lnTo>
                <a:lnTo>
                  <a:pt x="848" y="1516"/>
                </a:lnTo>
                <a:lnTo>
                  <a:pt x="852" y="1519"/>
                </a:lnTo>
                <a:lnTo>
                  <a:pt x="857" y="1521"/>
                </a:lnTo>
                <a:lnTo>
                  <a:pt x="863" y="1522"/>
                </a:lnTo>
                <a:lnTo>
                  <a:pt x="868" y="1524"/>
                </a:lnTo>
                <a:lnTo>
                  <a:pt x="874" y="1525"/>
                </a:lnTo>
                <a:lnTo>
                  <a:pt x="886" y="1526"/>
                </a:lnTo>
                <a:lnTo>
                  <a:pt x="896" y="1525"/>
                </a:lnTo>
                <a:lnTo>
                  <a:pt x="904" y="1524"/>
                </a:lnTo>
                <a:lnTo>
                  <a:pt x="912" y="1522"/>
                </a:lnTo>
                <a:lnTo>
                  <a:pt x="920" y="1519"/>
                </a:lnTo>
                <a:lnTo>
                  <a:pt x="927" y="1516"/>
                </a:lnTo>
                <a:lnTo>
                  <a:pt x="934" y="1512"/>
                </a:lnTo>
                <a:lnTo>
                  <a:pt x="940" y="1507"/>
                </a:lnTo>
                <a:lnTo>
                  <a:pt x="946" y="1502"/>
                </a:lnTo>
                <a:lnTo>
                  <a:pt x="951" y="1496"/>
                </a:lnTo>
                <a:lnTo>
                  <a:pt x="955" y="1490"/>
                </a:lnTo>
                <a:lnTo>
                  <a:pt x="959" y="1483"/>
                </a:lnTo>
                <a:lnTo>
                  <a:pt x="962" y="1475"/>
                </a:lnTo>
                <a:lnTo>
                  <a:pt x="965" y="1467"/>
                </a:lnTo>
                <a:lnTo>
                  <a:pt x="966" y="1459"/>
                </a:lnTo>
                <a:lnTo>
                  <a:pt x="967" y="1450"/>
                </a:lnTo>
                <a:lnTo>
                  <a:pt x="968" y="1441"/>
                </a:lnTo>
                <a:lnTo>
                  <a:pt x="968" y="1180"/>
                </a:lnTo>
                <a:lnTo>
                  <a:pt x="999" y="1180"/>
                </a:lnTo>
                <a:lnTo>
                  <a:pt x="999" y="1441"/>
                </a:lnTo>
                <a:lnTo>
                  <a:pt x="999" y="1448"/>
                </a:lnTo>
                <a:lnTo>
                  <a:pt x="998" y="1455"/>
                </a:lnTo>
                <a:lnTo>
                  <a:pt x="997" y="1468"/>
                </a:lnTo>
                <a:lnTo>
                  <a:pt x="996" y="1474"/>
                </a:lnTo>
                <a:lnTo>
                  <a:pt x="994" y="1480"/>
                </a:lnTo>
                <a:lnTo>
                  <a:pt x="990" y="1491"/>
                </a:lnTo>
                <a:lnTo>
                  <a:pt x="986" y="1501"/>
                </a:lnTo>
                <a:lnTo>
                  <a:pt x="980" y="1511"/>
                </a:lnTo>
                <a:lnTo>
                  <a:pt x="977" y="1515"/>
                </a:lnTo>
                <a:lnTo>
                  <a:pt x="974" y="1519"/>
                </a:lnTo>
                <a:lnTo>
                  <a:pt x="970" y="1523"/>
                </a:lnTo>
                <a:lnTo>
                  <a:pt x="967" y="1526"/>
                </a:lnTo>
                <a:lnTo>
                  <a:pt x="958" y="1533"/>
                </a:lnTo>
                <a:lnTo>
                  <a:pt x="950" y="1539"/>
                </a:lnTo>
                <a:lnTo>
                  <a:pt x="941" y="1543"/>
                </a:lnTo>
                <a:lnTo>
                  <a:pt x="931" y="1547"/>
                </a:lnTo>
                <a:lnTo>
                  <a:pt x="921" y="1550"/>
                </a:lnTo>
                <a:lnTo>
                  <a:pt x="911" y="1552"/>
                </a:lnTo>
                <a:lnTo>
                  <a:pt x="899" y="1554"/>
                </a:lnTo>
                <a:lnTo>
                  <a:pt x="888" y="1554"/>
                </a:lnTo>
                <a:close/>
                <a:moveTo>
                  <a:pt x="1392" y="1548"/>
                </a:moveTo>
                <a:lnTo>
                  <a:pt x="1356" y="1548"/>
                </a:lnTo>
                <a:lnTo>
                  <a:pt x="1320" y="1457"/>
                </a:lnTo>
                <a:lnTo>
                  <a:pt x="1125" y="1457"/>
                </a:lnTo>
                <a:lnTo>
                  <a:pt x="1089" y="1548"/>
                </a:lnTo>
                <a:lnTo>
                  <a:pt x="1052" y="1548"/>
                </a:lnTo>
                <a:lnTo>
                  <a:pt x="1203" y="1180"/>
                </a:lnTo>
                <a:lnTo>
                  <a:pt x="1242" y="1180"/>
                </a:lnTo>
                <a:lnTo>
                  <a:pt x="1392" y="1548"/>
                </a:lnTo>
                <a:close/>
                <a:moveTo>
                  <a:pt x="1309" y="1428"/>
                </a:moveTo>
                <a:lnTo>
                  <a:pt x="1223" y="1213"/>
                </a:lnTo>
                <a:lnTo>
                  <a:pt x="1135" y="1428"/>
                </a:lnTo>
                <a:lnTo>
                  <a:pt x="1309" y="1428"/>
                </a:lnTo>
                <a:close/>
                <a:moveTo>
                  <a:pt x="1737" y="1548"/>
                </a:moveTo>
                <a:lnTo>
                  <a:pt x="1705" y="1548"/>
                </a:lnTo>
                <a:lnTo>
                  <a:pt x="1705" y="1208"/>
                </a:lnTo>
                <a:lnTo>
                  <a:pt x="1585" y="1208"/>
                </a:lnTo>
                <a:lnTo>
                  <a:pt x="1585" y="1180"/>
                </a:lnTo>
                <a:lnTo>
                  <a:pt x="1858" y="1180"/>
                </a:lnTo>
                <a:lnTo>
                  <a:pt x="1858" y="1208"/>
                </a:lnTo>
                <a:lnTo>
                  <a:pt x="1737" y="1208"/>
                </a:lnTo>
                <a:lnTo>
                  <a:pt x="1737" y="1548"/>
                </a:lnTo>
                <a:close/>
                <a:moveTo>
                  <a:pt x="2078" y="1554"/>
                </a:moveTo>
                <a:lnTo>
                  <a:pt x="2069" y="1554"/>
                </a:lnTo>
                <a:lnTo>
                  <a:pt x="2061" y="1553"/>
                </a:lnTo>
                <a:lnTo>
                  <a:pt x="2045" y="1551"/>
                </a:lnTo>
                <a:lnTo>
                  <a:pt x="2037" y="1550"/>
                </a:lnTo>
                <a:lnTo>
                  <a:pt x="2030" y="1548"/>
                </a:lnTo>
                <a:lnTo>
                  <a:pt x="2023" y="1546"/>
                </a:lnTo>
                <a:lnTo>
                  <a:pt x="2016" y="1544"/>
                </a:lnTo>
                <a:lnTo>
                  <a:pt x="2003" y="1538"/>
                </a:lnTo>
                <a:lnTo>
                  <a:pt x="1997" y="1535"/>
                </a:lnTo>
                <a:lnTo>
                  <a:pt x="1991" y="1531"/>
                </a:lnTo>
                <a:lnTo>
                  <a:pt x="1981" y="1523"/>
                </a:lnTo>
                <a:lnTo>
                  <a:pt x="1976" y="1519"/>
                </a:lnTo>
                <a:lnTo>
                  <a:pt x="1971" y="1514"/>
                </a:lnTo>
                <a:lnTo>
                  <a:pt x="1963" y="1504"/>
                </a:lnTo>
                <a:lnTo>
                  <a:pt x="1959" y="1498"/>
                </a:lnTo>
                <a:lnTo>
                  <a:pt x="1955" y="1493"/>
                </a:lnTo>
                <a:lnTo>
                  <a:pt x="1949" y="1481"/>
                </a:lnTo>
                <a:lnTo>
                  <a:pt x="1946" y="1474"/>
                </a:lnTo>
                <a:lnTo>
                  <a:pt x="1944" y="1468"/>
                </a:lnTo>
                <a:lnTo>
                  <a:pt x="1940" y="1454"/>
                </a:lnTo>
                <a:lnTo>
                  <a:pt x="1938" y="1446"/>
                </a:lnTo>
                <a:lnTo>
                  <a:pt x="1937" y="1439"/>
                </a:lnTo>
                <a:lnTo>
                  <a:pt x="1935" y="1423"/>
                </a:lnTo>
                <a:lnTo>
                  <a:pt x="1935" y="1415"/>
                </a:lnTo>
                <a:lnTo>
                  <a:pt x="1935" y="1406"/>
                </a:lnTo>
                <a:lnTo>
                  <a:pt x="1935" y="1180"/>
                </a:lnTo>
                <a:lnTo>
                  <a:pt x="1967" y="1180"/>
                </a:lnTo>
                <a:lnTo>
                  <a:pt x="1967" y="1406"/>
                </a:lnTo>
                <a:lnTo>
                  <a:pt x="1967" y="1420"/>
                </a:lnTo>
                <a:lnTo>
                  <a:pt x="1969" y="1432"/>
                </a:lnTo>
                <a:lnTo>
                  <a:pt x="1970" y="1439"/>
                </a:lnTo>
                <a:lnTo>
                  <a:pt x="1971" y="1445"/>
                </a:lnTo>
                <a:lnTo>
                  <a:pt x="1974" y="1456"/>
                </a:lnTo>
                <a:lnTo>
                  <a:pt x="1978" y="1467"/>
                </a:lnTo>
                <a:lnTo>
                  <a:pt x="1980" y="1472"/>
                </a:lnTo>
                <a:lnTo>
                  <a:pt x="1983" y="1476"/>
                </a:lnTo>
                <a:lnTo>
                  <a:pt x="1989" y="1485"/>
                </a:lnTo>
                <a:lnTo>
                  <a:pt x="1992" y="1490"/>
                </a:lnTo>
                <a:lnTo>
                  <a:pt x="1995" y="1494"/>
                </a:lnTo>
                <a:lnTo>
                  <a:pt x="1999" y="1497"/>
                </a:lnTo>
                <a:lnTo>
                  <a:pt x="2003" y="1501"/>
                </a:lnTo>
                <a:lnTo>
                  <a:pt x="2011" y="1507"/>
                </a:lnTo>
                <a:lnTo>
                  <a:pt x="2020" y="1513"/>
                </a:lnTo>
                <a:lnTo>
                  <a:pt x="2025" y="1515"/>
                </a:lnTo>
                <a:lnTo>
                  <a:pt x="2030" y="1517"/>
                </a:lnTo>
                <a:lnTo>
                  <a:pt x="2041" y="1521"/>
                </a:lnTo>
                <a:lnTo>
                  <a:pt x="2053" y="1523"/>
                </a:lnTo>
                <a:lnTo>
                  <a:pt x="2059" y="1524"/>
                </a:lnTo>
                <a:lnTo>
                  <a:pt x="2065" y="1525"/>
                </a:lnTo>
                <a:lnTo>
                  <a:pt x="2078" y="1526"/>
                </a:lnTo>
                <a:lnTo>
                  <a:pt x="2091" y="1525"/>
                </a:lnTo>
                <a:lnTo>
                  <a:pt x="2104" y="1523"/>
                </a:lnTo>
                <a:lnTo>
                  <a:pt x="2115" y="1521"/>
                </a:lnTo>
                <a:lnTo>
                  <a:pt x="2126" y="1517"/>
                </a:lnTo>
                <a:lnTo>
                  <a:pt x="2131" y="1515"/>
                </a:lnTo>
                <a:lnTo>
                  <a:pt x="2136" y="1513"/>
                </a:lnTo>
                <a:lnTo>
                  <a:pt x="2145" y="1507"/>
                </a:lnTo>
                <a:lnTo>
                  <a:pt x="2149" y="1504"/>
                </a:lnTo>
                <a:lnTo>
                  <a:pt x="2154" y="1501"/>
                </a:lnTo>
                <a:lnTo>
                  <a:pt x="2157" y="1497"/>
                </a:lnTo>
                <a:lnTo>
                  <a:pt x="2161" y="1494"/>
                </a:lnTo>
                <a:lnTo>
                  <a:pt x="2168" y="1485"/>
                </a:lnTo>
                <a:lnTo>
                  <a:pt x="2173" y="1476"/>
                </a:lnTo>
                <a:lnTo>
                  <a:pt x="2178" y="1467"/>
                </a:lnTo>
                <a:lnTo>
                  <a:pt x="2182" y="1456"/>
                </a:lnTo>
                <a:lnTo>
                  <a:pt x="2186" y="1445"/>
                </a:lnTo>
                <a:lnTo>
                  <a:pt x="2187" y="1439"/>
                </a:lnTo>
                <a:lnTo>
                  <a:pt x="2188" y="1432"/>
                </a:lnTo>
                <a:lnTo>
                  <a:pt x="2189" y="1420"/>
                </a:lnTo>
                <a:lnTo>
                  <a:pt x="2190" y="1406"/>
                </a:lnTo>
                <a:lnTo>
                  <a:pt x="2190" y="1180"/>
                </a:lnTo>
                <a:lnTo>
                  <a:pt x="2222" y="1180"/>
                </a:lnTo>
                <a:lnTo>
                  <a:pt x="2222" y="1406"/>
                </a:lnTo>
                <a:lnTo>
                  <a:pt x="2221" y="1423"/>
                </a:lnTo>
                <a:lnTo>
                  <a:pt x="2219" y="1439"/>
                </a:lnTo>
                <a:lnTo>
                  <a:pt x="2216" y="1454"/>
                </a:lnTo>
                <a:lnTo>
                  <a:pt x="2213" y="1468"/>
                </a:lnTo>
                <a:lnTo>
                  <a:pt x="2207" y="1481"/>
                </a:lnTo>
                <a:lnTo>
                  <a:pt x="2201" y="1493"/>
                </a:lnTo>
                <a:lnTo>
                  <a:pt x="2194" y="1504"/>
                </a:lnTo>
                <a:lnTo>
                  <a:pt x="2185" y="1514"/>
                </a:lnTo>
                <a:lnTo>
                  <a:pt x="2176" y="1524"/>
                </a:lnTo>
                <a:lnTo>
                  <a:pt x="2165" y="1532"/>
                </a:lnTo>
                <a:lnTo>
                  <a:pt x="2160" y="1535"/>
                </a:lnTo>
                <a:lnTo>
                  <a:pt x="2153" y="1538"/>
                </a:lnTo>
                <a:lnTo>
                  <a:pt x="2147" y="1541"/>
                </a:lnTo>
                <a:lnTo>
                  <a:pt x="2141" y="1544"/>
                </a:lnTo>
                <a:lnTo>
                  <a:pt x="2134" y="1546"/>
                </a:lnTo>
                <a:lnTo>
                  <a:pt x="2127" y="1548"/>
                </a:lnTo>
                <a:lnTo>
                  <a:pt x="2112" y="1551"/>
                </a:lnTo>
                <a:lnTo>
                  <a:pt x="2095" y="1553"/>
                </a:lnTo>
                <a:lnTo>
                  <a:pt x="2087" y="1554"/>
                </a:lnTo>
                <a:lnTo>
                  <a:pt x="2078" y="1554"/>
                </a:lnTo>
                <a:close/>
                <a:moveTo>
                  <a:pt x="2578" y="1548"/>
                </a:moveTo>
                <a:lnTo>
                  <a:pt x="2540" y="1548"/>
                </a:lnTo>
                <a:lnTo>
                  <a:pt x="2436" y="1395"/>
                </a:lnTo>
                <a:lnTo>
                  <a:pt x="2355" y="1395"/>
                </a:lnTo>
                <a:lnTo>
                  <a:pt x="2355" y="1548"/>
                </a:lnTo>
                <a:lnTo>
                  <a:pt x="2324" y="1548"/>
                </a:lnTo>
                <a:lnTo>
                  <a:pt x="2324" y="1180"/>
                </a:lnTo>
                <a:lnTo>
                  <a:pt x="2461" y="1180"/>
                </a:lnTo>
                <a:lnTo>
                  <a:pt x="2473" y="1180"/>
                </a:lnTo>
                <a:lnTo>
                  <a:pt x="2479" y="1181"/>
                </a:lnTo>
                <a:lnTo>
                  <a:pt x="2484" y="1182"/>
                </a:lnTo>
                <a:lnTo>
                  <a:pt x="2490" y="1183"/>
                </a:lnTo>
                <a:lnTo>
                  <a:pt x="2495" y="1184"/>
                </a:lnTo>
                <a:lnTo>
                  <a:pt x="2506" y="1187"/>
                </a:lnTo>
                <a:lnTo>
                  <a:pt x="2515" y="1191"/>
                </a:lnTo>
                <a:lnTo>
                  <a:pt x="2524" y="1196"/>
                </a:lnTo>
                <a:lnTo>
                  <a:pt x="2533" y="1202"/>
                </a:lnTo>
                <a:lnTo>
                  <a:pt x="2541" y="1208"/>
                </a:lnTo>
                <a:lnTo>
                  <a:pt x="2545" y="1212"/>
                </a:lnTo>
                <a:lnTo>
                  <a:pt x="2548" y="1216"/>
                </a:lnTo>
                <a:lnTo>
                  <a:pt x="2552" y="1220"/>
                </a:lnTo>
                <a:lnTo>
                  <a:pt x="2555" y="1224"/>
                </a:lnTo>
                <a:lnTo>
                  <a:pt x="2560" y="1232"/>
                </a:lnTo>
                <a:lnTo>
                  <a:pt x="2562" y="1237"/>
                </a:lnTo>
                <a:lnTo>
                  <a:pt x="2565" y="1242"/>
                </a:lnTo>
                <a:lnTo>
                  <a:pt x="2568" y="1252"/>
                </a:lnTo>
                <a:lnTo>
                  <a:pt x="2570" y="1258"/>
                </a:lnTo>
                <a:lnTo>
                  <a:pt x="2571" y="1263"/>
                </a:lnTo>
                <a:lnTo>
                  <a:pt x="2572" y="1275"/>
                </a:lnTo>
                <a:lnTo>
                  <a:pt x="2573" y="1287"/>
                </a:lnTo>
                <a:lnTo>
                  <a:pt x="2573" y="1293"/>
                </a:lnTo>
                <a:lnTo>
                  <a:pt x="2572" y="1299"/>
                </a:lnTo>
                <a:lnTo>
                  <a:pt x="2571" y="1311"/>
                </a:lnTo>
                <a:lnTo>
                  <a:pt x="2568" y="1322"/>
                </a:lnTo>
                <a:lnTo>
                  <a:pt x="2565" y="1332"/>
                </a:lnTo>
                <a:lnTo>
                  <a:pt x="2561" y="1341"/>
                </a:lnTo>
                <a:lnTo>
                  <a:pt x="2556" y="1349"/>
                </a:lnTo>
                <a:lnTo>
                  <a:pt x="2553" y="1353"/>
                </a:lnTo>
                <a:lnTo>
                  <a:pt x="2550" y="1357"/>
                </a:lnTo>
                <a:lnTo>
                  <a:pt x="2543" y="1364"/>
                </a:lnTo>
                <a:lnTo>
                  <a:pt x="2535" y="1371"/>
                </a:lnTo>
                <a:lnTo>
                  <a:pt x="2527" y="1376"/>
                </a:lnTo>
                <a:lnTo>
                  <a:pt x="2519" y="1381"/>
                </a:lnTo>
                <a:lnTo>
                  <a:pt x="2510" y="1385"/>
                </a:lnTo>
                <a:lnTo>
                  <a:pt x="2501" y="1388"/>
                </a:lnTo>
                <a:lnTo>
                  <a:pt x="2492" y="1391"/>
                </a:lnTo>
                <a:lnTo>
                  <a:pt x="2482" y="1392"/>
                </a:lnTo>
                <a:lnTo>
                  <a:pt x="2471" y="1393"/>
                </a:lnTo>
                <a:lnTo>
                  <a:pt x="2578" y="1548"/>
                </a:lnTo>
                <a:close/>
                <a:moveTo>
                  <a:pt x="2459" y="1367"/>
                </a:moveTo>
                <a:lnTo>
                  <a:pt x="2468" y="1366"/>
                </a:lnTo>
                <a:lnTo>
                  <a:pt x="2476" y="1365"/>
                </a:lnTo>
                <a:lnTo>
                  <a:pt x="2484" y="1363"/>
                </a:lnTo>
                <a:lnTo>
                  <a:pt x="2492" y="1361"/>
                </a:lnTo>
                <a:lnTo>
                  <a:pt x="2499" y="1358"/>
                </a:lnTo>
                <a:lnTo>
                  <a:pt x="2506" y="1354"/>
                </a:lnTo>
                <a:lnTo>
                  <a:pt x="2509" y="1352"/>
                </a:lnTo>
                <a:lnTo>
                  <a:pt x="2512" y="1349"/>
                </a:lnTo>
                <a:lnTo>
                  <a:pt x="2518" y="1344"/>
                </a:lnTo>
                <a:lnTo>
                  <a:pt x="2523" y="1339"/>
                </a:lnTo>
                <a:lnTo>
                  <a:pt x="2527" y="1333"/>
                </a:lnTo>
                <a:lnTo>
                  <a:pt x="2529" y="1329"/>
                </a:lnTo>
                <a:lnTo>
                  <a:pt x="2531" y="1326"/>
                </a:lnTo>
                <a:lnTo>
                  <a:pt x="2534" y="1319"/>
                </a:lnTo>
                <a:lnTo>
                  <a:pt x="2537" y="1312"/>
                </a:lnTo>
                <a:lnTo>
                  <a:pt x="2539" y="1304"/>
                </a:lnTo>
                <a:lnTo>
                  <a:pt x="2540" y="1296"/>
                </a:lnTo>
                <a:lnTo>
                  <a:pt x="2540" y="1287"/>
                </a:lnTo>
                <a:lnTo>
                  <a:pt x="2540" y="1279"/>
                </a:lnTo>
                <a:lnTo>
                  <a:pt x="2539" y="1270"/>
                </a:lnTo>
                <a:lnTo>
                  <a:pt x="2537" y="1263"/>
                </a:lnTo>
                <a:lnTo>
                  <a:pt x="2534" y="1255"/>
                </a:lnTo>
                <a:lnTo>
                  <a:pt x="2531" y="1248"/>
                </a:lnTo>
                <a:lnTo>
                  <a:pt x="2527" y="1242"/>
                </a:lnTo>
                <a:lnTo>
                  <a:pt x="2523" y="1236"/>
                </a:lnTo>
                <a:lnTo>
                  <a:pt x="2520" y="1233"/>
                </a:lnTo>
                <a:lnTo>
                  <a:pt x="2518" y="1230"/>
                </a:lnTo>
                <a:lnTo>
                  <a:pt x="2512" y="1225"/>
                </a:lnTo>
                <a:lnTo>
                  <a:pt x="2506" y="1221"/>
                </a:lnTo>
                <a:lnTo>
                  <a:pt x="2499" y="1217"/>
                </a:lnTo>
                <a:lnTo>
                  <a:pt x="2496" y="1216"/>
                </a:lnTo>
                <a:lnTo>
                  <a:pt x="2492" y="1214"/>
                </a:lnTo>
                <a:lnTo>
                  <a:pt x="2484" y="1212"/>
                </a:lnTo>
                <a:lnTo>
                  <a:pt x="2476" y="1210"/>
                </a:lnTo>
                <a:lnTo>
                  <a:pt x="2468" y="1209"/>
                </a:lnTo>
                <a:lnTo>
                  <a:pt x="2459" y="1208"/>
                </a:lnTo>
                <a:lnTo>
                  <a:pt x="2355" y="1208"/>
                </a:lnTo>
                <a:lnTo>
                  <a:pt x="2355" y="1367"/>
                </a:lnTo>
                <a:lnTo>
                  <a:pt x="2459" y="1367"/>
                </a:lnTo>
                <a:close/>
                <a:moveTo>
                  <a:pt x="2809" y="1548"/>
                </a:moveTo>
                <a:lnTo>
                  <a:pt x="2770" y="1548"/>
                </a:lnTo>
                <a:lnTo>
                  <a:pt x="2619" y="1180"/>
                </a:lnTo>
                <a:lnTo>
                  <a:pt x="2656" y="1180"/>
                </a:lnTo>
                <a:lnTo>
                  <a:pt x="2790" y="1512"/>
                </a:lnTo>
                <a:lnTo>
                  <a:pt x="2923" y="1180"/>
                </a:lnTo>
                <a:lnTo>
                  <a:pt x="2960" y="1180"/>
                </a:lnTo>
                <a:lnTo>
                  <a:pt x="2809" y="1548"/>
                </a:lnTo>
                <a:close/>
                <a:moveTo>
                  <a:pt x="3296" y="1548"/>
                </a:moveTo>
                <a:lnTo>
                  <a:pt x="3259" y="1548"/>
                </a:lnTo>
                <a:lnTo>
                  <a:pt x="3223" y="1457"/>
                </a:lnTo>
                <a:lnTo>
                  <a:pt x="3028" y="1457"/>
                </a:lnTo>
                <a:lnTo>
                  <a:pt x="2992" y="1548"/>
                </a:lnTo>
                <a:lnTo>
                  <a:pt x="2956" y="1548"/>
                </a:lnTo>
                <a:lnTo>
                  <a:pt x="3106" y="1180"/>
                </a:lnTo>
                <a:lnTo>
                  <a:pt x="3145" y="1180"/>
                </a:lnTo>
                <a:lnTo>
                  <a:pt x="3296" y="1548"/>
                </a:lnTo>
                <a:close/>
                <a:moveTo>
                  <a:pt x="3213" y="1428"/>
                </a:moveTo>
                <a:lnTo>
                  <a:pt x="3126" y="1213"/>
                </a:lnTo>
                <a:lnTo>
                  <a:pt x="3039" y="1428"/>
                </a:lnTo>
                <a:lnTo>
                  <a:pt x="3213" y="1428"/>
                </a:lnTo>
                <a:close/>
                <a:moveTo>
                  <a:pt x="3563" y="1548"/>
                </a:moveTo>
                <a:lnTo>
                  <a:pt x="3353" y="1548"/>
                </a:lnTo>
                <a:lnTo>
                  <a:pt x="3353" y="1180"/>
                </a:lnTo>
                <a:lnTo>
                  <a:pt x="3385" y="1180"/>
                </a:lnTo>
                <a:lnTo>
                  <a:pt x="3385" y="1519"/>
                </a:lnTo>
                <a:lnTo>
                  <a:pt x="3563" y="1519"/>
                </a:lnTo>
                <a:lnTo>
                  <a:pt x="3563" y="1548"/>
                </a:lnTo>
                <a:close/>
                <a:moveTo>
                  <a:pt x="3841" y="1548"/>
                </a:moveTo>
                <a:lnTo>
                  <a:pt x="3631" y="1548"/>
                </a:lnTo>
                <a:lnTo>
                  <a:pt x="3631" y="1180"/>
                </a:lnTo>
                <a:lnTo>
                  <a:pt x="3663" y="1180"/>
                </a:lnTo>
                <a:lnTo>
                  <a:pt x="3663" y="1519"/>
                </a:lnTo>
                <a:lnTo>
                  <a:pt x="3841" y="1519"/>
                </a:lnTo>
                <a:lnTo>
                  <a:pt x="3841" y="1548"/>
                </a:lnTo>
                <a:close/>
                <a:moveTo>
                  <a:pt x="3948" y="1548"/>
                </a:moveTo>
                <a:lnTo>
                  <a:pt x="3917" y="1548"/>
                </a:lnTo>
                <a:lnTo>
                  <a:pt x="3917" y="1180"/>
                </a:lnTo>
                <a:lnTo>
                  <a:pt x="3948" y="1180"/>
                </a:lnTo>
                <a:lnTo>
                  <a:pt x="3948" y="1548"/>
                </a:lnTo>
                <a:close/>
                <a:moveTo>
                  <a:pt x="4165" y="1554"/>
                </a:moveTo>
                <a:lnTo>
                  <a:pt x="4154" y="1554"/>
                </a:lnTo>
                <a:lnTo>
                  <a:pt x="4143" y="1553"/>
                </a:lnTo>
                <a:lnTo>
                  <a:pt x="4132" y="1552"/>
                </a:lnTo>
                <a:lnTo>
                  <a:pt x="4122" y="1550"/>
                </a:lnTo>
                <a:lnTo>
                  <a:pt x="4113" y="1547"/>
                </a:lnTo>
                <a:lnTo>
                  <a:pt x="4103" y="1545"/>
                </a:lnTo>
                <a:lnTo>
                  <a:pt x="4094" y="1541"/>
                </a:lnTo>
                <a:lnTo>
                  <a:pt x="4085" y="1538"/>
                </a:lnTo>
                <a:lnTo>
                  <a:pt x="4077" y="1533"/>
                </a:lnTo>
                <a:lnTo>
                  <a:pt x="4069" y="1529"/>
                </a:lnTo>
                <a:lnTo>
                  <a:pt x="4062" y="1524"/>
                </a:lnTo>
                <a:lnTo>
                  <a:pt x="4055" y="1519"/>
                </a:lnTo>
                <a:lnTo>
                  <a:pt x="4048" y="1514"/>
                </a:lnTo>
                <a:lnTo>
                  <a:pt x="4042" y="1508"/>
                </a:lnTo>
                <a:lnTo>
                  <a:pt x="4036" y="1502"/>
                </a:lnTo>
                <a:lnTo>
                  <a:pt x="4030" y="1496"/>
                </a:lnTo>
                <a:lnTo>
                  <a:pt x="4051" y="1472"/>
                </a:lnTo>
                <a:lnTo>
                  <a:pt x="4060" y="1482"/>
                </a:lnTo>
                <a:lnTo>
                  <a:pt x="4066" y="1487"/>
                </a:lnTo>
                <a:lnTo>
                  <a:pt x="4071" y="1492"/>
                </a:lnTo>
                <a:lnTo>
                  <a:pt x="4084" y="1501"/>
                </a:lnTo>
                <a:lnTo>
                  <a:pt x="4097" y="1509"/>
                </a:lnTo>
                <a:lnTo>
                  <a:pt x="4105" y="1513"/>
                </a:lnTo>
                <a:lnTo>
                  <a:pt x="4113" y="1516"/>
                </a:lnTo>
                <a:lnTo>
                  <a:pt x="4121" y="1519"/>
                </a:lnTo>
                <a:lnTo>
                  <a:pt x="4129" y="1521"/>
                </a:lnTo>
                <a:lnTo>
                  <a:pt x="4138" y="1523"/>
                </a:lnTo>
                <a:lnTo>
                  <a:pt x="4147" y="1524"/>
                </a:lnTo>
                <a:lnTo>
                  <a:pt x="4156" y="1525"/>
                </a:lnTo>
                <a:lnTo>
                  <a:pt x="4166" y="1526"/>
                </a:lnTo>
                <a:lnTo>
                  <a:pt x="4175" y="1525"/>
                </a:lnTo>
                <a:lnTo>
                  <a:pt x="4184" y="1525"/>
                </a:lnTo>
                <a:lnTo>
                  <a:pt x="4192" y="1524"/>
                </a:lnTo>
                <a:lnTo>
                  <a:pt x="4199" y="1522"/>
                </a:lnTo>
                <a:lnTo>
                  <a:pt x="4206" y="1521"/>
                </a:lnTo>
                <a:lnTo>
                  <a:pt x="4213" y="1519"/>
                </a:lnTo>
                <a:lnTo>
                  <a:pt x="4219" y="1516"/>
                </a:lnTo>
                <a:lnTo>
                  <a:pt x="4224" y="1513"/>
                </a:lnTo>
                <a:lnTo>
                  <a:pt x="4234" y="1507"/>
                </a:lnTo>
                <a:lnTo>
                  <a:pt x="4243" y="1501"/>
                </a:lnTo>
                <a:lnTo>
                  <a:pt x="4246" y="1497"/>
                </a:lnTo>
                <a:lnTo>
                  <a:pt x="4249" y="1493"/>
                </a:lnTo>
                <a:lnTo>
                  <a:pt x="4252" y="1489"/>
                </a:lnTo>
                <a:lnTo>
                  <a:pt x="4254" y="1485"/>
                </a:lnTo>
                <a:lnTo>
                  <a:pt x="4258" y="1477"/>
                </a:lnTo>
                <a:lnTo>
                  <a:pt x="4261" y="1468"/>
                </a:lnTo>
                <a:lnTo>
                  <a:pt x="4262" y="1460"/>
                </a:lnTo>
                <a:lnTo>
                  <a:pt x="4263" y="1452"/>
                </a:lnTo>
                <a:lnTo>
                  <a:pt x="4262" y="1444"/>
                </a:lnTo>
                <a:lnTo>
                  <a:pt x="4261" y="1437"/>
                </a:lnTo>
                <a:lnTo>
                  <a:pt x="4259" y="1431"/>
                </a:lnTo>
                <a:lnTo>
                  <a:pt x="4256" y="1424"/>
                </a:lnTo>
                <a:lnTo>
                  <a:pt x="4253" y="1419"/>
                </a:lnTo>
                <a:lnTo>
                  <a:pt x="4249" y="1413"/>
                </a:lnTo>
                <a:lnTo>
                  <a:pt x="4245" y="1408"/>
                </a:lnTo>
                <a:lnTo>
                  <a:pt x="4242" y="1406"/>
                </a:lnTo>
                <a:lnTo>
                  <a:pt x="4240" y="1404"/>
                </a:lnTo>
                <a:lnTo>
                  <a:pt x="4228" y="1397"/>
                </a:lnTo>
                <a:lnTo>
                  <a:pt x="4222" y="1393"/>
                </a:lnTo>
                <a:lnTo>
                  <a:pt x="4215" y="1390"/>
                </a:lnTo>
                <a:lnTo>
                  <a:pt x="4201" y="1384"/>
                </a:lnTo>
                <a:lnTo>
                  <a:pt x="4185" y="1379"/>
                </a:lnTo>
                <a:lnTo>
                  <a:pt x="4152" y="1370"/>
                </a:lnTo>
                <a:lnTo>
                  <a:pt x="4120" y="1360"/>
                </a:lnTo>
                <a:lnTo>
                  <a:pt x="4112" y="1357"/>
                </a:lnTo>
                <a:lnTo>
                  <a:pt x="4104" y="1354"/>
                </a:lnTo>
                <a:lnTo>
                  <a:pt x="4097" y="1351"/>
                </a:lnTo>
                <a:lnTo>
                  <a:pt x="4090" y="1347"/>
                </a:lnTo>
                <a:lnTo>
                  <a:pt x="4083" y="1343"/>
                </a:lnTo>
                <a:lnTo>
                  <a:pt x="4077" y="1339"/>
                </a:lnTo>
                <a:lnTo>
                  <a:pt x="4065" y="1329"/>
                </a:lnTo>
                <a:lnTo>
                  <a:pt x="4060" y="1324"/>
                </a:lnTo>
                <a:lnTo>
                  <a:pt x="4055" y="1318"/>
                </a:lnTo>
                <a:lnTo>
                  <a:pt x="4051" y="1312"/>
                </a:lnTo>
                <a:lnTo>
                  <a:pt x="4048" y="1305"/>
                </a:lnTo>
                <a:lnTo>
                  <a:pt x="4046" y="1298"/>
                </a:lnTo>
                <a:lnTo>
                  <a:pt x="4044" y="1290"/>
                </a:lnTo>
                <a:lnTo>
                  <a:pt x="4043" y="1281"/>
                </a:lnTo>
                <a:lnTo>
                  <a:pt x="4042" y="1272"/>
                </a:lnTo>
                <a:lnTo>
                  <a:pt x="4043" y="1261"/>
                </a:lnTo>
                <a:lnTo>
                  <a:pt x="4045" y="1250"/>
                </a:lnTo>
                <a:lnTo>
                  <a:pt x="4046" y="1245"/>
                </a:lnTo>
                <a:lnTo>
                  <a:pt x="4048" y="1240"/>
                </a:lnTo>
                <a:lnTo>
                  <a:pt x="4052" y="1231"/>
                </a:lnTo>
                <a:lnTo>
                  <a:pt x="4056" y="1222"/>
                </a:lnTo>
                <a:lnTo>
                  <a:pt x="4059" y="1218"/>
                </a:lnTo>
                <a:lnTo>
                  <a:pt x="4062" y="1214"/>
                </a:lnTo>
                <a:lnTo>
                  <a:pt x="4069" y="1207"/>
                </a:lnTo>
                <a:lnTo>
                  <a:pt x="4077" y="1200"/>
                </a:lnTo>
                <a:lnTo>
                  <a:pt x="4082" y="1197"/>
                </a:lnTo>
                <a:lnTo>
                  <a:pt x="4086" y="1194"/>
                </a:lnTo>
                <a:lnTo>
                  <a:pt x="4095" y="1189"/>
                </a:lnTo>
                <a:lnTo>
                  <a:pt x="4105" y="1184"/>
                </a:lnTo>
                <a:lnTo>
                  <a:pt x="4116" y="1181"/>
                </a:lnTo>
                <a:lnTo>
                  <a:pt x="4127" y="1178"/>
                </a:lnTo>
                <a:lnTo>
                  <a:pt x="4138" y="1175"/>
                </a:lnTo>
                <a:lnTo>
                  <a:pt x="4150" y="1174"/>
                </a:lnTo>
                <a:lnTo>
                  <a:pt x="4163" y="1174"/>
                </a:lnTo>
                <a:lnTo>
                  <a:pt x="4173" y="1174"/>
                </a:lnTo>
                <a:lnTo>
                  <a:pt x="4183" y="1175"/>
                </a:lnTo>
                <a:lnTo>
                  <a:pt x="4192" y="1176"/>
                </a:lnTo>
                <a:lnTo>
                  <a:pt x="4201" y="1177"/>
                </a:lnTo>
                <a:lnTo>
                  <a:pt x="4210" y="1179"/>
                </a:lnTo>
                <a:lnTo>
                  <a:pt x="4219" y="1181"/>
                </a:lnTo>
                <a:lnTo>
                  <a:pt x="4227" y="1184"/>
                </a:lnTo>
                <a:lnTo>
                  <a:pt x="4235" y="1187"/>
                </a:lnTo>
                <a:lnTo>
                  <a:pt x="4243" y="1191"/>
                </a:lnTo>
                <a:lnTo>
                  <a:pt x="4250" y="1195"/>
                </a:lnTo>
                <a:lnTo>
                  <a:pt x="4264" y="1204"/>
                </a:lnTo>
                <a:lnTo>
                  <a:pt x="4270" y="1209"/>
                </a:lnTo>
                <a:lnTo>
                  <a:pt x="4276" y="1214"/>
                </a:lnTo>
                <a:lnTo>
                  <a:pt x="4282" y="1219"/>
                </a:lnTo>
                <a:lnTo>
                  <a:pt x="4287" y="1225"/>
                </a:lnTo>
                <a:lnTo>
                  <a:pt x="4266" y="1249"/>
                </a:lnTo>
                <a:lnTo>
                  <a:pt x="4261" y="1243"/>
                </a:lnTo>
                <a:lnTo>
                  <a:pt x="4256" y="1237"/>
                </a:lnTo>
                <a:lnTo>
                  <a:pt x="4250" y="1232"/>
                </a:lnTo>
                <a:lnTo>
                  <a:pt x="4245" y="1228"/>
                </a:lnTo>
                <a:lnTo>
                  <a:pt x="4239" y="1224"/>
                </a:lnTo>
                <a:lnTo>
                  <a:pt x="4232" y="1220"/>
                </a:lnTo>
                <a:lnTo>
                  <a:pt x="4226" y="1216"/>
                </a:lnTo>
                <a:lnTo>
                  <a:pt x="4219" y="1213"/>
                </a:lnTo>
                <a:lnTo>
                  <a:pt x="4213" y="1211"/>
                </a:lnTo>
                <a:lnTo>
                  <a:pt x="4206" y="1208"/>
                </a:lnTo>
                <a:lnTo>
                  <a:pt x="4199" y="1207"/>
                </a:lnTo>
                <a:lnTo>
                  <a:pt x="4191" y="1205"/>
                </a:lnTo>
                <a:lnTo>
                  <a:pt x="4184" y="1204"/>
                </a:lnTo>
                <a:lnTo>
                  <a:pt x="4176" y="1203"/>
                </a:lnTo>
                <a:lnTo>
                  <a:pt x="4161" y="1202"/>
                </a:lnTo>
                <a:lnTo>
                  <a:pt x="4152" y="1203"/>
                </a:lnTo>
                <a:lnTo>
                  <a:pt x="4143" y="1204"/>
                </a:lnTo>
                <a:lnTo>
                  <a:pt x="4135" y="1205"/>
                </a:lnTo>
                <a:lnTo>
                  <a:pt x="4127" y="1207"/>
                </a:lnTo>
                <a:lnTo>
                  <a:pt x="4119" y="1210"/>
                </a:lnTo>
                <a:lnTo>
                  <a:pt x="4112" y="1213"/>
                </a:lnTo>
                <a:lnTo>
                  <a:pt x="4106" y="1217"/>
                </a:lnTo>
                <a:lnTo>
                  <a:pt x="4100" y="1221"/>
                </a:lnTo>
                <a:lnTo>
                  <a:pt x="4094" y="1226"/>
                </a:lnTo>
                <a:lnTo>
                  <a:pt x="4089" y="1231"/>
                </a:lnTo>
                <a:lnTo>
                  <a:pt x="4085" y="1237"/>
                </a:lnTo>
                <a:lnTo>
                  <a:pt x="4082" y="1243"/>
                </a:lnTo>
                <a:lnTo>
                  <a:pt x="4079" y="1249"/>
                </a:lnTo>
                <a:lnTo>
                  <a:pt x="4077" y="1256"/>
                </a:lnTo>
                <a:lnTo>
                  <a:pt x="4076" y="1263"/>
                </a:lnTo>
                <a:lnTo>
                  <a:pt x="4075" y="1270"/>
                </a:lnTo>
                <a:lnTo>
                  <a:pt x="4076" y="1277"/>
                </a:lnTo>
                <a:lnTo>
                  <a:pt x="4077" y="1283"/>
                </a:lnTo>
                <a:lnTo>
                  <a:pt x="4079" y="1289"/>
                </a:lnTo>
                <a:lnTo>
                  <a:pt x="4081" y="1294"/>
                </a:lnTo>
                <a:lnTo>
                  <a:pt x="4084" y="1299"/>
                </a:lnTo>
                <a:lnTo>
                  <a:pt x="4088" y="1304"/>
                </a:lnTo>
                <a:lnTo>
                  <a:pt x="4093" y="1308"/>
                </a:lnTo>
                <a:lnTo>
                  <a:pt x="4098" y="1312"/>
                </a:lnTo>
                <a:lnTo>
                  <a:pt x="4110" y="1319"/>
                </a:lnTo>
                <a:lnTo>
                  <a:pt x="4116" y="1322"/>
                </a:lnTo>
                <a:lnTo>
                  <a:pt x="4123" y="1325"/>
                </a:lnTo>
                <a:lnTo>
                  <a:pt x="4130" y="1327"/>
                </a:lnTo>
                <a:lnTo>
                  <a:pt x="4137" y="1330"/>
                </a:lnTo>
                <a:lnTo>
                  <a:pt x="4153" y="1335"/>
                </a:lnTo>
                <a:lnTo>
                  <a:pt x="4185" y="1344"/>
                </a:lnTo>
                <a:lnTo>
                  <a:pt x="4218" y="1354"/>
                </a:lnTo>
                <a:lnTo>
                  <a:pt x="4226" y="1357"/>
                </a:lnTo>
                <a:lnTo>
                  <a:pt x="4234" y="1361"/>
                </a:lnTo>
                <a:lnTo>
                  <a:pt x="4237" y="1363"/>
                </a:lnTo>
                <a:lnTo>
                  <a:pt x="4241" y="1364"/>
                </a:lnTo>
                <a:lnTo>
                  <a:pt x="4248" y="1368"/>
                </a:lnTo>
                <a:lnTo>
                  <a:pt x="4255" y="1373"/>
                </a:lnTo>
                <a:lnTo>
                  <a:pt x="4261" y="1377"/>
                </a:lnTo>
                <a:lnTo>
                  <a:pt x="4267" y="1382"/>
                </a:lnTo>
                <a:lnTo>
                  <a:pt x="4273" y="1388"/>
                </a:lnTo>
                <a:lnTo>
                  <a:pt x="4278" y="1393"/>
                </a:lnTo>
                <a:lnTo>
                  <a:pt x="4282" y="1400"/>
                </a:lnTo>
                <a:lnTo>
                  <a:pt x="4284" y="1403"/>
                </a:lnTo>
                <a:lnTo>
                  <a:pt x="4286" y="1407"/>
                </a:lnTo>
                <a:lnTo>
                  <a:pt x="4289" y="1414"/>
                </a:lnTo>
                <a:lnTo>
                  <a:pt x="4292" y="1422"/>
                </a:lnTo>
                <a:lnTo>
                  <a:pt x="4294" y="1431"/>
                </a:lnTo>
                <a:lnTo>
                  <a:pt x="4295" y="1440"/>
                </a:lnTo>
                <a:lnTo>
                  <a:pt x="4296" y="1450"/>
                </a:lnTo>
                <a:lnTo>
                  <a:pt x="4295" y="1462"/>
                </a:lnTo>
                <a:lnTo>
                  <a:pt x="4293" y="1474"/>
                </a:lnTo>
                <a:lnTo>
                  <a:pt x="4289" y="1486"/>
                </a:lnTo>
                <a:lnTo>
                  <a:pt x="4284" y="1498"/>
                </a:lnTo>
                <a:lnTo>
                  <a:pt x="4281" y="1504"/>
                </a:lnTo>
                <a:lnTo>
                  <a:pt x="4277" y="1509"/>
                </a:lnTo>
                <a:lnTo>
                  <a:pt x="4272" y="1515"/>
                </a:lnTo>
                <a:lnTo>
                  <a:pt x="4268" y="1520"/>
                </a:lnTo>
                <a:lnTo>
                  <a:pt x="4262" y="1525"/>
                </a:lnTo>
                <a:lnTo>
                  <a:pt x="4256" y="1529"/>
                </a:lnTo>
                <a:lnTo>
                  <a:pt x="4250" y="1534"/>
                </a:lnTo>
                <a:lnTo>
                  <a:pt x="4243" y="1538"/>
                </a:lnTo>
                <a:lnTo>
                  <a:pt x="4236" y="1541"/>
                </a:lnTo>
                <a:lnTo>
                  <a:pt x="4227" y="1545"/>
                </a:lnTo>
                <a:lnTo>
                  <a:pt x="4219" y="1547"/>
                </a:lnTo>
                <a:lnTo>
                  <a:pt x="4209" y="1550"/>
                </a:lnTo>
                <a:lnTo>
                  <a:pt x="4199" y="1552"/>
                </a:lnTo>
                <a:lnTo>
                  <a:pt x="4188" y="1553"/>
                </a:lnTo>
                <a:lnTo>
                  <a:pt x="4177" y="1554"/>
                </a:lnTo>
                <a:lnTo>
                  <a:pt x="4165" y="1554"/>
                </a:lnTo>
                <a:close/>
                <a:moveTo>
                  <a:pt x="4615" y="1548"/>
                </a:moveTo>
                <a:lnTo>
                  <a:pt x="4382" y="1548"/>
                </a:lnTo>
                <a:lnTo>
                  <a:pt x="4382" y="1180"/>
                </a:lnTo>
                <a:lnTo>
                  <a:pt x="4615" y="1180"/>
                </a:lnTo>
                <a:lnTo>
                  <a:pt x="4615" y="1208"/>
                </a:lnTo>
                <a:lnTo>
                  <a:pt x="4413" y="1208"/>
                </a:lnTo>
                <a:lnTo>
                  <a:pt x="4413" y="1345"/>
                </a:lnTo>
                <a:lnTo>
                  <a:pt x="4611" y="1345"/>
                </a:lnTo>
                <a:lnTo>
                  <a:pt x="4611" y="1373"/>
                </a:lnTo>
                <a:lnTo>
                  <a:pt x="4413" y="1373"/>
                </a:lnTo>
                <a:lnTo>
                  <a:pt x="4413" y="1519"/>
                </a:lnTo>
                <a:lnTo>
                  <a:pt x="4615" y="1519"/>
                </a:lnTo>
                <a:lnTo>
                  <a:pt x="4615" y="1548"/>
                </a:lnTo>
                <a:close/>
                <a:moveTo>
                  <a:pt x="5048" y="1548"/>
                </a:moveTo>
                <a:lnTo>
                  <a:pt x="5016" y="1548"/>
                </a:lnTo>
                <a:lnTo>
                  <a:pt x="5016" y="1219"/>
                </a:lnTo>
                <a:lnTo>
                  <a:pt x="4882" y="1548"/>
                </a:lnTo>
                <a:lnTo>
                  <a:pt x="4870" y="1548"/>
                </a:lnTo>
                <a:lnTo>
                  <a:pt x="4736" y="1219"/>
                </a:lnTo>
                <a:lnTo>
                  <a:pt x="4736" y="1548"/>
                </a:lnTo>
                <a:lnTo>
                  <a:pt x="4704" y="1548"/>
                </a:lnTo>
                <a:lnTo>
                  <a:pt x="4704" y="1180"/>
                </a:lnTo>
                <a:lnTo>
                  <a:pt x="4751" y="1180"/>
                </a:lnTo>
                <a:lnTo>
                  <a:pt x="4876" y="1486"/>
                </a:lnTo>
                <a:lnTo>
                  <a:pt x="5001" y="1180"/>
                </a:lnTo>
                <a:lnTo>
                  <a:pt x="5048" y="1180"/>
                </a:lnTo>
                <a:lnTo>
                  <a:pt x="5048" y="1548"/>
                </a:lnTo>
                <a:close/>
                <a:moveTo>
                  <a:pt x="5495" y="1548"/>
                </a:moveTo>
                <a:lnTo>
                  <a:pt x="5464" y="1548"/>
                </a:lnTo>
                <a:lnTo>
                  <a:pt x="5464" y="1219"/>
                </a:lnTo>
                <a:lnTo>
                  <a:pt x="5328" y="1548"/>
                </a:lnTo>
                <a:lnTo>
                  <a:pt x="5316" y="1548"/>
                </a:lnTo>
                <a:lnTo>
                  <a:pt x="5182" y="1219"/>
                </a:lnTo>
                <a:lnTo>
                  <a:pt x="5182" y="1548"/>
                </a:lnTo>
                <a:lnTo>
                  <a:pt x="5150" y="1548"/>
                </a:lnTo>
                <a:lnTo>
                  <a:pt x="5150" y="1180"/>
                </a:lnTo>
                <a:lnTo>
                  <a:pt x="5197" y="1180"/>
                </a:lnTo>
                <a:lnTo>
                  <a:pt x="5322" y="1486"/>
                </a:lnTo>
                <a:lnTo>
                  <a:pt x="5448" y="1180"/>
                </a:lnTo>
                <a:lnTo>
                  <a:pt x="5495" y="1180"/>
                </a:lnTo>
                <a:lnTo>
                  <a:pt x="5495" y="1548"/>
                </a:lnTo>
                <a:close/>
                <a:moveTo>
                  <a:pt x="5900" y="1548"/>
                </a:moveTo>
                <a:lnTo>
                  <a:pt x="5864" y="1548"/>
                </a:lnTo>
                <a:lnTo>
                  <a:pt x="5828" y="1457"/>
                </a:lnTo>
                <a:lnTo>
                  <a:pt x="5633" y="1457"/>
                </a:lnTo>
                <a:lnTo>
                  <a:pt x="5596" y="1548"/>
                </a:lnTo>
                <a:lnTo>
                  <a:pt x="5560" y="1548"/>
                </a:lnTo>
                <a:lnTo>
                  <a:pt x="5711" y="1180"/>
                </a:lnTo>
                <a:lnTo>
                  <a:pt x="5750" y="1180"/>
                </a:lnTo>
                <a:lnTo>
                  <a:pt x="5900" y="1548"/>
                </a:lnTo>
                <a:close/>
                <a:moveTo>
                  <a:pt x="5817" y="1428"/>
                </a:moveTo>
                <a:lnTo>
                  <a:pt x="5730" y="1213"/>
                </a:lnTo>
                <a:lnTo>
                  <a:pt x="5643" y="1428"/>
                </a:lnTo>
                <a:lnTo>
                  <a:pt x="5817" y="1428"/>
                </a:lnTo>
                <a:close/>
                <a:moveTo>
                  <a:pt x="6259" y="1548"/>
                </a:moveTo>
                <a:lnTo>
                  <a:pt x="6228" y="1548"/>
                </a:lnTo>
                <a:lnTo>
                  <a:pt x="5997" y="1232"/>
                </a:lnTo>
                <a:lnTo>
                  <a:pt x="5997" y="1548"/>
                </a:lnTo>
                <a:lnTo>
                  <a:pt x="5965" y="1548"/>
                </a:lnTo>
                <a:lnTo>
                  <a:pt x="5965" y="1180"/>
                </a:lnTo>
                <a:lnTo>
                  <a:pt x="5997" y="1180"/>
                </a:lnTo>
                <a:lnTo>
                  <a:pt x="6228" y="1491"/>
                </a:lnTo>
                <a:lnTo>
                  <a:pt x="6228" y="1180"/>
                </a:lnTo>
                <a:lnTo>
                  <a:pt x="6259" y="1180"/>
                </a:lnTo>
                <a:lnTo>
                  <a:pt x="6259" y="1548"/>
                </a:lnTo>
                <a:close/>
                <a:moveTo>
                  <a:pt x="6377" y="1552"/>
                </a:moveTo>
                <a:lnTo>
                  <a:pt x="6372" y="1552"/>
                </a:lnTo>
                <a:lnTo>
                  <a:pt x="6367" y="1551"/>
                </a:lnTo>
                <a:lnTo>
                  <a:pt x="6363" y="1548"/>
                </a:lnTo>
                <a:lnTo>
                  <a:pt x="6359" y="1545"/>
                </a:lnTo>
                <a:lnTo>
                  <a:pt x="6356" y="1542"/>
                </a:lnTo>
                <a:lnTo>
                  <a:pt x="6354" y="1538"/>
                </a:lnTo>
                <a:lnTo>
                  <a:pt x="6352" y="1533"/>
                </a:lnTo>
                <a:lnTo>
                  <a:pt x="6352" y="1528"/>
                </a:lnTo>
                <a:lnTo>
                  <a:pt x="6352" y="1524"/>
                </a:lnTo>
                <a:lnTo>
                  <a:pt x="6353" y="1521"/>
                </a:lnTo>
                <a:lnTo>
                  <a:pt x="6354" y="1519"/>
                </a:lnTo>
                <a:lnTo>
                  <a:pt x="6355" y="1517"/>
                </a:lnTo>
                <a:lnTo>
                  <a:pt x="6356" y="1515"/>
                </a:lnTo>
                <a:lnTo>
                  <a:pt x="6359" y="1512"/>
                </a:lnTo>
                <a:lnTo>
                  <a:pt x="6363" y="1509"/>
                </a:lnTo>
                <a:lnTo>
                  <a:pt x="6367" y="1506"/>
                </a:lnTo>
                <a:lnTo>
                  <a:pt x="6372" y="1505"/>
                </a:lnTo>
                <a:lnTo>
                  <a:pt x="6377" y="1505"/>
                </a:lnTo>
                <a:lnTo>
                  <a:pt x="6382" y="1505"/>
                </a:lnTo>
                <a:lnTo>
                  <a:pt x="6386" y="1506"/>
                </a:lnTo>
                <a:lnTo>
                  <a:pt x="6388" y="1507"/>
                </a:lnTo>
                <a:lnTo>
                  <a:pt x="6390" y="1509"/>
                </a:lnTo>
                <a:lnTo>
                  <a:pt x="6394" y="1512"/>
                </a:lnTo>
                <a:lnTo>
                  <a:pt x="6397" y="1515"/>
                </a:lnTo>
                <a:lnTo>
                  <a:pt x="6399" y="1519"/>
                </a:lnTo>
                <a:lnTo>
                  <a:pt x="6400" y="1524"/>
                </a:lnTo>
                <a:lnTo>
                  <a:pt x="6401" y="1528"/>
                </a:lnTo>
                <a:lnTo>
                  <a:pt x="6400" y="1533"/>
                </a:lnTo>
                <a:lnTo>
                  <a:pt x="6399" y="1538"/>
                </a:lnTo>
                <a:lnTo>
                  <a:pt x="6398" y="1540"/>
                </a:lnTo>
                <a:lnTo>
                  <a:pt x="6397" y="1542"/>
                </a:lnTo>
                <a:lnTo>
                  <a:pt x="6394" y="1545"/>
                </a:lnTo>
                <a:lnTo>
                  <a:pt x="6392" y="1547"/>
                </a:lnTo>
                <a:lnTo>
                  <a:pt x="6390" y="1548"/>
                </a:lnTo>
                <a:lnTo>
                  <a:pt x="6386" y="1551"/>
                </a:lnTo>
                <a:lnTo>
                  <a:pt x="6382" y="1552"/>
                </a:lnTo>
                <a:lnTo>
                  <a:pt x="6377" y="1552"/>
                </a:lnTo>
                <a:close/>
                <a:moveTo>
                  <a:pt x="344" y="996"/>
                </a:moveTo>
                <a:lnTo>
                  <a:pt x="312" y="996"/>
                </a:lnTo>
                <a:lnTo>
                  <a:pt x="312" y="668"/>
                </a:lnTo>
                <a:lnTo>
                  <a:pt x="178" y="996"/>
                </a:lnTo>
                <a:lnTo>
                  <a:pt x="166" y="996"/>
                </a:lnTo>
                <a:lnTo>
                  <a:pt x="31" y="668"/>
                </a:lnTo>
                <a:lnTo>
                  <a:pt x="31" y="996"/>
                </a:lnTo>
                <a:lnTo>
                  <a:pt x="0" y="996"/>
                </a:lnTo>
                <a:lnTo>
                  <a:pt x="0" y="628"/>
                </a:lnTo>
                <a:lnTo>
                  <a:pt x="47" y="628"/>
                </a:lnTo>
                <a:lnTo>
                  <a:pt x="172" y="934"/>
                </a:lnTo>
                <a:lnTo>
                  <a:pt x="297" y="628"/>
                </a:lnTo>
                <a:lnTo>
                  <a:pt x="344" y="628"/>
                </a:lnTo>
                <a:lnTo>
                  <a:pt x="344" y="996"/>
                </a:lnTo>
                <a:close/>
                <a:moveTo>
                  <a:pt x="749" y="996"/>
                </a:moveTo>
                <a:lnTo>
                  <a:pt x="713" y="996"/>
                </a:lnTo>
                <a:lnTo>
                  <a:pt x="676" y="906"/>
                </a:lnTo>
                <a:lnTo>
                  <a:pt x="482" y="906"/>
                </a:lnTo>
                <a:lnTo>
                  <a:pt x="445" y="996"/>
                </a:lnTo>
                <a:lnTo>
                  <a:pt x="409" y="996"/>
                </a:lnTo>
                <a:lnTo>
                  <a:pt x="559" y="628"/>
                </a:lnTo>
                <a:lnTo>
                  <a:pt x="599" y="628"/>
                </a:lnTo>
                <a:lnTo>
                  <a:pt x="749" y="996"/>
                </a:lnTo>
                <a:close/>
                <a:moveTo>
                  <a:pt x="666" y="877"/>
                </a:moveTo>
                <a:lnTo>
                  <a:pt x="579" y="662"/>
                </a:lnTo>
                <a:lnTo>
                  <a:pt x="492" y="877"/>
                </a:lnTo>
                <a:lnTo>
                  <a:pt x="666" y="877"/>
                </a:lnTo>
                <a:close/>
                <a:moveTo>
                  <a:pt x="1117" y="996"/>
                </a:moveTo>
                <a:lnTo>
                  <a:pt x="1080" y="996"/>
                </a:lnTo>
                <a:lnTo>
                  <a:pt x="1044" y="906"/>
                </a:lnTo>
                <a:lnTo>
                  <a:pt x="849" y="906"/>
                </a:lnTo>
                <a:lnTo>
                  <a:pt x="813" y="996"/>
                </a:lnTo>
                <a:lnTo>
                  <a:pt x="776" y="996"/>
                </a:lnTo>
                <a:lnTo>
                  <a:pt x="927" y="628"/>
                </a:lnTo>
                <a:lnTo>
                  <a:pt x="966" y="628"/>
                </a:lnTo>
                <a:lnTo>
                  <a:pt x="1117" y="996"/>
                </a:lnTo>
                <a:close/>
                <a:moveTo>
                  <a:pt x="1033" y="877"/>
                </a:moveTo>
                <a:lnTo>
                  <a:pt x="947" y="662"/>
                </a:lnTo>
                <a:lnTo>
                  <a:pt x="860" y="877"/>
                </a:lnTo>
                <a:lnTo>
                  <a:pt x="1033" y="877"/>
                </a:lnTo>
                <a:close/>
                <a:moveTo>
                  <a:pt x="1213" y="996"/>
                </a:moveTo>
                <a:lnTo>
                  <a:pt x="1182" y="996"/>
                </a:lnTo>
                <a:lnTo>
                  <a:pt x="1182" y="628"/>
                </a:lnTo>
                <a:lnTo>
                  <a:pt x="1213" y="628"/>
                </a:lnTo>
                <a:lnTo>
                  <a:pt x="1213" y="996"/>
                </a:lnTo>
                <a:close/>
                <a:moveTo>
                  <a:pt x="1518" y="996"/>
                </a:moveTo>
                <a:lnTo>
                  <a:pt x="1308" y="996"/>
                </a:lnTo>
                <a:lnTo>
                  <a:pt x="1308" y="628"/>
                </a:lnTo>
                <a:lnTo>
                  <a:pt x="1340" y="628"/>
                </a:lnTo>
                <a:lnTo>
                  <a:pt x="1340" y="967"/>
                </a:lnTo>
                <a:lnTo>
                  <a:pt x="1518" y="967"/>
                </a:lnTo>
                <a:lnTo>
                  <a:pt x="1518" y="996"/>
                </a:lnTo>
                <a:close/>
                <a:moveTo>
                  <a:pt x="1939" y="996"/>
                </a:moveTo>
                <a:lnTo>
                  <a:pt x="1907" y="996"/>
                </a:lnTo>
                <a:lnTo>
                  <a:pt x="1907" y="668"/>
                </a:lnTo>
                <a:lnTo>
                  <a:pt x="1772" y="996"/>
                </a:lnTo>
                <a:lnTo>
                  <a:pt x="1759" y="996"/>
                </a:lnTo>
                <a:lnTo>
                  <a:pt x="1625" y="668"/>
                </a:lnTo>
                <a:lnTo>
                  <a:pt x="1625" y="996"/>
                </a:lnTo>
                <a:lnTo>
                  <a:pt x="1594" y="996"/>
                </a:lnTo>
                <a:lnTo>
                  <a:pt x="1594" y="628"/>
                </a:lnTo>
                <a:lnTo>
                  <a:pt x="1640" y="628"/>
                </a:lnTo>
                <a:lnTo>
                  <a:pt x="1766" y="934"/>
                </a:lnTo>
                <a:lnTo>
                  <a:pt x="1891" y="628"/>
                </a:lnTo>
                <a:lnTo>
                  <a:pt x="1939" y="628"/>
                </a:lnTo>
                <a:lnTo>
                  <a:pt x="1939" y="996"/>
                </a:lnTo>
                <a:close/>
                <a:moveTo>
                  <a:pt x="2343" y="996"/>
                </a:moveTo>
                <a:lnTo>
                  <a:pt x="2307" y="996"/>
                </a:lnTo>
                <a:lnTo>
                  <a:pt x="2271" y="906"/>
                </a:lnTo>
                <a:lnTo>
                  <a:pt x="2076" y="906"/>
                </a:lnTo>
                <a:lnTo>
                  <a:pt x="2040" y="996"/>
                </a:lnTo>
                <a:lnTo>
                  <a:pt x="2003" y="996"/>
                </a:lnTo>
                <a:lnTo>
                  <a:pt x="2154" y="628"/>
                </a:lnTo>
                <a:lnTo>
                  <a:pt x="2193" y="628"/>
                </a:lnTo>
                <a:lnTo>
                  <a:pt x="2343" y="996"/>
                </a:lnTo>
                <a:close/>
                <a:moveTo>
                  <a:pt x="2260" y="877"/>
                </a:moveTo>
                <a:lnTo>
                  <a:pt x="2174" y="662"/>
                </a:lnTo>
                <a:lnTo>
                  <a:pt x="2086" y="877"/>
                </a:lnTo>
                <a:lnTo>
                  <a:pt x="2260" y="877"/>
                </a:lnTo>
                <a:close/>
                <a:moveTo>
                  <a:pt x="2513" y="1003"/>
                </a:moveTo>
                <a:lnTo>
                  <a:pt x="2501" y="1002"/>
                </a:lnTo>
                <a:lnTo>
                  <a:pt x="2490" y="1001"/>
                </a:lnTo>
                <a:lnTo>
                  <a:pt x="2480" y="1000"/>
                </a:lnTo>
                <a:lnTo>
                  <a:pt x="2470" y="998"/>
                </a:lnTo>
                <a:lnTo>
                  <a:pt x="2460" y="996"/>
                </a:lnTo>
                <a:lnTo>
                  <a:pt x="2451" y="993"/>
                </a:lnTo>
                <a:lnTo>
                  <a:pt x="2442" y="990"/>
                </a:lnTo>
                <a:lnTo>
                  <a:pt x="2433" y="986"/>
                </a:lnTo>
                <a:lnTo>
                  <a:pt x="2425" y="982"/>
                </a:lnTo>
                <a:lnTo>
                  <a:pt x="2417" y="977"/>
                </a:lnTo>
                <a:lnTo>
                  <a:pt x="2409" y="973"/>
                </a:lnTo>
                <a:lnTo>
                  <a:pt x="2402" y="968"/>
                </a:lnTo>
                <a:lnTo>
                  <a:pt x="2396" y="962"/>
                </a:lnTo>
                <a:lnTo>
                  <a:pt x="2389" y="956"/>
                </a:lnTo>
                <a:lnTo>
                  <a:pt x="2383" y="950"/>
                </a:lnTo>
                <a:lnTo>
                  <a:pt x="2378" y="944"/>
                </a:lnTo>
                <a:lnTo>
                  <a:pt x="2398" y="920"/>
                </a:lnTo>
                <a:lnTo>
                  <a:pt x="2408" y="931"/>
                </a:lnTo>
                <a:lnTo>
                  <a:pt x="2413" y="936"/>
                </a:lnTo>
                <a:lnTo>
                  <a:pt x="2419" y="940"/>
                </a:lnTo>
                <a:lnTo>
                  <a:pt x="2431" y="949"/>
                </a:lnTo>
                <a:lnTo>
                  <a:pt x="2445" y="957"/>
                </a:lnTo>
                <a:lnTo>
                  <a:pt x="2452" y="961"/>
                </a:lnTo>
                <a:lnTo>
                  <a:pt x="2460" y="964"/>
                </a:lnTo>
                <a:lnTo>
                  <a:pt x="2468" y="967"/>
                </a:lnTo>
                <a:lnTo>
                  <a:pt x="2477" y="969"/>
                </a:lnTo>
                <a:lnTo>
                  <a:pt x="2485" y="971"/>
                </a:lnTo>
                <a:lnTo>
                  <a:pt x="2494" y="973"/>
                </a:lnTo>
                <a:lnTo>
                  <a:pt x="2504" y="974"/>
                </a:lnTo>
                <a:lnTo>
                  <a:pt x="2514" y="974"/>
                </a:lnTo>
                <a:lnTo>
                  <a:pt x="2523" y="974"/>
                </a:lnTo>
                <a:lnTo>
                  <a:pt x="2531" y="973"/>
                </a:lnTo>
                <a:lnTo>
                  <a:pt x="2539" y="972"/>
                </a:lnTo>
                <a:lnTo>
                  <a:pt x="2547" y="971"/>
                </a:lnTo>
                <a:lnTo>
                  <a:pt x="2554" y="969"/>
                </a:lnTo>
                <a:lnTo>
                  <a:pt x="2560" y="967"/>
                </a:lnTo>
                <a:lnTo>
                  <a:pt x="2566" y="965"/>
                </a:lnTo>
                <a:lnTo>
                  <a:pt x="2572" y="962"/>
                </a:lnTo>
                <a:lnTo>
                  <a:pt x="2582" y="956"/>
                </a:lnTo>
                <a:lnTo>
                  <a:pt x="2590" y="949"/>
                </a:lnTo>
                <a:lnTo>
                  <a:pt x="2594" y="945"/>
                </a:lnTo>
                <a:lnTo>
                  <a:pt x="2597" y="942"/>
                </a:lnTo>
                <a:lnTo>
                  <a:pt x="2599" y="938"/>
                </a:lnTo>
                <a:lnTo>
                  <a:pt x="2602" y="934"/>
                </a:lnTo>
                <a:lnTo>
                  <a:pt x="2606" y="925"/>
                </a:lnTo>
                <a:lnTo>
                  <a:pt x="2608" y="917"/>
                </a:lnTo>
                <a:lnTo>
                  <a:pt x="2610" y="909"/>
                </a:lnTo>
                <a:lnTo>
                  <a:pt x="2610" y="901"/>
                </a:lnTo>
                <a:lnTo>
                  <a:pt x="2610" y="893"/>
                </a:lnTo>
                <a:lnTo>
                  <a:pt x="2608" y="886"/>
                </a:lnTo>
                <a:lnTo>
                  <a:pt x="2607" y="879"/>
                </a:lnTo>
                <a:lnTo>
                  <a:pt x="2604" y="873"/>
                </a:lnTo>
                <a:lnTo>
                  <a:pt x="2601" y="867"/>
                </a:lnTo>
                <a:lnTo>
                  <a:pt x="2597" y="862"/>
                </a:lnTo>
                <a:lnTo>
                  <a:pt x="2592" y="857"/>
                </a:lnTo>
                <a:lnTo>
                  <a:pt x="2590" y="855"/>
                </a:lnTo>
                <a:lnTo>
                  <a:pt x="2587" y="853"/>
                </a:lnTo>
                <a:lnTo>
                  <a:pt x="2576" y="845"/>
                </a:lnTo>
                <a:lnTo>
                  <a:pt x="2569" y="842"/>
                </a:lnTo>
                <a:lnTo>
                  <a:pt x="2563" y="838"/>
                </a:lnTo>
                <a:lnTo>
                  <a:pt x="2548" y="832"/>
                </a:lnTo>
                <a:lnTo>
                  <a:pt x="2533" y="827"/>
                </a:lnTo>
                <a:lnTo>
                  <a:pt x="2500" y="818"/>
                </a:lnTo>
                <a:lnTo>
                  <a:pt x="2467" y="808"/>
                </a:lnTo>
                <a:lnTo>
                  <a:pt x="2459" y="805"/>
                </a:lnTo>
                <a:lnTo>
                  <a:pt x="2452" y="802"/>
                </a:lnTo>
                <a:lnTo>
                  <a:pt x="2444" y="799"/>
                </a:lnTo>
                <a:lnTo>
                  <a:pt x="2437" y="795"/>
                </a:lnTo>
                <a:lnTo>
                  <a:pt x="2431" y="792"/>
                </a:lnTo>
                <a:lnTo>
                  <a:pt x="2424" y="787"/>
                </a:lnTo>
                <a:lnTo>
                  <a:pt x="2413" y="778"/>
                </a:lnTo>
                <a:lnTo>
                  <a:pt x="2407" y="773"/>
                </a:lnTo>
                <a:lnTo>
                  <a:pt x="2403" y="767"/>
                </a:lnTo>
                <a:lnTo>
                  <a:pt x="2399" y="761"/>
                </a:lnTo>
                <a:lnTo>
                  <a:pt x="2396" y="754"/>
                </a:lnTo>
                <a:lnTo>
                  <a:pt x="2393" y="746"/>
                </a:lnTo>
                <a:lnTo>
                  <a:pt x="2391" y="738"/>
                </a:lnTo>
                <a:lnTo>
                  <a:pt x="2390" y="729"/>
                </a:lnTo>
                <a:lnTo>
                  <a:pt x="2390" y="720"/>
                </a:lnTo>
                <a:lnTo>
                  <a:pt x="2390" y="709"/>
                </a:lnTo>
                <a:lnTo>
                  <a:pt x="2392" y="699"/>
                </a:lnTo>
                <a:lnTo>
                  <a:pt x="2394" y="694"/>
                </a:lnTo>
                <a:lnTo>
                  <a:pt x="2395" y="689"/>
                </a:lnTo>
                <a:lnTo>
                  <a:pt x="2399" y="680"/>
                </a:lnTo>
                <a:lnTo>
                  <a:pt x="2404" y="671"/>
                </a:lnTo>
                <a:lnTo>
                  <a:pt x="2407" y="667"/>
                </a:lnTo>
                <a:lnTo>
                  <a:pt x="2410" y="663"/>
                </a:lnTo>
                <a:lnTo>
                  <a:pt x="2417" y="655"/>
                </a:lnTo>
                <a:lnTo>
                  <a:pt x="2425" y="649"/>
                </a:lnTo>
                <a:lnTo>
                  <a:pt x="2429" y="645"/>
                </a:lnTo>
                <a:lnTo>
                  <a:pt x="2434" y="642"/>
                </a:lnTo>
                <a:lnTo>
                  <a:pt x="2443" y="637"/>
                </a:lnTo>
                <a:lnTo>
                  <a:pt x="2453" y="633"/>
                </a:lnTo>
                <a:lnTo>
                  <a:pt x="2463" y="629"/>
                </a:lnTo>
                <a:lnTo>
                  <a:pt x="2474" y="626"/>
                </a:lnTo>
                <a:lnTo>
                  <a:pt x="2486" y="624"/>
                </a:lnTo>
                <a:lnTo>
                  <a:pt x="2498" y="623"/>
                </a:lnTo>
                <a:lnTo>
                  <a:pt x="2510" y="622"/>
                </a:lnTo>
                <a:lnTo>
                  <a:pt x="2520" y="622"/>
                </a:lnTo>
                <a:lnTo>
                  <a:pt x="2530" y="623"/>
                </a:lnTo>
                <a:lnTo>
                  <a:pt x="2540" y="624"/>
                </a:lnTo>
                <a:lnTo>
                  <a:pt x="2549" y="626"/>
                </a:lnTo>
                <a:lnTo>
                  <a:pt x="2558" y="628"/>
                </a:lnTo>
                <a:lnTo>
                  <a:pt x="2566" y="630"/>
                </a:lnTo>
                <a:lnTo>
                  <a:pt x="2575" y="633"/>
                </a:lnTo>
                <a:lnTo>
                  <a:pt x="2583" y="636"/>
                </a:lnTo>
                <a:lnTo>
                  <a:pt x="2590" y="639"/>
                </a:lnTo>
                <a:lnTo>
                  <a:pt x="2598" y="643"/>
                </a:lnTo>
                <a:lnTo>
                  <a:pt x="2611" y="652"/>
                </a:lnTo>
                <a:lnTo>
                  <a:pt x="2618" y="657"/>
                </a:lnTo>
                <a:lnTo>
                  <a:pt x="2624" y="662"/>
                </a:lnTo>
                <a:lnTo>
                  <a:pt x="2630" y="668"/>
                </a:lnTo>
                <a:lnTo>
                  <a:pt x="2635" y="674"/>
                </a:lnTo>
                <a:lnTo>
                  <a:pt x="2614" y="697"/>
                </a:lnTo>
                <a:lnTo>
                  <a:pt x="2609" y="691"/>
                </a:lnTo>
                <a:lnTo>
                  <a:pt x="2604" y="686"/>
                </a:lnTo>
                <a:lnTo>
                  <a:pt x="2598" y="681"/>
                </a:lnTo>
                <a:lnTo>
                  <a:pt x="2592" y="676"/>
                </a:lnTo>
                <a:lnTo>
                  <a:pt x="2586" y="672"/>
                </a:lnTo>
                <a:lnTo>
                  <a:pt x="2580" y="668"/>
                </a:lnTo>
                <a:lnTo>
                  <a:pt x="2574" y="665"/>
                </a:lnTo>
                <a:lnTo>
                  <a:pt x="2567" y="662"/>
                </a:lnTo>
                <a:lnTo>
                  <a:pt x="2560" y="659"/>
                </a:lnTo>
                <a:lnTo>
                  <a:pt x="2553" y="657"/>
                </a:lnTo>
                <a:lnTo>
                  <a:pt x="2546" y="655"/>
                </a:lnTo>
                <a:lnTo>
                  <a:pt x="2539" y="653"/>
                </a:lnTo>
                <a:lnTo>
                  <a:pt x="2532" y="652"/>
                </a:lnTo>
                <a:lnTo>
                  <a:pt x="2524" y="651"/>
                </a:lnTo>
                <a:lnTo>
                  <a:pt x="2509" y="651"/>
                </a:lnTo>
                <a:lnTo>
                  <a:pt x="2499" y="651"/>
                </a:lnTo>
                <a:lnTo>
                  <a:pt x="2491" y="652"/>
                </a:lnTo>
                <a:lnTo>
                  <a:pt x="2482" y="654"/>
                </a:lnTo>
                <a:lnTo>
                  <a:pt x="2474" y="656"/>
                </a:lnTo>
                <a:lnTo>
                  <a:pt x="2467" y="658"/>
                </a:lnTo>
                <a:lnTo>
                  <a:pt x="2460" y="662"/>
                </a:lnTo>
                <a:lnTo>
                  <a:pt x="2453" y="665"/>
                </a:lnTo>
                <a:lnTo>
                  <a:pt x="2447" y="670"/>
                </a:lnTo>
                <a:lnTo>
                  <a:pt x="2442" y="675"/>
                </a:lnTo>
                <a:lnTo>
                  <a:pt x="2437" y="680"/>
                </a:lnTo>
                <a:lnTo>
                  <a:pt x="2433" y="685"/>
                </a:lnTo>
                <a:lnTo>
                  <a:pt x="2429" y="691"/>
                </a:lnTo>
                <a:lnTo>
                  <a:pt x="2426" y="697"/>
                </a:lnTo>
                <a:lnTo>
                  <a:pt x="2424" y="704"/>
                </a:lnTo>
                <a:lnTo>
                  <a:pt x="2423" y="711"/>
                </a:lnTo>
                <a:lnTo>
                  <a:pt x="2423" y="719"/>
                </a:lnTo>
                <a:lnTo>
                  <a:pt x="2423" y="725"/>
                </a:lnTo>
                <a:lnTo>
                  <a:pt x="2424" y="732"/>
                </a:lnTo>
                <a:lnTo>
                  <a:pt x="2426" y="737"/>
                </a:lnTo>
                <a:lnTo>
                  <a:pt x="2429" y="743"/>
                </a:lnTo>
                <a:lnTo>
                  <a:pt x="2432" y="748"/>
                </a:lnTo>
                <a:lnTo>
                  <a:pt x="2436" y="752"/>
                </a:lnTo>
                <a:lnTo>
                  <a:pt x="2440" y="757"/>
                </a:lnTo>
                <a:lnTo>
                  <a:pt x="2446" y="760"/>
                </a:lnTo>
                <a:lnTo>
                  <a:pt x="2457" y="767"/>
                </a:lnTo>
                <a:lnTo>
                  <a:pt x="2464" y="770"/>
                </a:lnTo>
                <a:lnTo>
                  <a:pt x="2470" y="773"/>
                </a:lnTo>
                <a:lnTo>
                  <a:pt x="2477" y="776"/>
                </a:lnTo>
                <a:lnTo>
                  <a:pt x="2485" y="778"/>
                </a:lnTo>
                <a:lnTo>
                  <a:pt x="2500" y="783"/>
                </a:lnTo>
                <a:lnTo>
                  <a:pt x="2533" y="792"/>
                </a:lnTo>
                <a:lnTo>
                  <a:pt x="2566" y="803"/>
                </a:lnTo>
                <a:lnTo>
                  <a:pt x="2574" y="806"/>
                </a:lnTo>
                <a:lnTo>
                  <a:pt x="2581" y="809"/>
                </a:lnTo>
                <a:lnTo>
                  <a:pt x="2585" y="811"/>
                </a:lnTo>
                <a:lnTo>
                  <a:pt x="2589" y="813"/>
                </a:lnTo>
                <a:lnTo>
                  <a:pt x="2596" y="817"/>
                </a:lnTo>
                <a:lnTo>
                  <a:pt x="2602" y="821"/>
                </a:lnTo>
                <a:lnTo>
                  <a:pt x="2609" y="826"/>
                </a:lnTo>
                <a:lnTo>
                  <a:pt x="2615" y="831"/>
                </a:lnTo>
                <a:lnTo>
                  <a:pt x="2620" y="836"/>
                </a:lnTo>
                <a:lnTo>
                  <a:pt x="2625" y="842"/>
                </a:lnTo>
                <a:lnTo>
                  <a:pt x="2630" y="848"/>
                </a:lnTo>
                <a:lnTo>
                  <a:pt x="2632" y="851"/>
                </a:lnTo>
                <a:lnTo>
                  <a:pt x="2634" y="855"/>
                </a:lnTo>
                <a:lnTo>
                  <a:pt x="2637" y="863"/>
                </a:lnTo>
                <a:lnTo>
                  <a:pt x="2640" y="871"/>
                </a:lnTo>
                <a:lnTo>
                  <a:pt x="2641" y="879"/>
                </a:lnTo>
                <a:lnTo>
                  <a:pt x="2643" y="889"/>
                </a:lnTo>
                <a:lnTo>
                  <a:pt x="2643" y="898"/>
                </a:lnTo>
                <a:lnTo>
                  <a:pt x="2643" y="911"/>
                </a:lnTo>
                <a:lnTo>
                  <a:pt x="2640" y="923"/>
                </a:lnTo>
                <a:lnTo>
                  <a:pt x="2637" y="935"/>
                </a:lnTo>
                <a:lnTo>
                  <a:pt x="2631" y="946"/>
                </a:lnTo>
                <a:lnTo>
                  <a:pt x="2628" y="952"/>
                </a:lnTo>
                <a:lnTo>
                  <a:pt x="2624" y="958"/>
                </a:lnTo>
                <a:lnTo>
                  <a:pt x="2620" y="963"/>
                </a:lnTo>
                <a:lnTo>
                  <a:pt x="2615" y="968"/>
                </a:lnTo>
                <a:lnTo>
                  <a:pt x="2610" y="973"/>
                </a:lnTo>
                <a:lnTo>
                  <a:pt x="2604" y="978"/>
                </a:lnTo>
                <a:lnTo>
                  <a:pt x="2597" y="982"/>
                </a:lnTo>
                <a:lnTo>
                  <a:pt x="2591" y="986"/>
                </a:lnTo>
                <a:lnTo>
                  <a:pt x="2583" y="990"/>
                </a:lnTo>
                <a:lnTo>
                  <a:pt x="2575" y="993"/>
                </a:lnTo>
                <a:lnTo>
                  <a:pt x="2566" y="996"/>
                </a:lnTo>
                <a:lnTo>
                  <a:pt x="2557" y="998"/>
                </a:lnTo>
                <a:lnTo>
                  <a:pt x="2547" y="1000"/>
                </a:lnTo>
                <a:lnTo>
                  <a:pt x="2536" y="1001"/>
                </a:lnTo>
                <a:lnTo>
                  <a:pt x="2525" y="1002"/>
                </a:lnTo>
                <a:lnTo>
                  <a:pt x="2513" y="1003"/>
                </a:lnTo>
                <a:close/>
                <a:moveTo>
                  <a:pt x="2853" y="996"/>
                </a:moveTo>
                <a:lnTo>
                  <a:pt x="2821" y="996"/>
                </a:lnTo>
                <a:lnTo>
                  <a:pt x="2821" y="657"/>
                </a:lnTo>
                <a:lnTo>
                  <a:pt x="2701" y="657"/>
                </a:lnTo>
                <a:lnTo>
                  <a:pt x="2701" y="628"/>
                </a:lnTo>
                <a:lnTo>
                  <a:pt x="2973" y="628"/>
                </a:lnTo>
                <a:lnTo>
                  <a:pt x="2973" y="657"/>
                </a:lnTo>
                <a:lnTo>
                  <a:pt x="2853" y="657"/>
                </a:lnTo>
                <a:lnTo>
                  <a:pt x="2853" y="996"/>
                </a:lnTo>
                <a:close/>
                <a:moveTo>
                  <a:pt x="3315" y="996"/>
                </a:moveTo>
                <a:lnTo>
                  <a:pt x="3278" y="996"/>
                </a:lnTo>
                <a:lnTo>
                  <a:pt x="3242" y="906"/>
                </a:lnTo>
                <a:lnTo>
                  <a:pt x="3047" y="906"/>
                </a:lnTo>
                <a:lnTo>
                  <a:pt x="3011" y="996"/>
                </a:lnTo>
                <a:lnTo>
                  <a:pt x="2974" y="996"/>
                </a:lnTo>
                <a:lnTo>
                  <a:pt x="3125" y="628"/>
                </a:lnTo>
                <a:lnTo>
                  <a:pt x="3164" y="628"/>
                </a:lnTo>
                <a:lnTo>
                  <a:pt x="3315" y="996"/>
                </a:lnTo>
                <a:close/>
                <a:moveTo>
                  <a:pt x="3231" y="877"/>
                </a:moveTo>
                <a:lnTo>
                  <a:pt x="3145" y="662"/>
                </a:lnTo>
                <a:lnTo>
                  <a:pt x="3058" y="877"/>
                </a:lnTo>
                <a:lnTo>
                  <a:pt x="3231" y="877"/>
                </a:lnTo>
                <a:close/>
                <a:moveTo>
                  <a:pt x="3565" y="996"/>
                </a:moveTo>
                <a:lnTo>
                  <a:pt x="3534" y="996"/>
                </a:lnTo>
                <a:lnTo>
                  <a:pt x="3534" y="628"/>
                </a:lnTo>
                <a:lnTo>
                  <a:pt x="3672" y="628"/>
                </a:lnTo>
                <a:lnTo>
                  <a:pt x="3685" y="629"/>
                </a:lnTo>
                <a:lnTo>
                  <a:pt x="3697" y="631"/>
                </a:lnTo>
                <a:lnTo>
                  <a:pt x="3708" y="633"/>
                </a:lnTo>
                <a:lnTo>
                  <a:pt x="3719" y="637"/>
                </a:lnTo>
                <a:lnTo>
                  <a:pt x="3724" y="639"/>
                </a:lnTo>
                <a:lnTo>
                  <a:pt x="3729" y="641"/>
                </a:lnTo>
                <a:lnTo>
                  <a:pt x="3738" y="647"/>
                </a:lnTo>
                <a:lnTo>
                  <a:pt x="3742" y="650"/>
                </a:lnTo>
                <a:lnTo>
                  <a:pt x="3746" y="653"/>
                </a:lnTo>
                <a:lnTo>
                  <a:pt x="3750" y="656"/>
                </a:lnTo>
                <a:lnTo>
                  <a:pt x="3754" y="660"/>
                </a:lnTo>
                <a:lnTo>
                  <a:pt x="3757" y="664"/>
                </a:lnTo>
                <a:lnTo>
                  <a:pt x="3760" y="668"/>
                </a:lnTo>
                <a:lnTo>
                  <a:pt x="3766" y="676"/>
                </a:lnTo>
                <a:lnTo>
                  <a:pt x="3771" y="685"/>
                </a:lnTo>
                <a:lnTo>
                  <a:pt x="3775" y="694"/>
                </a:lnTo>
                <a:lnTo>
                  <a:pt x="3778" y="704"/>
                </a:lnTo>
                <a:lnTo>
                  <a:pt x="3781" y="714"/>
                </a:lnTo>
                <a:lnTo>
                  <a:pt x="3782" y="725"/>
                </a:lnTo>
                <a:lnTo>
                  <a:pt x="3783" y="736"/>
                </a:lnTo>
                <a:lnTo>
                  <a:pt x="3782" y="747"/>
                </a:lnTo>
                <a:lnTo>
                  <a:pt x="3781" y="757"/>
                </a:lnTo>
                <a:lnTo>
                  <a:pt x="3780" y="762"/>
                </a:lnTo>
                <a:lnTo>
                  <a:pt x="3778" y="767"/>
                </a:lnTo>
                <a:lnTo>
                  <a:pt x="3775" y="777"/>
                </a:lnTo>
                <a:lnTo>
                  <a:pt x="3771" y="786"/>
                </a:lnTo>
                <a:lnTo>
                  <a:pt x="3766" y="795"/>
                </a:lnTo>
                <a:lnTo>
                  <a:pt x="3760" y="803"/>
                </a:lnTo>
                <a:lnTo>
                  <a:pt x="3753" y="811"/>
                </a:lnTo>
                <a:lnTo>
                  <a:pt x="3746" y="818"/>
                </a:lnTo>
                <a:lnTo>
                  <a:pt x="3737" y="825"/>
                </a:lnTo>
                <a:lnTo>
                  <a:pt x="3728" y="830"/>
                </a:lnTo>
                <a:lnTo>
                  <a:pt x="3719" y="835"/>
                </a:lnTo>
                <a:lnTo>
                  <a:pt x="3708" y="838"/>
                </a:lnTo>
                <a:lnTo>
                  <a:pt x="3702" y="840"/>
                </a:lnTo>
                <a:lnTo>
                  <a:pt x="3697" y="841"/>
                </a:lnTo>
                <a:lnTo>
                  <a:pt x="3685" y="842"/>
                </a:lnTo>
                <a:lnTo>
                  <a:pt x="3672" y="843"/>
                </a:lnTo>
                <a:lnTo>
                  <a:pt x="3565" y="843"/>
                </a:lnTo>
                <a:lnTo>
                  <a:pt x="3565" y="996"/>
                </a:lnTo>
                <a:close/>
                <a:moveTo>
                  <a:pt x="3668" y="815"/>
                </a:moveTo>
                <a:lnTo>
                  <a:pt x="3677" y="814"/>
                </a:lnTo>
                <a:lnTo>
                  <a:pt x="3686" y="813"/>
                </a:lnTo>
                <a:lnTo>
                  <a:pt x="3694" y="811"/>
                </a:lnTo>
                <a:lnTo>
                  <a:pt x="3702" y="809"/>
                </a:lnTo>
                <a:lnTo>
                  <a:pt x="3709" y="806"/>
                </a:lnTo>
                <a:lnTo>
                  <a:pt x="3716" y="802"/>
                </a:lnTo>
                <a:lnTo>
                  <a:pt x="3719" y="800"/>
                </a:lnTo>
                <a:lnTo>
                  <a:pt x="3722" y="797"/>
                </a:lnTo>
                <a:lnTo>
                  <a:pt x="3727" y="792"/>
                </a:lnTo>
                <a:lnTo>
                  <a:pt x="3732" y="787"/>
                </a:lnTo>
                <a:lnTo>
                  <a:pt x="3737" y="781"/>
                </a:lnTo>
                <a:lnTo>
                  <a:pt x="3741" y="774"/>
                </a:lnTo>
                <a:lnTo>
                  <a:pt x="3744" y="767"/>
                </a:lnTo>
                <a:lnTo>
                  <a:pt x="3746" y="760"/>
                </a:lnTo>
                <a:lnTo>
                  <a:pt x="3748" y="752"/>
                </a:lnTo>
                <a:lnTo>
                  <a:pt x="3749" y="744"/>
                </a:lnTo>
                <a:lnTo>
                  <a:pt x="3750" y="736"/>
                </a:lnTo>
                <a:lnTo>
                  <a:pt x="3749" y="727"/>
                </a:lnTo>
                <a:lnTo>
                  <a:pt x="3748" y="719"/>
                </a:lnTo>
                <a:lnTo>
                  <a:pt x="3746" y="711"/>
                </a:lnTo>
                <a:lnTo>
                  <a:pt x="3744" y="704"/>
                </a:lnTo>
                <a:lnTo>
                  <a:pt x="3741" y="697"/>
                </a:lnTo>
                <a:lnTo>
                  <a:pt x="3737" y="690"/>
                </a:lnTo>
                <a:lnTo>
                  <a:pt x="3732" y="684"/>
                </a:lnTo>
                <a:lnTo>
                  <a:pt x="3727" y="679"/>
                </a:lnTo>
                <a:lnTo>
                  <a:pt x="3722" y="674"/>
                </a:lnTo>
                <a:lnTo>
                  <a:pt x="3716" y="669"/>
                </a:lnTo>
                <a:lnTo>
                  <a:pt x="3709" y="666"/>
                </a:lnTo>
                <a:lnTo>
                  <a:pt x="3705" y="664"/>
                </a:lnTo>
                <a:lnTo>
                  <a:pt x="3702" y="663"/>
                </a:lnTo>
                <a:lnTo>
                  <a:pt x="3694" y="660"/>
                </a:lnTo>
                <a:lnTo>
                  <a:pt x="3686" y="658"/>
                </a:lnTo>
                <a:lnTo>
                  <a:pt x="3677" y="657"/>
                </a:lnTo>
                <a:lnTo>
                  <a:pt x="3668" y="657"/>
                </a:lnTo>
                <a:lnTo>
                  <a:pt x="3565" y="657"/>
                </a:lnTo>
                <a:lnTo>
                  <a:pt x="3565" y="815"/>
                </a:lnTo>
                <a:lnTo>
                  <a:pt x="3668" y="815"/>
                </a:lnTo>
                <a:close/>
                <a:moveTo>
                  <a:pt x="4003" y="1003"/>
                </a:moveTo>
                <a:lnTo>
                  <a:pt x="3994" y="1002"/>
                </a:lnTo>
                <a:lnTo>
                  <a:pt x="3986" y="1002"/>
                </a:lnTo>
                <a:lnTo>
                  <a:pt x="3970" y="1000"/>
                </a:lnTo>
                <a:lnTo>
                  <a:pt x="3962" y="998"/>
                </a:lnTo>
                <a:lnTo>
                  <a:pt x="3955" y="997"/>
                </a:lnTo>
                <a:lnTo>
                  <a:pt x="3947" y="995"/>
                </a:lnTo>
                <a:lnTo>
                  <a:pt x="3941" y="992"/>
                </a:lnTo>
                <a:lnTo>
                  <a:pt x="3928" y="987"/>
                </a:lnTo>
                <a:lnTo>
                  <a:pt x="3922" y="983"/>
                </a:lnTo>
                <a:lnTo>
                  <a:pt x="3916" y="980"/>
                </a:lnTo>
                <a:lnTo>
                  <a:pt x="3905" y="972"/>
                </a:lnTo>
                <a:lnTo>
                  <a:pt x="3900" y="967"/>
                </a:lnTo>
                <a:lnTo>
                  <a:pt x="3896" y="963"/>
                </a:lnTo>
                <a:lnTo>
                  <a:pt x="3887" y="952"/>
                </a:lnTo>
                <a:lnTo>
                  <a:pt x="3883" y="947"/>
                </a:lnTo>
                <a:lnTo>
                  <a:pt x="3880" y="941"/>
                </a:lnTo>
                <a:lnTo>
                  <a:pt x="3874" y="929"/>
                </a:lnTo>
                <a:lnTo>
                  <a:pt x="3871" y="923"/>
                </a:lnTo>
                <a:lnTo>
                  <a:pt x="3869" y="916"/>
                </a:lnTo>
                <a:lnTo>
                  <a:pt x="3865" y="902"/>
                </a:lnTo>
                <a:lnTo>
                  <a:pt x="3863" y="895"/>
                </a:lnTo>
                <a:lnTo>
                  <a:pt x="3862" y="887"/>
                </a:lnTo>
                <a:lnTo>
                  <a:pt x="3860" y="872"/>
                </a:lnTo>
                <a:lnTo>
                  <a:pt x="3860" y="863"/>
                </a:lnTo>
                <a:lnTo>
                  <a:pt x="3859" y="855"/>
                </a:lnTo>
                <a:lnTo>
                  <a:pt x="3859" y="628"/>
                </a:lnTo>
                <a:lnTo>
                  <a:pt x="3891" y="628"/>
                </a:lnTo>
                <a:lnTo>
                  <a:pt x="3891" y="854"/>
                </a:lnTo>
                <a:lnTo>
                  <a:pt x="3892" y="868"/>
                </a:lnTo>
                <a:lnTo>
                  <a:pt x="3893" y="881"/>
                </a:lnTo>
                <a:lnTo>
                  <a:pt x="3894" y="887"/>
                </a:lnTo>
                <a:lnTo>
                  <a:pt x="3895" y="893"/>
                </a:lnTo>
                <a:lnTo>
                  <a:pt x="3899" y="904"/>
                </a:lnTo>
                <a:lnTo>
                  <a:pt x="3903" y="915"/>
                </a:lnTo>
                <a:lnTo>
                  <a:pt x="3905" y="920"/>
                </a:lnTo>
                <a:lnTo>
                  <a:pt x="3908" y="925"/>
                </a:lnTo>
                <a:lnTo>
                  <a:pt x="3913" y="934"/>
                </a:lnTo>
                <a:lnTo>
                  <a:pt x="3917" y="938"/>
                </a:lnTo>
                <a:lnTo>
                  <a:pt x="3920" y="942"/>
                </a:lnTo>
                <a:lnTo>
                  <a:pt x="3924" y="946"/>
                </a:lnTo>
                <a:lnTo>
                  <a:pt x="3927" y="949"/>
                </a:lnTo>
                <a:lnTo>
                  <a:pt x="3936" y="956"/>
                </a:lnTo>
                <a:lnTo>
                  <a:pt x="3945" y="961"/>
                </a:lnTo>
                <a:lnTo>
                  <a:pt x="3950" y="964"/>
                </a:lnTo>
                <a:lnTo>
                  <a:pt x="3955" y="966"/>
                </a:lnTo>
                <a:lnTo>
                  <a:pt x="3966" y="969"/>
                </a:lnTo>
                <a:lnTo>
                  <a:pt x="3977" y="972"/>
                </a:lnTo>
                <a:lnTo>
                  <a:pt x="3983" y="973"/>
                </a:lnTo>
                <a:lnTo>
                  <a:pt x="3990" y="973"/>
                </a:lnTo>
                <a:lnTo>
                  <a:pt x="4003" y="974"/>
                </a:lnTo>
                <a:lnTo>
                  <a:pt x="4016" y="973"/>
                </a:lnTo>
                <a:lnTo>
                  <a:pt x="4028" y="972"/>
                </a:lnTo>
                <a:lnTo>
                  <a:pt x="4040" y="969"/>
                </a:lnTo>
                <a:lnTo>
                  <a:pt x="4051" y="966"/>
                </a:lnTo>
                <a:lnTo>
                  <a:pt x="4056" y="964"/>
                </a:lnTo>
                <a:lnTo>
                  <a:pt x="4061" y="961"/>
                </a:lnTo>
                <a:lnTo>
                  <a:pt x="4070" y="956"/>
                </a:lnTo>
                <a:lnTo>
                  <a:pt x="4074" y="953"/>
                </a:lnTo>
                <a:lnTo>
                  <a:pt x="4078" y="949"/>
                </a:lnTo>
                <a:lnTo>
                  <a:pt x="4082" y="946"/>
                </a:lnTo>
                <a:lnTo>
                  <a:pt x="4086" y="942"/>
                </a:lnTo>
                <a:lnTo>
                  <a:pt x="4092" y="934"/>
                </a:lnTo>
                <a:lnTo>
                  <a:pt x="4098" y="925"/>
                </a:lnTo>
                <a:lnTo>
                  <a:pt x="4103" y="915"/>
                </a:lnTo>
                <a:lnTo>
                  <a:pt x="4107" y="904"/>
                </a:lnTo>
                <a:lnTo>
                  <a:pt x="4110" y="893"/>
                </a:lnTo>
                <a:lnTo>
                  <a:pt x="4111" y="887"/>
                </a:lnTo>
                <a:lnTo>
                  <a:pt x="4112" y="881"/>
                </a:lnTo>
                <a:lnTo>
                  <a:pt x="4114" y="868"/>
                </a:lnTo>
                <a:lnTo>
                  <a:pt x="4114" y="854"/>
                </a:lnTo>
                <a:lnTo>
                  <a:pt x="4114" y="628"/>
                </a:lnTo>
                <a:lnTo>
                  <a:pt x="4146" y="628"/>
                </a:lnTo>
                <a:lnTo>
                  <a:pt x="4146" y="855"/>
                </a:lnTo>
                <a:lnTo>
                  <a:pt x="4146" y="872"/>
                </a:lnTo>
                <a:lnTo>
                  <a:pt x="4144" y="887"/>
                </a:lnTo>
                <a:lnTo>
                  <a:pt x="4141" y="902"/>
                </a:lnTo>
                <a:lnTo>
                  <a:pt x="4137" y="916"/>
                </a:lnTo>
                <a:lnTo>
                  <a:pt x="4132" y="929"/>
                </a:lnTo>
                <a:lnTo>
                  <a:pt x="4126" y="941"/>
                </a:lnTo>
                <a:lnTo>
                  <a:pt x="4119" y="953"/>
                </a:lnTo>
                <a:lnTo>
                  <a:pt x="4110" y="963"/>
                </a:lnTo>
                <a:lnTo>
                  <a:pt x="4100" y="972"/>
                </a:lnTo>
                <a:lnTo>
                  <a:pt x="4090" y="980"/>
                </a:lnTo>
                <a:lnTo>
                  <a:pt x="4084" y="983"/>
                </a:lnTo>
                <a:lnTo>
                  <a:pt x="4078" y="987"/>
                </a:lnTo>
                <a:lnTo>
                  <a:pt x="4072" y="990"/>
                </a:lnTo>
                <a:lnTo>
                  <a:pt x="4065" y="992"/>
                </a:lnTo>
                <a:lnTo>
                  <a:pt x="4058" y="995"/>
                </a:lnTo>
                <a:lnTo>
                  <a:pt x="4051" y="997"/>
                </a:lnTo>
                <a:lnTo>
                  <a:pt x="4036" y="1000"/>
                </a:lnTo>
                <a:lnTo>
                  <a:pt x="4020" y="1002"/>
                </a:lnTo>
                <a:lnTo>
                  <a:pt x="4012" y="1002"/>
                </a:lnTo>
                <a:lnTo>
                  <a:pt x="4003" y="1003"/>
                </a:lnTo>
                <a:close/>
                <a:moveTo>
                  <a:pt x="4545" y="996"/>
                </a:moveTo>
                <a:lnTo>
                  <a:pt x="4513" y="996"/>
                </a:lnTo>
                <a:lnTo>
                  <a:pt x="4513" y="821"/>
                </a:lnTo>
                <a:lnTo>
                  <a:pt x="4280" y="821"/>
                </a:lnTo>
                <a:lnTo>
                  <a:pt x="4280" y="996"/>
                </a:lnTo>
                <a:lnTo>
                  <a:pt x="4249" y="996"/>
                </a:lnTo>
                <a:lnTo>
                  <a:pt x="4249" y="628"/>
                </a:lnTo>
                <a:lnTo>
                  <a:pt x="4280" y="628"/>
                </a:lnTo>
                <a:lnTo>
                  <a:pt x="4280" y="793"/>
                </a:lnTo>
                <a:lnTo>
                  <a:pt x="4513" y="793"/>
                </a:lnTo>
                <a:lnTo>
                  <a:pt x="4513" y="628"/>
                </a:lnTo>
                <a:lnTo>
                  <a:pt x="4545" y="628"/>
                </a:lnTo>
                <a:lnTo>
                  <a:pt x="4545" y="996"/>
                </a:lnTo>
                <a:close/>
                <a:moveTo>
                  <a:pt x="4773" y="996"/>
                </a:moveTo>
                <a:lnTo>
                  <a:pt x="4741" y="996"/>
                </a:lnTo>
                <a:lnTo>
                  <a:pt x="4741" y="657"/>
                </a:lnTo>
                <a:lnTo>
                  <a:pt x="4621" y="657"/>
                </a:lnTo>
                <a:lnTo>
                  <a:pt x="4621" y="628"/>
                </a:lnTo>
                <a:lnTo>
                  <a:pt x="4893" y="628"/>
                </a:lnTo>
                <a:lnTo>
                  <a:pt x="4893" y="657"/>
                </a:lnTo>
                <a:lnTo>
                  <a:pt x="4773" y="657"/>
                </a:lnTo>
                <a:lnTo>
                  <a:pt x="4773" y="996"/>
                </a:lnTo>
                <a:close/>
                <a:moveTo>
                  <a:pt x="5235" y="996"/>
                </a:moveTo>
                <a:lnTo>
                  <a:pt x="5199" y="996"/>
                </a:lnTo>
                <a:lnTo>
                  <a:pt x="5162" y="906"/>
                </a:lnTo>
                <a:lnTo>
                  <a:pt x="4967" y="906"/>
                </a:lnTo>
                <a:lnTo>
                  <a:pt x="4931" y="996"/>
                </a:lnTo>
                <a:lnTo>
                  <a:pt x="4895" y="996"/>
                </a:lnTo>
                <a:lnTo>
                  <a:pt x="5045" y="628"/>
                </a:lnTo>
                <a:lnTo>
                  <a:pt x="5084" y="628"/>
                </a:lnTo>
                <a:lnTo>
                  <a:pt x="5235" y="996"/>
                </a:lnTo>
                <a:close/>
                <a:moveTo>
                  <a:pt x="5152" y="877"/>
                </a:moveTo>
                <a:lnTo>
                  <a:pt x="5065" y="662"/>
                </a:lnTo>
                <a:lnTo>
                  <a:pt x="4978" y="877"/>
                </a:lnTo>
                <a:lnTo>
                  <a:pt x="5152" y="877"/>
                </a:lnTo>
                <a:close/>
                <a:moveTo>
                  <a:pt x="5604" y="996"/>
                </a:moveTo>
                <a:lnTo>
                  <a:pt x="5567" y="996"/>
                </a:lnTo>
                <a:lnTo>
                  <a:pt x="5531" y="906"/>
                </a:lnTo>
                <a:lnTo>
                  <a:pt x="5335" y="906"/>
                </a:lnTo>
                <a:lnTo>
                  <a:pt x="5299" y="996"/>
                </a:lnTo>
                <a:lnTo>
                  <a:pt x="5262" y="996"/>
                </a:lnTo>
                <a:lnTo>
                  <a:pt x="5414" y="628"/>
                </a:lnTo>
                <a:lnTo>
                  <a:pt x="5453" y="628"/>
                </a:lnTo>
                <a:lnTo>
                  <a:pt x="5604" y="996"/>
                </a:lnTo>
                <a:close/>
                <a:moveTo>
                  <a:pt x="5520" y="877"/>
                </a:moveTo>
                <a:lnTo>
                  <a:pt x="5434" y="662"/>
                </a:lnTo>
                <a:lnTo>
                  <a:pt x="5346" y="877"/>
                </a:lnTo>
                <a:lnTo>
                  <a:pt x="5520" y="877"/>
                </a:lnTo>
                <a:close/>
                <a:moveTo>
                  <a:pt x="6012" y="996"/>
                </a:moveTo>
                <a:lnTo>
                  <a:pt x="5981" y="996"/>
                </a:lnTo>
                <a:lnTo>
                  <a:pt x="5981" y="668"/>
                </a:lnTo>
                <a:lnTo>
                  <a:pt x="5846" y="996"/>
                </a:lnTo>
                <a:lnTo>
                  <a:pt x="5834" y="996"/>
                </a:lnTo>
                <a:lnTo>
                  <a:pt x="5700" y="668"/>
                </a:lnTo>
                <a:lnTo>
                  <a:pt x="5700" y="996"/>
                </a:lnTo>
                <a:lnTo>
                  <a:pt x="5668" y="996"/>
                </a:lnTo>
                <a:lnTo>
                  <a:pt x="5668" y="628"/>
                </a:lnTo>
                <a:lnTo>
                  <a:pt x="5715" y="628"/>
                </a:lnTo>
                <a:lnTo>
                  <a:pt x="5840" y="934"/>
                </a:lnTo>
                <a:lnTo>
                  <a:pt x="5965" y="628"/>
                </a:lnTo>
                <a:lnTo>
                  <a:pt x="6012" y="628"/>
                </a:lnTo>
                <a:lnTo>
                  <a:pt x="6012" y="996"/>
                </a:lnTo>
                <a:close/>
                <a:moveTo>
                  <a:pt x="6459" y="996"/>
                </a:moveTo>
                <a:lnTo>
                  <a:pt x="6427" y="996"/>
                </a:lnTo>
                <a:lnTo>
                  <a:pt x="6427" y="668"/>
                </a:lnTo>
                <a:lnTo>
                  <a:pt x="6293" y="996"/>
                </a:lnTo>
                <a:lnTo>
                  <a:pt x="6281" y="996"/>
                </a:lnTo>
                <a:lnTo>
                  <a:pt x="6146" y="668"/>
                </a:lnTo>
                <a:lnTo>
                  <a:pt x="6146" y="996"/>
                </a:lnTo>
                <a:lnTo>
                  <a:pt x="6115" y="996"/>
                </a:lnTo>
                <a:lnTo>
                  <a:pt x="6115" y="628"/>
                </a:lnTo>
                <a:lnTo>
                  <a:pt x="6161" y="628"/>
                </a:lnTo>
                <a:lnTo>
                  <a:pt x="6287" y="934"/>
                </a:lnTo>
                <a:lnTo>
                  <a:pt x="6411" y="628"/>
                </a:lnTo>
                <a:lnTo>
                  <a:pt x="6459" y="628"/>
                </a:lnTo>
                <a:lnTo>
                  <a:pt x="6459" y="996"/>
                </a:lnTo>
                <a:close/>
                <a:moveTo>
                  <a:pt x="6864" y="996"/>
                </a:moveTo>
                <a:lnTo>
                  <a:pt x="6827" y="996"/>
                </a:lnTo>
                <a:lnTo>
                  <a:pt x="6791" y="906"/>
                </a:lnTo>
                <a:lnTo>
                  <a:pt x="6596" y="906"/>
                </a:lnTo>
                <a:lnTo>
                  <a:pt x="6560" y="996"/>
                </a:lnTo>
                <a:lnTo>
                  <a:pt x="6523" y="996"/>
                </a:lnTo>
                <a:lnTo>
                  <a:pt x="6674" y="628"/>
                </a:lnTo>
                <a:lnTo>
                  <a:pt x="6713" y="628"/>
                </a:lnTo>
                <a:lnTo>
                  <a:pt x="6864" y="996"/>
                </a:lnTo>
                <a:close/>
                <a:moveTo>
                  <a:pt x="6780" y="877"/>
                </a:moveTo>
                <a:lnTo>
                  <a:pt x="6694" y="662"/>
                </a:lnTo>
                <a:lnTo>
                  <a:pt x="6607" y="877"/>
                </a:lnTo>
                <a:lnTo>
                  <a:pt x="6780" y="877"/>
                </a:lnTo>
                <a:close/>
                <a:moveTo>
                  <a:pt x="7222" y="996"/>
                </a:moveTo>
                <a:lnTo>
                  <a:pt x="7191" y="996"/>
                </a:lnTo>
                <a:lnTo>
                  <a:pt x="6960" y="680"/>
                </a:lnTo>
                <a:lnTo>
                  <a:pt x="6960" y="996"/>
                </a:lnTo>
                <a:lnTo>
                  <a:pt x="6928" y="996"/>
                </a:lnTo>
                <a:lnTo>
                  <a:pt x="6928" y="628"/>
                </a:lnTo>
                <a:lnTo>
                  <a:pt x="6960" y="628"/>
                </a:lnTo>
                <a:lnTo>
                  <a:pt x="7191" y="940"/>
                </a:lnTo>
                <a:lnTo>
                  <a:pt x="7191" y="628"/>
                </a:lnTo>
                <a:lnTo>
                  <a:pt x="7222" y="628"/>
                </a:lnTo>
                <a:lnTo>
                  <a:pt x="7222" y="996"/>
                </a:lnTo>
                <a:close/>
                <a:moveTo>
                  <a:pt x="838" y="444"/>
                </a:moveTo>
                <a:lnTo>
                  <a:pt x="802" y="444"/>
                </a:lnTo>
                <a:lnTo>
                  <a:pt x="765" y="354"/>
                </a:lnTo>
                <a:lnTo>
                  <a:pt x="571" y="354"/>
                </a:lnTo>
                <a:lnTo>
                  <a:pt x="534" y="444"/>
                </a:lnTo>
                <a:lnTo>
                  <a:pt x="498" y="444"/>
                </a:lnTo>
                <a:lnTo>
                  <a:pt x="648" y="77"/>
                </a:lnTo>
                <a:lnTo>
                  <a:pt x="688" y="77"/>
                </a:lnTo>
                <a:lnTo>
                  <a:pt x="838" y="444"/>
                </a:lnTo>
                <a:close/>
                <a:moveTo>
                  <a:pt x="755" y="325"/>
                </a:moveTo>
                <a:lnTo>
                  <a:pt x="668" y="110"/>
                </a:lnTo>
                <a:lnTo>
                  <a:pt x="581" y="325"/>
                </a:lnTo>
                <a:lnTo>
                  <a:pt x="755" y="325"/>
                </a:lnTo>
                <a:close/>
                <a:moveTo>
                  <a:pt x="1007" y="451"/>
                </a:moveTo>
                <a:lnTo>
                  <a:pt x="996" y="451"/>
                </a:lnTo>
                <a:lnTo>
                  <a:pt x="985" y="450"/>
                </a:lnTo>
                <a:lnTo>
                  <a:pt x="975" y="448"/>
                </a:lnTo>
                <a:lnTo>
                  <a:pt x="965" y="447"/>
                </a:lnTo>
                <a:lnTo>
                  <a:pt x="955" y="444"/>
                </a:lnTo>
                <a:lnTo>
                  <a:pt x="945" y="442"/>
                </a:lnTo>
                <a:lnTo>
                  <a:pt x="936" y="438"/>
                </a:lnTo>
                <a:lnTo>
                  <a:pt x="928" y="434"/>
                </a:lnTo>
                <a:lnTo>
                  <a:pt x="919" y="430"/>
                </a:lnTo>
                <a:lnTo>
                  <a:pt x="912" y="426"/>
                </a:lnTo>
                <a:lnTo>
                  <a:pt x="904" y="421"/>
                </a:lnTo>
                <a:lnTo>
                  <a:pt x="897" y="416"/>
                </a:lnTo>
                <a:lnTo>
                  <a:pt x="890" y="411"/>
                </a:lnTo>
                <a:lnTo>
                  <a:pt x="884" y="405"/>
                </a:lnTo>
                <a:lnTo>
                  <a:pt x="878" y="399"/>
                </a:lnTo>
                <a:lnTo>
                  <a:pt x="873" y="393"/>
                </a:lnTo>
                <a:lnTo>
                  <a:pt x="893" y="369"/>
                </a:lnTo>
                <a:lnTo>
                  <a:pt x="903" y="379"/>
                </a:lnTo>
                <a:lnTo>
                  <a:pt x="908" y="384"/>
                </a:lnTo>
                <a:lnTo>
                  <a:pt x="914" y="389"/>
                </a:lnTo>
                <a:lnTo>
                  <a:pt x="926" y="398"/>
                </a:lnTo>
                <a:lnTo>
                  <a:pt x="940" y="406"/>
                </a:lnTo>
                <a:lnTo>
                  <a:pt x="947" y="410"/>
                </a:lnTo>
                <a:lnTo>
                  <a:pt x="955" y="413"/>
                </a:lnTo>
                <a:lnTo>
                  <a:pt x="963" y="416"/>
                </a:lnTo>
                <a:lnTo>
                  <a:pt x="971" y="418"/>
                </a:lnTo>
                <a:lnTo>
                  <a:pt x="980" y="420"/>
                </a:lnTo>
                <a:lnTo>
                  <a:pt x="989" y="421"/>
                </a:lnTo>
                <a:lnTo>
                  <a:pt x="999" y="422"/>
                </a:lnTo>
                <a:lnTo>
                  <a:pt x="1008" y="422"/>
                </a:lnTo>
                <a:lnTo>
                  <a:pt x="1017" y="422"/>
                </a:lnTo>
                <a:lnTo>
                  <a:pt x="1026" y="422"/>
                </a:lnTo>
                <a:lnTo>
                  <a:pt x="1034" y="421"/>
                </a:lnTo>
                <a:lnTo>
                  <a:pt x="1041" y="419"/>
                </a:lnTo>
                <a:lnTo>
                  <a:pt x="1049" y="418"/>
                </a:lnTo>
                <a:lnTo>
                  <a:pt x="1055" y="415"/>
                </a:lnTo>
                <a:lnTo>
                  <a:pt x="1061" y="413"/>
                </a:lnTo>
                <a:lnTo>
                  <a:pt x="1067" y="410"/>
                </a:lnTo>
                <a:lnTo>
                  <a:pt x="1076" y="404"/>
                </a:lnTo>
                <a:lnTo>
                  <a:pt x="1085" y="398"/>
                </a:lnTo>
                <a:lnTo>
                  <a:pt x="1088" y="394"/>
                </a:lnTo>
                <a:lnTo>
                  <a:pt x="1091" y="390"/>
                </a:lnTo>
                <a:lnTo>
                  <a:pt x="1094" y="386"/>
                </a:lnTo>
                <a:lnTo>
                  <a:pt x="1096" y="382"/>
                </a:lnTo>
                <a:lnTo>
                  <a:pt x="1100" y="374"/>
                </a:lnTo>
                <a:lnTo>
                  <a:pt x="1103" y="365"/>
                </a:lnTo>
                <a:lnTo>
                  <a:pt x="1104" y="357"/>
                </a:lnTo>
                <a:lnTo>
                  <a:pt x="1105" y="349"/>
                </a:lnTo>
                <a:lnTo>
                  <a:pt x="1104" y="341"/>
                </a:lnTo>
                <a:lnTo>
                  <a:pt x="1103" y="334"/>
                </a:lnTo>
                <a:lnTo>
                  <a:pt x="1101" y="327"/>
                </a:lnTo>
                <a:lnTo>
                  <a:pt x="1099" y="321"/>
                </a:lnTo>
                <a:lnTo>
                  <a:pt x="1095" y="315"/>
                </a:lnTo>
                <a:lnTo>
                  <a:pt x="1092" y="310"/>
                </a:lnTo>
                <a:lnTo>
                  <a:pt x="1087" y="305"/>
                </a:lnTo>
                <a:lnTo>
                  <a:pt x="1085" y="303"/>
                </a:lnTo>
                <a:lnTo>
                  <a:pt x="1082" y="301"/>
                </a:lnTo>
                <a:lnTo>
                  <a:pt x="1070" y="293"/>
                </a:lnTo>
                <a:lnTo>
                  <a:pt x="1064" y="290"/>
                </a:lnTo>
                <a:lnTo>
                  <a:pt x="1057" y="287"/>
                </a:lnTo>
                <a:lnTo>
                  <a:pt x="1043" y="281"/>
                </a:lnTo>
                <a:lnTo>
                  <a:pt x="1027" y="276"/>
                </a:lnTo>
                <a:lnTo>
                  <a:pt x="995" y="267"/>
                </a:lnTo>
                <a:lnTo>
                  <a:pt x="962" y="257"/>
                </a:lnTo>
                <a:lnTo>
                  <a:pt x="954" y="254"/>
                </a:lnTo>
                <a:lnTo>
                  <a:pt x="946" y="251"/>
                </a:lnTo>
                <a:lnTo>
                  <a:pt x="939" y="248"/>
                </a:lnTo>
                <a:lnTo>
                  <a:pt x="932" y="244"/>
                </a:lnTo>
                <a:lnTo>
                  <a:pt x="925" y="240"/>
                </a:lnTo>
                <a:lnTo>
                  <a:pt x="919" y="236"/>
                </a:lnTo>
                <a:lnTo>
                  <a:pt x="907" y="226"/>
                </a:lnTo>
                <a:lnTo>
                  <a:pt x="902" y="221"/>
                </a:lnTo>
                <a:lnTo>
                  <a:pt x="897" y="215"/>
                </a:lnTo>
                <a:lnTo>
                  <a:pt x="894" y="209"/>
                </a:lnTo>
                <a:lnTo>
                  <a:pt x="890" y="202"/>
                </a:lnTo>
                <a:lnTo>
                  <a:pt x="888" y="195"/>
                </a:lnTo>
                <a:lnTo>
                  <a:pt x="886" y="186"/>
                </a:lnTo>
                <a:lnTo>
                  <a:pt x="885" y="178"/>
                </a:lnTo>
                <a:lnTo>
                  <a:pt x="884" y="169"/>
                </a:lnTo>
                <a:lnTo>
                  <a:pt x="885" y="158"/>
                </a:lnTo>
                <a:lnTo>
                  <a:pt x="887" y="147"/>
                </a:lnTo>
                <a:lnTo>
                  <a:pt x="888" y="142"/>
                </a:lnTo>
                <a:lnTo>
                  <a:pt x="890" y="137"/>
                </a:lnTo>
                <a:lnTo>
                  <a:pt x="894" y="128"/>
                </a:lnTo>
                <a:lnTo>
                  <a:pt x="899" y="119"/>
                </a:lnTo>
                <a:lnTo>
                  <a:pt x="901" y="115"/>
                </a:lnTo>
                <a:lnTo>
                  <a:pt x="905" y="111"/>
                </a:lnTo>
                <a:lnTo>
                  <a:pt x="912" y="104"/>
                </a:lnTo>
                <a:lnTo>
                  <a:pt x="920" y="97"/>
                </a:lnTo>
                <a:lnTo>
                  <a:pt x="924" y="94"/>
                </a:lnTo>
                <a:lnTo>
                  <a:pt x="928" y="91"/>
                </a:lnTo>
                <a:lnTo>
                  <a:pt x="938" y="86"/>
                </a:lnTo>
                <a:lnTo>
                  <a:pt x="948" y="81"/>
                </a:lnTo>
                <a:lnTo>
                  <a:pt x="958" y="77"/>
                </a:lnTo>
                <a:lnTo>
                  <a:pt x="969" y="75"/>
                </a:lnTo>
                <a:lnTo>
                  <a:pt x="980" y="72"/>
                </a:lnTo>
                <a:lnTo>
                  <a:pt x="992" y="71"/>
                </a:lnTo>
                <a:lnTo>
                  <a:pt x="1005" y="71"/>
                </a:lnTo>
                <a:lnTo>
                  <a:pt x="1015" y="71"/>
                </a:lnTo>
                <a:lnTo>
                  <a:pt x="1025" y="71"/>
                </a:lnTo>
                <a:lnTo>
                  <a:pt x="1034" y="73"/>
                </a:lnTo>
                <a:lnTo>
                  <a:pt x="1044" y="74"/>
                </a:lnTo>
                <a:lnTo>
                  <a:pt x="1052" y="76"/>
                </a:lnTo>
                <a:lnTo>
                  <a:pt x="1061" y="78"/>
                </a:lnTo>
                <a:lnTo>
                  <a:pt x="1069" y="81"/>
                </a:lnTo>
                <a:lnTo>
                  <a:pt x="1077" y="84"/>
                </a:lnTo>
                <a:lnTo>
                  <a:pt x="1085" y="88"/>
                </a:lnTo>
                <a:lnTo>
                  <a:pt x="1092" y="92"/>
                </a:lnTo>
                <a:lnTo>
                  <a:pt x="1106" y="101"/>
                </a:lnTo>
                <a:lnTo>
                  <a:pt x="1112" y="105"/>
                </a:lnTo>
                <a:lnTo>
                  <a:pt x="1118" y="111"/>
                </a:lnTo>
                <a:lnTo>
                  <a:pt x="1124" y="116"/>
                </a:lnTo>
                <a:lnTo>
                  <a:pt x="1130" y="122"/>
                </a:lnTo>
                <a:lnTo>
                  <a:pt x="1109" y="146"/>
                </a:lnTo>
                <a:lnTo>
                  <a:pt x="1104" y="140"/>
                </a:lnTo>
                <a:lnTo>
                  <a:pt x="1098" y="134"/>
                </a:lnTo>
                <a:lnTo>
                  <a:pt x="1093" y="129"/>
                </a:lnTo>
                <a:lnTo>
                  <a:pt x="1087" y="125"/>
                </a:lnTo>
                <a:lnTo>
                  <a:pt x="1081" y="121"/>
                </a:lnTo>
                <a:lnTo>
                  <a:pt x="1075" y="117"/>
                </a:lnTo>
                <a:lnTo>
                  <a:pt x="1068" y="113"/>
                </a:lnTo>
                <a:lnTo>
                  <a:pt x="1062" y="110"/>
                </a:lnTo>
                <a:lnTo>
                  <a:pt x="1055" y="108"/>
                </a:lnTo>
                <a:lnTo>
                  <a:pt x="1048" y="105"/>
                </a:lnTo>
                <a:lnTo>
                  <a:pt x="1041" y="103"/>
                </a:lnTo>
                <a:lnTo>
                  <a:pt x="1034" y="102"/>
                </a:lnTo>
                <a:lnTo>
                  <a:pt x="1026" y="101"/>
                </a:lnTo>
                <a:lnTo>
                  <a:pt x="1019" y="100"/>
                </a:lnTo>
                <a:lnTo>
                  <a:pt x="1003" y="99"/>
                </a:lnTo>
                <a:lnTo>
                  <a:pt x="994" y="100"/>
                </a:lnTo>
                <a:lnTo>
                  <a:pt x="985" y="101"/>
                </a:lnTo>
                <a:lnTo>
                  <a:pt x="977" y="102"/>
                </a:lnTo>
                <a:lnTo>
                  <a:pt x="969" y="104"/>
                </a:lnTo>
                <a:lnTo>
                  <a:pt x="962" y="107"/>
                </a:lnTo>
                <a:lnTo>
                  <a:pt x="955" y="110"/>
                </a:lnTo>
                <a:lnTo>
                  <a:pt x="948" y="114"/>
                </a:lnTo>
                <a:lnTo>
                  <a:pt x="942" y="118"/>
                </a:lnTo>
                <a:lnTo>
                  <a:pt x="936" y="123"/>
                </a:lnTo>
                <a:lnTo>
                  <a:pt x="931" y="128"/>
                </a:lnTo>
                <a:lnTo>
                  <a:pt x="927" y="134"/>
                </a:lnTo>
                <a:lnTo>
                  <a:pt x="924" y="140"/>
                </a:lnTo>
                <a:lnTo>
                  <a:pt x="921" y="146"/>
                </a:lnTo>
                <a:lnTo>
                  <a:pt x="919" y="153"/>
                </a:lnTo>
                <a:lnTo>
                  <a:pt x="918" y="160"/>
                </a:lnTo>
                <a:lnTo>
                  <a:pt x="917" y="167"/>
                </a:lnTo>
                <a:lnTo>
                  <a:pt x="918" y="174"/>
                </a:lnTo>
                <a:lnTo>
                  <a:pt x="919" y="180"/>
                </a:lnTo>
                <a:lnTo>
                  <a:pt x="921" y="186"/>
                </a:lnTo>
                <a:lnTo>
                  <a:pt x="923" y="191"/>
                </a:lnTo>
                <a:lnTo>
                  <a:pt x="927" y="196"/>
                </a:lnTo>
                <a:lnTo>
                  <a:pt x="930" y="201"/>
                </a:lnTo>
                <a:lnTo>
                  <a:pt x="935" y="205"/>
                </a:lnTo>
                <a:lnTo>
                  <a:pt x="940" y="209"/>
                </a:lnTo>
                <a:lnTo>
                  <a:pt x="952" y="215"/>
                </a:lnTo>
                <a:lnTo>
                  <a:pt x="958" y="219"/>
                </a:lnTo>
                <a:lnTo>
                  <a:pt x="965" y="222"/>
                </a:lnTo>
                <a:lnTo>
                  <a:pt x="972" y="224"/>
                </a:lnTo>
                <a:lnTo>
                  <a:pt x="979" y="227"/>
                </a:lnTo>
                <a:lnTo>
                  <a:pt x="995" y="232"/>
                </a:lnTo>
                <a:lnTo>
                  <a:pt x="1028" y="241"/>
                </a:lnTo>
                <a:lnTo>
                  <a:pt x="1060" y="251"/>
                </a:lnTo>
                <a:lnTo>
                  <a:pt x="1068" y="254"/>
                </a:lnTo>
                <a:lnTo>
                  <a:pt x="1076" y="258"/>
                </a:lnTo>
                <a:lnTo>
                  <a:pt x="1080" y="259"/>
                </a:lnTo>
                <a:lnTo>
                  <a:pt x="1083" y="261"/>
                </a:lnTo>
                <a:lnTo>
                  <a:pt x="1090" y="265"/>
                </a:lnTo>
                <a:lnTo>
                  <a:pt x="1097" y="270"/>
                </a:lnTo>
                <a:lnTo>
                  <a:pt x="1103" y="274"/>
                </a:lnTo>
                <a:lnTo>
                  <a:pt x="1109" y="279"/>
                </a:lnTo>
                <a:lnTo>
                  <a:pt x="1115" y="284"/>
                </a:lnTo>
                <a:lnTo>
                  <a:pt x="1120" y="290"/>
                </a:lnTo>
                <a:lnTo>
                  <a:pt x="1125" y="297"/>
                </a:lnTo>
                <a:lnTo>
                  <a:pt x="1127" y="300"/>
                </a:lnTo>
                <a:lnTo>
                  <a:pt x="1128" y="303"/>
                </a:lnTo>
                <a:lnTo>
                  <a:pt x="1132" y="311"/>
                </a:lnTo>
                <a:lnTo>
                  <a:pt x="1134" y="319"/>
                </a:lnTo>
                <a:lnTo>
                  <a:pt x="1136" y="328"/>
                </a:lnTo>
                <a:lnTo>
                  <a:pt x="1137" y="337"/>
                </a:lnTo>
                <a:lnTo>
                  <a:pt x="1138" y="347"/>
                </a:lnTo>
                <a:lnTo>
                  <a:pt x="1137" y="359"/>
                </a:lnTo>
                <a:lnTo>
                  <a:pt x="1135" y="371"/>
                </a:lnTo>
                <a:lnTo>
                  <a:pt x="1131" y="383"/>
                </a:lnTo>
                <a:lnTo>
                  <a:pt x="1126" y="395"/>
                </a:lnTo>
                <a:lnTo>
                  <a:pt x="1123" y="401"/>
                </a:lnTo>
                <a:lnTo>
                  <a:pt x="1119" y="406"/>
                </a:lnTo>
                <a:lnTo>
                  <a:pt x="1115" y="412"/>
                </a:lnTo>
                <a:lnTo>
                  <a:pt x="1110" y="417"/>
                </a:lnTo>
                <a:lnTo>
                  <a:pt x="1104" y="422"/>
                </a:lnTo>
                <a:lnTo>
                  <a:pt x="1099" y="426"/>
                </a:lnTo>
                <a:lnTo>
                  <a:pt x="1092" y="430"/>
                </a:lnTo>
                <a:lnTo>
                  <a:pt x="1085" y="435"/>
                </a:lnTo>
                <a:lnTo>
                  <a:pt x="1078" y="438"/>
                </a:lnTo>
                <a:lnTo>
                  <a:pt x="1070" y="442"/>
                </a:lnTo>
                <a:lnTo>
                  <a:pt x="1061" y="444"/>
                </a:lnTo>
                <a:lnTo>
                  <a:pt x="1051" y="447"/>
                </a:lnTo>
                <a:lnTo>
                  <a:pt x="1041" y="448"/>
                </a:lnTo>
                <a:lnTo>
                  <a:pt x="1031" y="450"/>
                </a:lnTo>
                <a:lnTo>
                  <a:pt x="1019" y="451"/>
                </a:lnTo>
                <a:lnTo>
                  <a:pt x="1007" y="451"/>
                </a:lnTo>
                <a:close/>
                <a:moveTo>
                  <a:pt x="1255" y="444"/>
                </a:moveTo>
                <a:lnTo>
                  <a:pt x="1224" y="444"/>
                </a:lnTo>
                <a:lnTo>
                  <a:pt x="1224" y="77"/>
                </a:lnTo>
                <a:lnTo>
                  <a:pt x="1255" y="77"/>
                </a:lnTo>
                <a:lnTo>
                  <a:pt x="1255" y="444"/>
                </a:lnTo>
                <a:close/>
                <a:moveTo>
                  <a:pt x="1661" y="444"/>
                </a:moveTo>
                <a:lnTo>
                  <a:pt x="1624" y="444"/>
                </a:lnTo>
                <a:lnTo>
                  <a:pt x="1588" y="354"/>
                </a:lnTo>
                <a:lnTo>
                  <a:pt x="1393" y="354"/>
                </a:lnTo>
                <a:lnTo>
                  <a:pt x="1357" y="444"/>
                </a:lnTo>
                <a:lnTo>
                  <a:pt x="1320" y="444"/>
                </a:lnTo>
                <a:lnTo>
                  <a:pt x="1471" y="77"/>
                </a:lnTo>
                <a:lnTo>
                  <a:pt x="1510" y="77"/>
                </a:lnTo>
                <a:lnTo>
                  <a:pt x="1661" y="444"/>
                </a:lnTo>
                <a:close/>
                <a:moveTo>
                  <a:pt x="1577" y="325"/>
                </a:moveTo>
                <a:lnTo>
                  <a:pt x="1491" y="110"/>
                </a:lnTo>
                <a:lnTo>
                  <a:pt x="1404" y="325"/>
                </a:lnTo>
                <a:lnTo>
                  <a:pt x="1577" y="325"/>
                </a:lnTo>
                <a:close/>
                <a:moveTo>
                  <a:pt x="1991" y="444"/>
                </a:moveTo>
                <a:lnTo>
                  <a:pt x="1950" y="444"/>
                </a:lnTo>
                <a:lnTo>
                  <a:pt x="1798" y="271"/>
                </a:lnTo>
                <a:lnTo>
                  <a:pt x="1757" y="316"/>
                </a:lnTo>
                <a:lnTo>
                  <a:pt x="1757" y="444"/>
                </a:lnTo>
                <a:lnTo>
                  <a:pt x="1725" y="444"/>
                </a:lnTo>
                <a:lnTo>
                  <a:pt x="1725" y="77"/>
                </a:lnTo>
                <a:lnTo>
                  <a:pt x="1757" y="77"/>
                </a:lnTo>
                <a:lnTo>
                  <a:pt x="1757" y="278"/>
                </a:lnTo>
                <a:lnTo>
                  <a:pt x="1935" y="77"/>
                </a:lnTo>
                <a:lnTo>
                  <a:pt x="1976" y="77"/>
                </a:lnTo>
                <a:lnTo>
                  <a:pt x="1819" y="252"/>
                </a:lnTo>
                <a:lnTo>
                  <a:pt x="1991" y="444"/>
                </a:lnTo>
                <a:close/>
                <a:moveTo>
                  <a:pt x="2325" y="444"/>
                </a:moveTo>
                <a:lnTo>
                  <a:pt x="2284" y="444"/>
                </a:lnTo>
                <a:lnTo>
                  <a:pt x="2133" y="271"/>
                </a:lnTo>
                <a:lnTo>
                  <a:pt x="2092" y="316"/>
                </a:lnTo>
                <a:lnTo>
                  <a:pt x="2092" y="444"/>
                </a:lnTo>
                <a:lnTo>
                  <a:pt x="2061" y="444"/>
                </a:lnTo>
                <a:lnTo>
                  <a:pt x="2061" y="77"/>
                </a:lnTo>
                <a:lnTo>
                  <a:pt x="2092" y="77"/>
                </a:lnTo>
                <a:lnTo>
                  <a:pt x="2092" y="278"/>
                </a:lnTo>
                <a:lnTo>
                  <a:pt x="2270" y="77"/>
                </a:lnTo>
                <a:lnTo>
                  <a:pt x="2310" y="77"/>
                </a:lnTo>
                <a:lnTo>
                  <a:pt x="2153" y="252"/>
                </a:lnTo>
                <a:lnTo>
                  <a:pt x="2325" y="444"/>
                </a:lnTo>
                <a:close/>
                <a:moveTo>
                  <a:pt x="2698" y="444"/>
                </a:moveTo>
                <a:lnTo>
                  <a:pt x="2661" y="444"/>
                </a:lnTo>
                <a:lnTo>
                  <a:pt x="2625" y="354"/>
                </a:lnTo>
                <a:lnTo>
                  <a:pt x="2430" y="354"/>
                </a:lnTo>
                <a:lnTo>
                  <a:pt x="2394" y="444"/>
                </a:lnTo>
                <a:lnTo>
                  <a:pt x="2357" y="444"/>
                </a:lnTo>
                <a:lnTo>
                  <a:pt x="2508" y="77"/>
                </a:lnTo>
                <a:lnTo>
                  <a:pt x="2547" y="77"/>
                </a:lnTo>
                <a:lnTo>
                  <a:pt x="2698" y="444"/>
                </a:lnTo>
                <a:close/>
                <a:moveTo>
                  <a:pt x="2614" y="325"/>
                </a:moveTo>
                <a:lnTo>
                  <a:pt x="2528" y="110"/>
                </a:lnTo>
                <a:lnTo>
                  <a:pt x="2441" y="325"/>
                </a:lnTo>
                <a:lnTo>
                  <a:pt x="2614" y="325"/>
                </a:lnTo>
                <a:close/>
                <a:moveTo>
                  <a:pt x="3065" y="444"/>
                </a:moveTo>
                <a:lnTo>
                  <a:pt x="3029" y="444"/>
                </a:lnTo>
                <a:lnTo>
                  <a:pt x="2992" y="354"/>
                </a:lnTo>
                <a:lnTo>
                  <a:pt x="2798" y="354"/>
                </a:lnTo>
                <a:lnTo>
                  <a:pt x="2761" y="444"/>
                </a:lnTo>
                <a:lnTo>
                  <a:pt x="2725" y="444"/>
                </a:lnTo>
                <a:lnTo>
                  <a:pt x="2875" y="77"/>
                </a:lnTo>
                <a:lnTo>
                  <a:pt x="2915" y="77"/>
                </a:lnTo>
                <a:lnTo>
                  <a:pt x="3065" y="444"/>
                </a:lnTo>
                <a:close/>
                <a:moveTo>
                  <a:pt x="2982" y="325"/>
                </a:moveTo>
                <a:lnTo>
                  <a:pt x="2895" y="110"/>
                </a:lnTo>
                <a:lnTo>
                  <a:pt x="2808" y="325"/>
                </a:lnTo>
                <a:lnTo>
                  <a:pt x="2982" y="325"/>
                </a:lnTo>
                <a:close/>
                <a:moveTo>
                  <a:pt x="3474" y="444"/>
                </a:moveTo>
                <a:lnTo>
                  <a:pt x="3442" y="444"/>
                </a:lnTo>
                <a:lnTo>
                  <a:pt x="3442" y="116"/>
                </a:lnTo>
                <a:lnTo>
                  <a:pt x="3308" y="444"/>
                </a:lnTo>
                <a:lnTo>
                  <a:pt x="3296" y="444"/>
                </a:lnTo>
                <a:lnTo>
                  <a:pt x="3161" y="116"/>
                </a:lnTo>
                <a:lnTo>
                  <a:pt x="3161" y="444"/>
                </a:lnTo>
                <a:lnTo>
                  <a:pt x="3130" y="444"/>
                </a:lnTo>
                <a:lnTo>
                  <a:pt x="3130" y="77"/>
                </a:lnTo>
                <a:lnTo>
                  <a:pt x="3177" y="77"/>
                </a:lnTo>
                <a:lnTo>
                  <a:pt x="3302" y="383"/>
                </a:lnTo>
                <a:lnTo>
                  <a:pt x="3427" y="77"/>
                </a:lnTo>
                <a:lnTo>
                  <a:pt x="3474" y="77"/>
                </a:lnTo>
                <a:lnTo>
                  <a:pt x="3474" y="444"/>
                </a:lnTo>
                <a:close/>
                <a:moveTo>
                  <a:pt x="3920" y="444"/>
                </a:moveTo>
                <a:lnTo>
                  <a:pt x="3888" y="444"/>
                </a:lnTo>
                <a:lnTo>
                  <a:pt x="3888" y="116"/>
                </a:lnTo>
                <a:lnTo>
                  <a:pt x="3754" y="444"/>
                </a:lnTo>
                <a:lnTo>
                  <a:pt x="3742" y="444"/>
                </a:lnTo>
                <a:lnTo>
                  <a:pt x="3608" y="116"/>
                </a:lnTo>
                <a:lnTo>
                  <a:pt x="3608" y="444"/>
                </a:lnTo>
                <a:lnTo>
                  <a:pt x="3576" y="444"/>
                </a:lnTo>
                <a:lnTo>
                  <a:pt x="3576" y="77"/>
                </a:lnTo>
                <a:lnTo>
                  <a:pt x="3623" y="77"/>
                </a:lnTo>
                <a:lnTo>
                  <a:pt x="3748" y="383"/>
                </a:lnTo>
                <a:lnTo>
                  <a:pt x="3873" y="77"/>
                </a:lnTo>
                <a:lnTo>
                  <a:pt x="3920" y="77"/>
                </a:lnTo>
                <a:lnTo>
                  <a:pt x="3920" y="444"/>
                </a:lnTo>
                <a:close/>
                <a:moveTo>
                  <a:pt x="4256" y="444"/>
                </a:moveTo>
                <a:lnTo>
                  <a:pt x="4022" y="444"/>
                </a:lnTo>
                <a:lnTo>
                  <a:pt x="4022" y="77"/>
                </a:lnTo>
                <a:lnTo>
                  <a:pt x="4256" y="77"/>
                </a:lnTo>
                <a:lnTo>
                  <a:pt x="4256" y="105"/>
                </a:lnTo>
                <a:lnTo>
                  <a:pt x="4054" y="105"/>
                </a:lnTo>
                <a:lnTo>
                  <a:pt x="4054" y="242"/>
                </a:lnTo>
                <a:lnTo>
                  <a:pt x="4252" y="242"/>
                </a:lnTo>
                <a:lnTo>
                  <a:pt x="4252" y="270"/>
                </a:lnTo>
                <a:lnTo>
                  <a:pt x="4054" y="270"/>
                </a:lnTo>
                <a:lnTo>
                  <a:pt x="4054" y="416"/>
                </a:lnTo>
                <a:lnTo>
                  <a:pt x="4256" y="416"/>
                </a:lnTo>
                <a:lnTo>
                  <a:pt x="4256" y="444"/>
                </a:lnTo>
                <a:close/>
                <a:moveTo>
                  <a:pt x="4625" y="444"/>
                </a:moveTo>
                <a:lnTo>
                  <a:pt x="4593" y="444"/>
                </a:lnTo>
                <a:lnTo>
                  <a:pt x="4593" y="105"/>
                </a:lnTo>
                <a:lnTo>
                  <a:pt x="4473" y="105"/>
                </a:lnTo>
                <a:lnTo>
                  <a:pt x="4473" y="77"/>
                </a:lnTo>
                <a:lnTo>
                  <a:pt x="4745" y="77"/>
                </a:lnTo>
                <a:lnTo>
                  <a:pt x="4745" y="105"/>
                </a:lnTo>
                <a:lnTo>
                  <a:pt x="4625" y="105"/>
                </a:lnTo>
                <a:lnTo>
                  <a:pt x="4625" y="444"/>
                </a:lnTo>
                <a:close/>
                <a:moveTo>
                  <a:pt x="5055" y="444"/>
                </a:moveTo>
                <a:lnTo>
                  <a:pt x="4821" y="444"/>
                </a:lnTo>
                <a:lnTo>
                  <a:pt x="4821" y="77"/>
                </a:lnTo>
                <a:lnTo>
                  <a:pt x="5055" y="77"/>
                </a:lnTo>
                <a:lnTo>
                  <a:pt x="5055" y="105"/>
                </a:lnTo>
                <a:lnTo>
                  <a:pt x="4853" y="105"/>
                </a:lnTo>
                <a:lnTo>
                  <a:pt x="4853" y="242"/>
                </a:lnTo>
                <a:lnTo>
                  <a:pt x="5051" y="242"/>
                </a:lnTo>
                <a:lnTo>
                  <a:pt x="5051" y="270"/>
                </a:lnTo>
                <a:lnTo>
                  <a:pt x="4853" y="270"/>
                </a:lnTo>
                <a:lnTo>
                  <a:pt x="4853" y="416"/>
                </a:lnTo>
                <a:lnTo>
                  <a:pt x="5055" y="416"/>
                </a:lnTo>
                <a:lnTo>
                  <a:pt x="5055" y="444"/>
                </a:lnTo>
                <a:close/>
                <a:moveTo>
                  <a:pt x="5408" y="444"/>
                </a:moveTo>
                <a:lnTo>
                  <a:pt x="5368" y="444"/>
                </a:lnTo>
                <a:lnTo>
                  <a:pt x="5216" y="271"/>
                </a:lnTo>
                <a:lnTo>
                  <a:pt x="5175" y="316"/>
                </a:lnTo>
                <a:lnTo>
                  <a:pt x="5175" y="444"/>
                </a:lnTo>
                <a:lnTo>
                  <a:pt x="5144" y="444"/>
                </a:lnTo>
                <a:lnTo>
                  <a:pt x="5144" y="77"/>
                </a:lnTo>
                <a:lnTo>
                  <a:pt x="5175" y="77"/>
                </a:lnTo>
                <a:lnTo>
                  <a:pt x="5175" y="278"/>
                </a:lnTo>
                <a:lnTo>
                  <a:pt x="5353" y="77"/>
                </a:lnTo>
                <a:lnTo>
                  <a:pt x="5393" y="77"/>
                </a:lnTo>
                <a:lnTo>
                  <a:pt x="5236" y="252"/>
                </a:lnTo>
                <a:lnTo>
                  <a:pt x="5408" y="444"/>
                </a:lnTo>
                <a:close/>
                <a:moveTo>
                  <a:pt x="5712" y="444"/>
                </a:moveTo>
                <a:lnTo>
                  <a:pt x="5479" y="444"/>
                </a:lnTo>
                <a:lnTo>
                  <a:pt x="5479" y="77"/>
                </a:lnTo>
                <a:lnTo>
                  <a:pt x="5712" y="77"/>
                </a:lnTo>
                <a:lnTo>
                  <a:pt x="5712" y="105"/>
                </a:lnTo>
                <a:lnTo>
                  <a:pt x="5510" y="105"/>
                </a:lnTo>
                <a:lnTo>
                  <a:pt x="5510" y="242"/>
                </a:lnTo>
                <a:lnTo>
                  <a:pt x="5708" y="242"/>
                </a:lnTo>
                <a:lnTo>
                  <a:pt x="5708" y="270"/>
                </a:lnTo>
                <a:lnTo>
                  <a:pt x="5510" y="270"/>
                </a:lnTo>
                <a:lnTo>
                  <a:pt x="5510" y="416"/>
                </a:lnTo>
                <a:lnTo>
                  <a:pt x="5712" y="416"/>
                </a:lnTo>
                <a:lnTo>
                  <a:pt x="5712" y="444"/>
                </a:lnTo>
                <a:close/>
                <a:moveTo>
                  <a:pt x="5953" y="444"/>
                </a:moveTo>
                <a:lnTo>
                  <a:pt x="5914" y="444"/>
                </a:lnTo>
                <a:lnTo>
                  <a:pt x="5764" y="77"/>
                </a:lnTo>
                <a:lnTo>
                  <a:pt x="5800" y="77"/>
                </a:lnTo>
                <a:lnTo>
                  <a:pt x="5934" y="409"/>
                </a:lnTo>
                <a:lnTo>
                  <a:pt x="6068" y="77"/>
                </a:lnTo>
                <a:lnTo>
                  <a:pt x="6104" y="77"/>
                </a:lnTo>
                <a:lnTo>
                  <a:pt x="5953" y="444"/>
                </a:lnTo>
                <a:close/>
                <a:moveTo>
                  <a:pt x="6347" y="20"/>
                </a:moveTo>
                <a:lnTo>
                  <a:pt x="6346" y="24"/>
                </a:lnTo>
                <a:lnTo>
                  <a:pt x="6345" y="28"/>
                </a:lnTo>
                <a:lnTo>
                  <a:pt x="6343" y="32"/>
                </a:lnTo>
                <a:lnTo>
                  <a:pt x="6341" y="35"/>
                </a:lnTo>
                <a:lnTo>
                  <a:pt x="6338" y="37"/>
                </a:lnTo>
                <a:lnTo>
                  <a:pt x="6334" y="39"/>
                </a:lnTo>
                <a:lnTo>
                  <a:pt x="6331" y="40"/>
                </a:lnTo>
                <a:lnTo>
                  <a:pt x="6327" y="41"/>
                </a:lnTo>
                <a:lnTo>
                  <a:pt x="6322" y="40"/>
                </a:lnTo>
                <a:lnTo>
                  <a:pt x="6319" y="39"/>
                </a:lnTo>
                <a:lnTo>
                  <a:pt x="6315" y="37"/>
                </a:lnTo>
                <a:lnTo>
                  <a:pt x="6312" y="35"/>
                </a:lnTo>
                <a:lnTo>
                  <a:pt x="6310" y="32"/>
                </a:lnTo>
                <a:lnTo>
                  <a:pt x="6308" y="28"/>
                </a:lnTo>
                <a:lnTo>
                  <a:pt x="6307" y="24"/>
                </a:lnTo>
                <a:lnTo>
                  <a:pt x="6306" y="20"/>
                </a:lnTo>
                <a:lnTo>
                  <a:pt x="6307" y="16"/>
                </a:lnTo>
                <a:lnTo>
                  <a:pt x="6308" y="13"/>
                </a:lnTo>
                <a:lnTo>
                  <a:pt x="6310" y="9"/>
                </a:lnTo>
                <a:lnTo>
                  <a:pt x="6312" y="6"/>
                </a:lnTo>
                <a:lnTo>
                  <a:pt x="6315" y="3"/>
                </a:lnTo>
                <a:lnTo>
                  <a:pt x="6319" y="2"/>
                </a:lnTo>
                <a:lnTo>
                  <a:pt x="6322" y="0"/>
                </a:lnTo>
                <a:lnTo>
                  <a:pt x="6327" y="0"/>
                </a:lnTo>
                <a:lnTo>
                  <a:pt x="6331" y="0"/>
                </a:lnTo>
                <a:lnTo>
                  <a:pt x="6334" y="2"/>
                </a:lnTo>
                <a:lnTo>
                  <a:pt x="6338" y="3"/>
                </a:lnTo>
                <a:lnTo>
                  <a:pt x="6341" y="6"/>
                </a:lnTo>
                <a:lnTo>
                  <a:pt x="6343" y="9"/>
                </a:lnTo>
                <a:lnTo>
                  <a:pt x="6345" y="13"/>
                </a:lnTo>
                <a:lnTo>
                  <a:pt x="6346" y="16"/>
                </a:lnTo>
                <a:lnTo>
                  <a:pt x="6347" y="20"/>
                </a:lnTo>
                <a:close/>
                <a:moveTo>
                  <a:pt x="6234" y="20"/>
                </a:moveTo>
                <a:lnTo>
                  <a:pt x="6234" y="24"/>
                </a:lnTo>
                <a:lnTo>
                  <a:pt x="6233" y="28"/>
                </a:lnTo>
                <a:lnTo>
                  <a:pt x="6231" y="32"/>
                </a:lnTo>
                <a:lnTo>
                  <a:pt x="6228" y="35"/>
                </a:lnTo>
                <a:lnTo>
                  <a:pt x="6225" y="37"/>
                </a:lnTo>
                <a:lnTo>
                  <a:pt x="6222" y="39"/>
                </a:lnTo>
                <a:lnTo>
                  <a:pt x="6218" y="40"/>
                </a:lnTo>
                <a:lnTo>
                  <a:pt x="6214" y="41"/>
                </a:lnTo>
                <a:lnTo>
                  <a:pt x="6210" y="40"/>
                </a:lnTo>
                <a:lnTo>
                  <a:pt x="6206" y="39"/>
                </a:lnTo>
                <a:lnTo>
                  <a:pt x="6203" y="37"/>
                </a:lnTo>
                <a:lnTo>
                  <a:pt x="6200" y="35"/>
                </a:lnTo>
                <a:lnTo>
                  <a:pt x="6197" y="32"/>
                </a:lnTo>
                <a:lnTo>
                  <a:pt x="6195" y="28"/>
                </a:lnTo>
                <a:lnTo>
                  <a:pt x="6194" y="24"/>
                </a:lnTo>
                <a:lnTo>
                  <a:pt x="6194" y="20"/>
                </a:lnTo>
                <a:lnTo>
                  <a:pt x="6194" y="16"/>
                </a:lnTo>
                <a:lnTo>
                  <a:pt x="6195" y="13"/>
                </a:lnTo>
                <a:lnTo>
                  <a:pt x="6197" y="9"/>
                </a:lnTo>
                <a:lnTo>
                  <a:pt x="6200" y="6"/>
                </a:lnTo>
                <a:lnTo>
                  <a:pt x="6203" y="3"/>
                </a:lnTo>
                <a:lnTo>
                  <a:pt x="6206" y="2"/>
                </a:lnTo>
                <a:lnTo>
                  <a:pt x="6210" y="0"/>
                </a:lnTo>
                <a:lnTo>
                  <a:pt x="6214" y="0"/>
                </a:lnTo>
                <a:lnTo>
                  <a:pt x="6218" y="0"/>
                </a:lnTo>
                <a:lnTo>
                  <a:pt x="6222" y="2"/>
                </a:lnTo>
                <a:lnTo>
                  <a:pt x="6225" y="3"/>
                </a:lnTo>
                <a:lnTo>
                  <a:pt x="6228" y="6"/>
                </a:lnTo>
                <a:lnTo>
                  <a:pt x="6231" y="9"/>
                </a:lnTo>
                <a:lnTo>
                  <a:pt x="6233" y="13"/>
                </a:lnTo>
                <a:lnTo>
                  <a:pt x="6234" y="16"/>
                </a:lnTo>
                <a:lnTo>
                  <a:pt x="6234" y="20"/>
                </a:lnTo>
                <a:close/>
                <a:moveTo>
                  <a:pt x="6440" y="444"/>
                </a:moveTo>
                <a:lnTo>
                  <a:pt x="6404" y="444"/>
                </a:lnTo>
                <a:lnTo>
                  <a:pt x="6367" y="354"/>
                </a:lnTo>
                <a:lnTo>
                  <a:pt x="6173" y="354"/>
                </a:lnTo>
                <a:lnTo>
                  <a:pt x="6136" y="444"/>
                </a:lnTo>
                <a:lnTo>
                  <a:pt x="6100" y="444"/>
                </a:lnTo>
                <a:lnTo>
                  <a:pt x="6250" y="77"/>
                </a:lnTo>
                <a:lnTo>
                  <a:pt x="6290" y="77"/>
                </a:lnTo>
                <a:lnTo>
                  <a:pt x="6440" y="444"/>
                </a:lnTo>
                <a:close/>
                <a:moveTo>
                  <a:pt x="6357" y="325"/>
                </a:moveTo>
                <a:lnTo>
                  <a:pt x="6270" y="110"/>
                </a:lnTo>
                <a:lnTo>
                  <a:pt x="6183" y="325"/>
                </a:lnTo>
                <a:lnTo>
                  <a:pt x="6357" y="3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2" name="Graphic 11">
            <a:extLst>
              <a:ext uri="{FF2B5EF4-FFF2-40B4-BE49-F238E27FC236}">
                <a16:creationId xmlns:a16="http://schemas.microsoft.com/office/drawing/2014/main" id="{796A3B69-7FD6-4FC1-BA53-FB85482398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342140407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ogan Fire">
    <p:bg>
      <p:bgPr>
        <a:solidFill>
          <a:schemeClr val="accent4"/>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E3906D05-AEEA-468A-BCA9-CCEA53C0A703}"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6" name="Freeform 6"/>
          <p:cNvSpPr>
            <a:spLocks noChangeAspect="1" noEditPoints="1"/>
          </p:cNvSpPr>
          <p:nvPr userDrawn="1"/>
        </p:nvSpPr>
        <p:spPr bwMode="auto">
          <a:xfrm>
            <a:off x="1910586" y="2565024"/>
            <a:ext cx="8370828" cy="1080000"/>
          </a:xfrm>
          <a:custGeom>
            <a:avLst/>
            <a:gdLst>
              <a:gd name="T0" fmla="*/ 4256 w 5100"/>
              <a:gd name="T1" fmla="*/ 656 h 658"/>
              <a:gd name="T2" fmla="*/ 113 w 5100"/>
              <a:gd name="T3" fmla="*/ 0 h 658"/>
              <a:gd name="T4" fmla="*/ 208 w 5100"/>
              <a:gd name="T5" fmla="*/ 188 h 658"/>
              <a:gd name="T6" fmla="*/ 13 w 5100"/>
              <a:gd name="T7" fmla="*/ 178 h 658"/>
              <a:gd name="T8" fmla="*/ 71 w 5100"/>
              <a:gd name="T9" fmla="*/ 28 h 658"/>
              <a:gd name="T10" fmla="*/ 102 w 5100"/>
              <a:gd name="T11" fmla="*/ 222 h 658"/>
              <a:gd name="T12" fmla="*/ 305 w 5100"/>
              <a:gd name="T13" fmla="*/ 191 h 658"/>
              <a:gd name="T14" fmla="*/ 433 w 5100"/>
              <a:gd name="T15" fmla="*/ 171 h 658"/>
              <a:gd name="T16" fmla="*/ 335 w 5100"/>
              <a:gd name="T17" fmla="*/ 236 h 658"/>
              <a:gd name="T18" fmla="*/ 637 w 5100"/>
              <a:gd name="T19" fmla="*/ 11 h 658"/>
              <a:gd name="T20" fmla="*/ 676 w 5100"/>
              <a:gd name="T21" fmla="*/ 236 h 658"/>
              <a:gd name="T22" fmla="*/ 631 w 5100"/>
              <a:gd name="T23" fmla="*/ 114 h 658"/>
              <a:gd name="T24" fmla="*/ 894 w 5100"/>
              <a:gd name="T25" fmla="*/ 5 h 658"/>
              <a:gd name="T26" fmla="*/ 919 w 5100"/>
              <a:gd name="T27" fmla="*/ 19 h 658"/>
              <a:gd name="T28" fmla="*/ 871 w 5100"/>
              <a:gd name="T29" fmla="*/ 203 h 658"/>
              <a:gd name="T30" fmla="*/ 967 w 5100"/>
              <a:gd name="T31" fmla="*/ 234 h 658"/>
              <a:gd name="T32" fmla="*/ 1049 w 5100"/>
              <a:gd name="T33" fmla="*/ 236 h 658"/>
              <a:gd name="T34" fmla="*/ 1516 w 5100"/>
              <a:gd name="T35" fmla="*/ 236 h 658"/>
              <a:gd name="T36" fmla="*/ 1975 w 5100"/>
              <a:gd name="T37" fmla="*/ 218 h 658"/>
              <a:gd name="T38" fmla="*/ 2038 w 5100"/>
              <a:gd name="T39" fmla="*/ 138 h 658"/>
              <a:gd name="T40" fmla="*/ 1953 w 5100"/>
              <a:gd name="T41" fmla="*/ 13 h 658"/>
              <a:gd name="T42" fmla="*/ 2010 w 5100"/>
              <a:gd name="T43" fmla="*/ 19 h 658"/>
              <a:gd name="T44" fmla="*/ 2029 w 5100"/>
              <a:gd name="T45" fmla="*/ 112 h 658"/>
              <a:gd name="T46" fmla="*/ 2014 w 5100"/>
              <a:gd name="T47" fmla="*/ 240 h 658"/>
              <a:gd name="T48" fmla="*/ 2530 w 5100"/>
              <a:gd name="T49" fmla="*/ 179 h 658"/>
              <a:gd name="T50" fmla="*/ 3088 w 5100"/>
              <a:gd name="T51" fmla="*/ 22 h 658"/>
              <a:gd name="T52" fmla="*/ 3596 w 5100"/>
              <a:gd name="T53" fmla="*/ 108 h 658"/>
              <a:gd name="T54" fmla="*/ 4158 w 5100"/>
              <a:gd name="T55" fmla="*/ 208 h 658"/>
              <a:gd name="T56" fmla="*/ 4396 w 5100"/>
              <a:gd name="T57" fmla="*/ 3 h 658"/>
              <a:gd name="T58" fmla="*/ 4453 w 5100"/>
              <a:gd name="T59" fmla="*/ 206 h 658"/>
              <a:gd name="T60" fmla="*/ 4264 w 5100"/>
              <a:gd name="T61" fmla="*/ 156 h 658"/>
              <a:gd name="T62" fmla="*/ 4318 w 5100"/>
              <a:gd name="T63" fmla="*/ 35 h 658"/>
              <a:gd name="T64" fmla="*/ 4382 w 5100"/>
              <a:gd name="T65" fmla="*/ 222 h 658"/>
              <a:gd name="T66" fmla="*/ 4656 w 5100"/>
              <a:gd name="T67" fmla="*/ 11 h 658"/>
              <a:gd name="T68" fmla="*/ 4695 w 5100"/>
              <a:gd name="T69" fmla="*/ 236 h 658"/>
              <a:gd name="T70" fmla="*/ 4650 w 5100"/>
              <a:gd name="T71" fmla="*/ 114 h 658"/>
              <a:gd name="T72" fmla="*/ 5037 w 5100"/>
              <a:gd name="T73" fmla="*/ 16 h 658"/>
              <a:gd name="T74" fmla="*/ 5061 w 5100"/>
              <a:gd name="T75" fmla="*/ 210 h 658"/>
              <a:gd name="T76" fmla="*/ 5005 w 5100"/>
              <a:gd name="T77" fmla="*/ 24 h 658"/>
              <a:gd name="T78" fmla="*/ 838 w 5100"/>
              <a:gd name="T79" fmla="*/ 489 h 658"/>
              <a:gd name="T80" fmla="*/ 1010 w 5100"/>
              <a:gd name="T81" fmla="*/ 463 h 658"/>
              <a:gd name="T82" fmla="*/ 852 w 5100"/>
              <a:gd name="T83" fmla="*/ 527 h 658"/>
              <a:gd name="T84" fmla="*/ 1010 w 5100"/>
              <a:gd name="T85" fmla="*/ 614 h 658"/>
              <a:gd name="T86" fmla="*/ 864 w 5100"/>
              <a:gd name="T87" fmla="*/ 625 h 658"/>
              <a:gd name="T88" fmla="*/ 1259 w 5100"/>
              <a:gd name="T89" fmla="*/ 636 h 658"/>
              <a:gd name="T90" fmla="*/ 1836 w 5100"/>
              <a:gd name="T91" fmla="*/ 654 h 658"/>
              <a:gd name="T92" fmla="*/ 2244 w 5100"/>
              <a:gd name="T93" fmla="*/ 436 h 658"/>
              <a:gd name="T94" fmla="*/ 2249 w 5100"/>
              <a:gd name="T95" fmla="*/ 490 h 658"/>
              <a:gd name="T96" fmla="*/ 2235 w 5100"/>
              <a:gd name="T97" fmla="*/ 526 h 658"/>
              <a:gd name="T98" fmla="*/ 2644 w 5100"/>
              <a:gd name="T99" fmla="*/ 422 h 658"/>
              <a:gd name="T100" fmla="*/ 3078 w 5100"/>
              <a:gd name="T101" fmla="*/ 504 h 658"/>
              <a:gd name="T102" fmla="*/ 3061 w 5100"/>
              <a:gd name="T103" fmla="*/ 538 h 658"/>
              <a:gd name="T104" fmla="*/ 3023 w 5100"/>
              <a:gd name="T105" fmla="*/ 619 h 658"/>
              <a:gd name="T106" fmla="*/ 3324 w 5100"/>
              <a:gd name="T107" fmla="*/ 637 h 658"/>
              <a:gd name="T108" fmla="*/ 3255 w 5100"/>
              <a:gd name="T109" fmla="*/ 529 h 658"/>
              <a:gd name="T110" fmla="*/ 3299 w 5100"/>
              <a:gd name="T111" fmla="*/ 418 h 658"/>
              <a:gd name="T112" fmla="*/ 3259 w 5100"/>
              <a:gd name="T113" fmla="*/ 448 h 658"/>
              <a:gd name="T114" fmla="*/ 3370 w 5100"/>
              <a:gd name="T115" fmla="*/ 555 h 658"/>
              <a:gd name="T116" fmla="*/ 3231 w 5100"/>
              <a:gd name="T117" fmla="*/ 636 h 658"/>
              <a:gd name="T118" fmla="*/ 3658 w 5100"/>
              <a:gd name="T119" fmla="*/ 654 h 658"/>
              <a:gd name="T120" fmla="*/ 4173 w 5100"/>
              <a:gd name="T121" fmla="*/ 436 h 658"/>
              <a:gd name="T122" fmla="*/ 4177 w 5100"/>
              <a:gd name="T123" fmla="*/ 490 h 658"/>
              <a:gd name="T124" fmla="*/ 4163 w 5100"/>
              <a:gd name="T125" fmla="*/ 526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0" h="658">
                <a:moveTo>
                  <a:pt x="4245" y="642"/>
                </a:moveTo>
                <a:lnTo>
                  <a:pt x="4245" y="639"/>
                </a:lnTo>
                <a:lnTo>
                  <a:pt x="4246" y="636"/>
                </a:lnTo>
                <a:lnTo>
                  <a:pt x="4248" y="634"/>
                </a:lnTo>
                <a:lnTo>
                  <a:pt x="4251" y="631"/>
                </a:lnTo>
                <a:lnTo>
                  <a:pt x="4253" y="629"/>
                </a:lnTo>
                <a:lnTo>
                  <a:pt x="4256" y="628"/>
                </a:lnTo>
                <a:lnTo>
                  <a:pt x="4258" y="627"/>
                </a:lnTo>
                <a:lnTo>
                  <a:pt x="4261" y="627"/>
                </a:lnTo>
                <a:lnTo>
                  <a:pt x="4265" y="627"/>
                </a:lnTo>
                <a:lnTo>
                  <a:pt x="4267" y="628"/>
                </a:lnTo>
                <a:lnTo>
                  <a:pt x="4270" y="629"/>
                </a:lnTo>
                <a:lnTo>
                  <a:pt x="4272" y="631"/>
                </a:lnTo>
                <a:lnTo>
                  <a:pt x="4274" y="634"/>
                </a:lnTo>
                <a:lnTo>
                  <a:pt x="4276" y="636"/>
                </a:lnTo>
                <a:lnTo>
                  <a:pt x="4276" y="639"/>
                </a:lnTo>
                <a:lnTo>
                  <a:pt x="4277" y="642"/>
                </a:lnTo>
                <a:lnTo>
                  <a:pt x="4276" y="645"/>
                </a:lnTo>
                <a:lnTo>
                  <a:pt x="4276" y="648"/>
                </a:lnTo>
                <a:lnTo>
                  <a:pt x="4274" y="650"/>
                </a:lnTo>
                <a:lnTo>
                  <a:pt x="4272" y="653"/>
                </a:lnTo>
                <a:lnTo>
                  <a:pt x="4270" y="654"/>
                </a:lnTo>
                <a:lnTo>
                  <a:pt x="4267" y="656"/>
                </a:lnTo>
                <a:lnTo>
                  <a:pt x="4265" y="657"/>
                </a:lnTo>
                <a:lnTo>
                  <a:pt x="4261" y="657"/>
                </a:lnTo>
                <a:lnTo>
                  <a:pt x="4258" y="657"/>
                </a:lnTo>
                <a:lnTo>
                  <a:pt x="4256" y="656"/>
                </a:lnTo>
                <a:lnTo>
                  <a:pt x="4253" y="654"/>
                </a:lnTo>
                <a:lnTo>
                  <a:pt x="4251" y="653"/>
                </a:lnTo>
                <a:lnTo>
                  <a:pt x="4248" y="650"/>
                </a:lnTo>
                <a:lnTo>
                  <a:pt x="4246" y="648"/>
                </a:lnTo>
                <a:lnTo>
                  <a:pt x="4245" y="645"/>
                </a:lnTo>
                <a:lnTo>
                  <a:pt x="4245" y="642"/>
                </a:lnTo>
                <a:close/>
                <a:moveTo>
                  <a:pt x="0" y="120"/>
                </a:moveTo>
                <a:lnTo>
                  <a:pt x="1" y="108"/>
                </a:lnTo>
                <a:lnTo>
                  <a:pt x="1" y="102"/>
                </a:lnTo>
                <a:lnTo>
                  <a:pt x="2" y="96"/>
                </a:lnTo>
                <a:lnTo>
                  <a:pt x="5" y="84"/>
                </a:lnTo>
                <a:lnTo>
                  <a:pt x="8" y="73"/>
                </a:lnTo>
                <a:lnTo>
                  <a:pt x="13" y="62"/>
                </a:lnTo>
                <a:lnTo>
                  <a:pt x="15" y="57"/>
                </a:lnTo>
                <a:lnTo>
                  <a:pt x="18" y="52"/>
                </a:lnTo>
                <a:lnTo>
                  <a:pt x="24" y="43"/>
                </a:lnTo>
                <a:lnTo>
                  <a:pt x="31" y="35"/>
                </a:lnTo>
                <a:lnTo>
                  <a:pt x="39" y="27"/>
                </a:lnTo>
                <a:lnTo>
                  <a:pt x="43" y="24"/>
                </a:lnTo>
                <a:lnTo>
                  <a:pt x="47" y="20"/>
                </a:lnTo>
                <a:lnTo>
                  <a:pt x="56" y="14"/>
                </a:lnTo>
                <a:lnTo>
                  <a:pt x="66" y="9"/>
                </a:lnTo>
                <a:lnTo>
                  <a:pt x="77" y="6"/>
                </a:lnTo>
                <a:lnTo>
                  <a:pt x="88" y="3"/>
                </a:lnTo>
                <a:lnTo>
                  <a:pt x="100" y="1"/>
                </a:lnTo>
                <a:lnTo>
                  <a:pt x="106" y="0"/>
                </a:lnTo>
                <a:lnTo>
                  <a:pt x="113" y="0"/>
                </a:lnTo>
                <a:lnTo>
                  <a:pt x="125" y="1"/>
                </a:lnTo>
                <a:lnTo>
                  <a:pt x="137" y="3"/>
                </a:lnTo>
                <a:lnTo>
                  <a:pt x="148" y="6"/>
                </a:lnTo>
                <a:lnTo>
                  <a:pt x="159" y="9"/>
                </a:lnTo>
                <a:lnTo>
                  <a:pt x="169" y="14"/>
                </a:lnTo>
                <a:lnTo>
                  <a:pt x="174" y="17"/>
                </a:lnTo>
                <a:lnTo>
                  <a:pt x="178" y="20"/>
                </a:lnTo>
                <a:lnTo>
                  <a:pt x="182" y="24"/>
                </a:lnTo>
                <a:lnTo>
                  <a:pt x="187" y="27"/>
                </a:lnTo>
                <a:lnTo>
                  <a:pt x="194" y="35"/>
                </a:lnTo>
                <a:lnTo>
                  <a:pt x="201" y="43"/>
                </a:lnTo>
                <a:lnTo>
                  <a:pt x="208" y="52"/>
                </a:lnTo>
                <a:lnTo>
                  <a:pt x="210" y="57"/>
                </a:lnTo>
                <a:lnTo>
                  <a:pt x="213" y="62"/>
                </a:lnTo>
                <a:lnTo>
                  <a:pt x="217" y="73"/>
                </a:lnTo>
                <a:lnTo>
                  <a:pt x="221" y="84"/>
                </a:lnTo>
                <a:lnTo>
                  <a:pt x="223" y="96"/>
                </a:lnTo>
                <a:lnTo>
                  <a:pt x="225" y="108"/>
                </a:lnTo>
                <a:lnTo>
                  <a:pt x="225" y="120"/>
                </a:lnTo>
                <a:lnTo>
                  <a:pt x="225" y="133"/>
                </a:lnTo>
                <a:lnTo>
                  <a:pt x="224" y="139"/>
                </a:lnTo>
                <a:lnTo>
                  <a:pt x="223" y="145"/>
                </a:lnTo>
                <a:lnTo>
                  <a:pt x="221" y="156"/>
                </a:lnTo>
                <a:lnTo>
                  <a:pt x="217" y="168"/>
                </a:lnTo>
                <a:lnTo>
                  <a:pt x="213" y="178"/>
                </a:lnTo>
                <a:lnTo>
                  <a:pt x="210" y="183"/>
                </a:lnTo>
                <a:lnTo>
                  <a:pt x="208" y="188"/>
                </a:lnTo>
                <a:lnTo>
                  <a:pt x="201" y="197"/>
                </a:lnTo>
                <a:lnTo>
                  <a:pt x="194" y="206"/>
                </a:lnTo>
                <a:lnTo>
                  <a:pt x="187" y="213"/>
                </a:lnTo>
                <a:lnTo>
                  <a:pt x="182" y="217"/>
                </a:lnTo>
                <a:lnTo>
                  <a:pt x="178" y="220"/>
                </a:lnTo>
                <a:lnTo>
                  <a:pt x="169" y="226"/>
                </a:lnTo>
                <a:lnTo>
                  <a:pt x="159" y="231"/>
                </a:lnTo>
                <a:lnTo>
                  <a:pt x="148" y="235"/>
                </a:lnTo>
                <a:lnTo>
                  <a:pt x="137" y="238"/>
                </a:lnTo>
                <a:lnTo>
                  <a:pt x="125" y="239"/>
                </a:lnTo>
                <a:lnTo>
                  <a:pt x="119" y="240"/>
                </a:lnTo>
                <a:lnTo>
                  <a:pt x="113" y="240"/>
                </a:lnTo>
                <a:lnTo>
                  <a:pt x="100" y="239"/>
                </a:lnTo>
                <a:lnTo>
                  <a:pt x="88" y="238"/>
                </a:lnTo>
                <a:lnTo>
                  <a:pt x="83" y="236"/>
                </a:lnTo>
                <a:lnTo>
                  <a:pt x="77" y="235"/>
                </a:lnTo>
                <a:lnTo>
                  <a:pt x="66" y="231"/>
                </a:lnTo>
                <a:lnTo>
                  <a:pt x="56" y="226"/>
                </a:lnTo>
                <a:lnTo>
                  <a:pt x="52" y="223"/>
                </a:lnTo>
                <a:lnTo>
                  <a:pt x="47" y="220"/>
                </a:lnTo>
                <a:lnTo>
                  <a:pt x="43" y="217"/>
                </a:lnTo>
                <a:lnTo>
                  <a:pt x="39" y="213"/>
                </a:lnTo>
                <a:lnTo>
                  <a:pt x="31" y="206"/>
                </a:lnTo>
                <a:lnTo>
                  <a:pt x="24" y="197"/>
                </a:lnTo>
                <a:lnTo>
                  <a:pt x="18" y="188"/>
                </a:lnTo>
                <a:lnTo>
                  <a:pt x="15" y="183"/>
                </a:lnTo>
                <a:lnTo>
                  <a:pt x="13" y="178"/>
                </a:lnTo>
                <a:lnTo>
                  <a:pt x="8" y="168"/>
                </a:lnTo>
                <a:lnTo>
                  <a:pt x="5" y="156"/>
                </a:lnTo>
                <a:lnTo>
                  <a:pt x="2" y="145"/>
                </a:lnTo>
                <a:lnTo>
                  <a:pt x="1" y="133"/>
                </a:lnTo>
                <a:lnTo>
                  <a:pt x="0" y="120"/>
                </a:lnTo>
                <a:close/>
                <a:moveTo>
                  <a:pt x="204" y="120"/>
                </a:moveTo>
                <a:lnTo>
                  <a:pt x="204" y="109"/>
                </a:lnTo>
                <a:lnTo>
                  <a:pt x="203" y="99"/>
                </a:lnTo>
                <a:lnTo>
                  <a:pt x="201" y="89"/>
                </a:lnTo>
                <a:lnTo>
                  <a:pt x="198" y="79"/>
                </a:lnTo>
                <a:lnTo>
                  <a:pt x="194" y="71"/>
                </a:lnTo>
                <a:lnTo>
                  <a:pt x="190" y="62"/>
                </a:lnTo>
                <a:lnTo>
                  <a:pt x="185" y="54"/>
                </a:lnTo>
                <a:lnTo>
                  <a:pt x="179" y="47"/>
                </a:lnTo>
                <a:lnTo>
                  <a:pt x="173" y="41"/>
                </a:lnTo>
                <a:lnTo>
                  <a:pt x="166" y="35"/>
                </a:lnTo>
                <a:lnTo>
                  <a:pt x="159" y="30"/>
                </a:lnTo>
                <a:lnTo>
                  <a:pt x="151" y="26"/>
                </a:lnTo>
                <a:lnTo>
                  <a:pt x="142" y="23"/>
                </a:lnTo>
                <a:lnTo>
                  <a:pt x="133" y="20"/>
                </a:lnTo>
                <a:lnTo>
                  <a:pt x="123" y="19"/>
                </a:lnTo>
                <a:lnTo>
                  <a:pt x="113" y="18"/>
                </a:lnTo>
                <a:lnTo>
                  <a:pt x="102" y="19"/>
                </a:lnTo>
                <a:lnTo>
                  <a:pt x="93" y="20"/>
                </a:lnTo>
                <a:lnTo>
                  <a:pt x="83" y="23"/>
                </a:lnTo>
                <a:lnTo>
                  <a:pt x="75" y="26"/>
                </a:lnTo>
                <a:lnTo>
                  <a:pt x="71" y="28"/>
                </a:lnTo>
                <a:lnTo>
                  <a:pt x="67" y="30"/>
                </a:lnTo>
                <a:lnTo>
                  <a:pt x="59" y="35"/>
                </a:lnTo>
                <a:lnTo>
                  <a:pt x="52" y="41"/>
                </a:lnTo>
                <a:lnTo>
                  <a:pt x="46" y="47"/>
                </a:lnTo>
                <a:lnTo>
                  <a:pt x="40" y="54"/>
                </a:lnTo>
                <a:lnTo>
                  <a:pt x="35" y="62"/>
                </a:lnTo>
                <a:lnTo>
                  <a:pt x="31" y="71"/>
                </a:lnTo>
                <a:lnTo>
                  <a:pt x="27" y="79"/>
                </a:lnTo>
                <a:lnTo>
                  <a:pt x="25" y="89"/>
                </a:lnTo>
                <a:lnTo>
                  <a:pt x="23" y="99"/>
                </a:lnTo>
                <a:lnTo>
                  <a:pt x="21" y="109"/>
                </a:lnTo>
                <a:lnTo>
                  <a:pt x="21" y="120"/>
                </a:lnTo>
                <a:lnTo>
                  <a:pt x="21" y="131"/>
                </a:lnTo>
                <a:lnTo>
                  <a:pt x="23" y="141"/>
                </a:lnTo>
                <a:lnTo>
                  <a:pt x="25" y="151"/>
                </a:lnTo>
                <a:lnTo>
                  <a:pt x="27" y="161"/>
                </a:lnTo>
                <a:lnTo>
                  <a:pt x="31" y="170"/>
                </a:lnTo>
                <a:lnTo>
                  <a:pt x="35" y="178"/>
                </a:lnTo>
                <a:lnTo>
                  <a:pt x="40" y="186"/>
                </a:lnTo>
                <a:lnTo>
                  <a:pt x="46" y="193"/>
                </a:lnTo>
                <a:lnTo>
                  <a:pt x="52" y="199"/>
                </a:lnTo>
                <a:lnTo>
                  <a:pt x="59" y="205"/>
                </a:lnTo>
                <a:lnTo>
                  <a:pt x="67" y="210"/>
                </a:lnTo>
                <a:lnTo>
                  <a:pt x="75" y="214"/>
                </a:lnTo>
                <a:lnTo>
                  <a:pt x="83" y="218"/>
                </a:lnTo>
                <a:lnTo>
                  <a:pt x="93" y="220"/>
                </a:lnTo>
                <a:lnTo>
                  <a:pt x="102" y="222"/>
                </a:lnTo>
                <a:lnTo>
                  <a:pt x="113" y="222"/>
                </a:lnTo>
                <a:lnTo>
                  <a:pt x="123" y="222"/>
                </a:lnTo>
                <a:lnTo>
                  <a:pt x="133" y="220"/>
                </a:lnTo>
                <a:lnTo>
                  <a:pt x="142" y="218"/>
                </a:lnTo>
                <a:lnTo>
                  <a:pt x="151" y="214"/>
                </a:lnTo>
                <a:lnTo>
                  <a:pt x="159" y="210"/>
                </a:lnTo>
                <a:lnTo>
                  <a:pt x="166" y="205"/>
                </a:lnTo>
                <a:lnTo>
                  <a:pt x="173" y="199"/>
                </a:lnTo>
                <a:lnTo>
                  <a:pt x="179" y="193"/>
                </a:lnTo>
                <a:lnTo>
                  <a:pt x="185" y="186"/>
                </a:lnTo>
                <a:lnTo>
                  <a:pt x="190" y="178"/>
                </a:lnTo>
                <a:lnTo>
                  <a:pt x="194" y="170"/>
                </a:lnTo>
                <a:lnTo>
                  <a:pt x="198" y="161"/>
                </a:lnTo>
                <a:lnTo>
                  <a:pt x="201" y="151"/>
                </a:lnTo>
                <a:lnTo>
                  <a:pt x="203" y="141"/>
                </a:lnTo>
                <a:lnTo>
                  <a:pt x="204" y="131"/>
                </a:lnTo>
                <a:lnTo>
                  <a:pt x="204" y="120"/>
                </a:lnTo>
                <a:close/>
                <a:moveTo>
                  <a:pt x="275" y="147"/>
                </a:moveTo>
                <a:lnTo>
                  <a:pt x="275" y="4"/>
                </a:lnTo>
                <a:lnTo>
                  <a:pt x="295" y="4"/>
                </a:lnTo>
                <a:lnTo>
                  <a:pt x="295" y="147"/>
                </a:lnTo>
                <a:lnTo>
                  <a:pt x="295" y="155"/>
                </a:lnTo>
                <a:lnTo>
                  <a:pt x="296" y="163"/>
                </a:lnTo>
                <a:lnTo>
                  <a:pt x="297" y="171"/>
                </a:lnTo>
                <a:lnTo>
                  <a:pt x="299" y="178"/>
                </a:lnTo>
                <a:lnTo>
                  <a:pt x="302" y="185"/>
                </a:lnTo>
                <a:lnTo>
                  <a:pt x="305" y="191"/>
                </a:lnTo>
                <a:lnTo>
                  <a:pt x="309" y="197"/>
                </a:lnTo>
                <a:lnTo>
                  <a:pt x="313" y="202"/>
                </a:lnTo>
                <a:lnTo>
                  <a:pt x="315" y="204"/>
                </a:lnTo>
                <a:lnTo>
                  <a:pt x="318" y="206"/>
                </a:lnTo>
                <a:lnTo>
                  <a:pt x="323" y="211"/>
                </a:lnTo>
                <a:lnTo>
                  <a:pt x="329" y="214"/>
                </a:lnTo>
                <a:lnTo>
                  <a:pt x="335" y="217"/>
                </a:lnTo>
                <a:lnTo>
                  <a:pt x="342" y="219"/>
                </a:lnTo>
                <a:lnTo>
                  <a:pt x="345" y="220"/>
                </a:lnTo>
                <a:lnTo>
                  <a:pt x="349" y="221"/>
                </a:lnTo>
                <a:lnTo>
                  <a:pt x="357" y="222"/>
                </a:lnTo>
                <a:lnTo>
                  <a:pt x="365" y="222"/>
                </a:lnTo>
                <a:lnTo>
                  <a:pt x="373" y="222"/>
                </a:lnTo>
                <a:lnTo>
                  <a:pt x="381" y="221"/>
                </a:lnTo>
                <a:lnTo>
                  <a:pt x="388" y="219"/>
                </a:lnTo>
                <a:lnTo>
                  <a:pt x="395" y="217"/>
                </a:lnTo>
                <a:lnTo>
                  <a:pt x="401" y="214"/>
                </a:lnTo>
                <a:lnTo>
                  <a:pt x="407" y="211"/>
                </a:lnTo>
                <a:lnTo>
                  <a:pt x="412" y="206"/>
                </a:lnTo>
                <a:lnTo>
                  <a:pt x="417" y="202"/>
                </a:lnTo>
                <a:lnTo>
                  <a:pt x="419" y="199"/>
                </a:lnTo>
                <a:lnTo>
                  <a:pt x="421" y="197"/>
                </a:lnTo>
                <a:lnTo>
                  <a:pt x="425" y="191"/>
                </a:lnTo>
                <a:lnTo>
                  <a:pt x="427" y="188"/>
                </a:lnTo>
                <a:lnTo>
                  <a:pt x="428" y="185"/>
                </a:lnTo>
                <a:lnTo>
                  <a:pt x="431" y="178"/>
                </a:lnTo>
                <a:lnTo>
                  <a:pt x="433" y="171"/>
                </a:lnTo>
                <a:lnTo>
                  <a:pt x="434" y="163"/>
                </a:lnTo>
                <a:lnTo>
                  <a:pt x="435" y="159"/>
                </a:lnTo>
                <a:lnTo>
                  <a:pt x="435" y="155"/>
                </a:lnTo>
                <a:lnTo>
                  <a:pt x="435" y="147"/>
                </a:lnTo>
                <a:lnTo>
                  <a:pt x="435" y="4"/>
                </a:lnTo>
                <a:lnTo>
                  <a:pt x="455" y="4"/>
                </a:lnTo>
                <a:lnTo>
                  <a:pt x="455" y="147"/>
                </a:lnTo>
                <a:lnTo>
                  <a:pt x="455" y="157"/>
                </a:lnTo>
                <a:lnTo>
                  <a:pt x="454" y="167"/>
                </a:lnTo>
                <a:lnTo>
                  <a:pt x="452" y="177"/>
                </a:lnTo>
                <a:lnTo>
                  <a:pt x="450" y="186"/>
                </a:lnTo>
                <a:lnTo>
                  <a:pt x="446" y="194"/>
                </a:lnTo>
                <a:lnTo>
                  <a:pt x="443" y="202"/>
                </a:lnTo>
                <a:lnTo>
                  <a:pt x="438" y="209"/>
                </a:lnTo>
                <a:lnTo>
                  <a:pt x="433" y="215"/>
                </a:lnTo>
                <a:lnTo>
                  <a:pt x="427" y="221"/>
                </a:lnTo>
                <a:lnTo>
                  <a:pt x="423" y="223"/>
                </a:lnTo>
                <a:lnTo>
                  <a:pt x="420" y="226"/>
                </a:lnTo>
                <a:lnTo>
                  <a:pt x="412" y="230"/>
                </a:lnTo>
                <a:lnTo>
                  <a:pt x="404" y="234"/>
                </a:lnTo>
                <a:lnTo>
                  <a:pt x="396" y="236"/>
                </a:lnTo>
                <a:lnTo>
                  <a:pt x="386" y="238"/>
                </a:lnTo>
                <a:lnTo>
                  <a:pt x="376" y="240"/>
                </a:lnTo>
                <a:lnTo>
                  <a:pt x="365" y="240"/>
                </a:lnTo>
                <a:lnTo>
                  <a:pt x="354" y="240"/>
                </a:lnTo>
                <a:lnTo>
                  <a:pt x="344" y="238"/>
                </a:lnTo>
                <a:lnTo>
                  <a:pt x="335" y="236"/>
                </a:lnTo>
                <a:lnTo>
                  <a:pt x="326" y="234"/>
                </a:lnTo>
                <a:lnTo>
                  <a:pt x="318" y="230"/>
                </a:lnTo>
                <a:lnTo>
                  <a:pt x="310" y="226"/>
                </a:lnTo>
                <a:lnTo>
                  <a:pt x="304" y="221"/>
                </a:lnTo>
                <a:lnTo>
                  <a:pt x="301" y="218"/>
                </a:lnTo>
                <a:lnTo>
                  <a:pt x="298" y="215"/>
                </a:lnTo>
                <a:lnTo>
                  <a:pt x="295" y="212"/>
                </a:lnTo>
                <a:lnTo>
                  <a:pt x="292" y="208"/>
                </a:lnTo>
                <a:lnTo>
                  <a:pt x="288" y="201"/>
                </a:lnTo>
                <a:lnTo>
                  <a:pt x="284" y="194"/>
                </a:lnTo>
                <a:lnTo>
                  <a:pt x="280" y="186"/>
                </a:lnTo>
                <a:lnTo>
                  <a:pt x="278" y="177"/>
                </a:lnTo>
                <a:lnTo>
                  <a:pt x="276" y="167"/>
                </a:lnTo>
                <a:lnTo>
                  <a:pt x="275" y="157"/>
                </a:lnTo>
                <a:lnTo>
                  <a:pt x="275" y="147"/>
                </a:lnTo>
                <a:close/>
                <a:moveTo>
                  <a:pt x="652" y="236"/>
                </a:moveTo>
                <a:lnTo>
                  <a:pt x="587" y="140"/>
                </a:lnTo>
                <a:lnTo>
                  <a:pt x="536" y="140"/>
                </a:lnTo>
                <a:lnTo>
                  <a:pt x="536" y="236"/>
                </a:lnTo>
                <a:lnTo>
                  <a:pt x="516" y="236"/>
                </a:lnTo>
                <a:lnTo>
                  <a:pt x="516" y="4"/>
                </a:lnTo>
                <a:lnTo>
                  <a:pt x="603" y="4"/>
                </a:lnTo>
                <a:lnTo>
                  <a:pt x="610" y="4"/>
                </a:lnTo>
                <a:lnTo>
                  <a:pt x="617" y="5"/>
                </a:lnTo>
                <a:lnTo>
                  <a:pt x="624" y="7"/>
                </a:lnTo>
                <a:lnTo>
                  <a:pt x="631" y="9"/>
                </a:lnTo>
                <a:lnTo>
                  <a:pt x="637" y="11"/>
                </a:lnTo>
                <a:lnTo>
                  <a:pt x="643" y="14"/>
                </a:lnTo>
                <a:lnTo>
                  <a:pt x="648" y="18"/>
                </a:lnTo>
                <a:lnTo>
                  <a:pt x="653" y="22"/>
                </a:lnTo>
                <a:lnTo>
                  <a:pt x="658" y="27"/>
                </a:lnTo>
                <a:lnTo>
                  <a:pt x="662" y="32"/>
                </a:lnTo>
                <a:lnTo>
                  <a:pt x="665" y="37"/>
                </a:lnTo>
                <a:lnTo>
                  <a:pt x="668" y="43"/>
                </a:lnTo>
                <a:lnTo>
                  <a:pt x="670" y="50"/>
                </a:lnTo>
                <a:lnTo>
                  <a:pt x="672" y="57"/>
                </a:lnTo>
                <a:lnTo>
                  <a:pt x="673" y="64"/>
                </a:lnTo>
                <a:lnTo>
                  <a:pt x="673" y="72"/>
                </a:lnTo>
                <a:lnTo>
                  <a:pt x="673" y="80"/>
                </a:lnTo>
                <a:lnTo>
                  <a:pt x="672" y="87"/>
                </a:lnTo>
                <a:lnTo>
                  <a:pt x="670" y="94"/>
                </a:lnTo>
                <a:lnTo>
                  <a:pt x="668" y="100"/>
                </a:lnTo>
                <a:lnTo>
                  <a:pt x="665" y="106"/>
                </a:lnTo>
                <a:lnTo>
                  <a:pt x="662" y="111"/>
                </a:lnTo>
                <a:lnTo>
                  <a:pt x="658" y="116"/>
                </a:lnTo>
                <a:lnTo>
                  <a:pt x="654" y="120"/>
                </a:lnTo>
                <a:lnTo>
                  <a:pt x="650" y="124"/>
                </a:lnTo>
                <a:lnTo>
                  <a:pt x="645" y="128"/>
                </a:lnTo>
                <a:lnTo>
                  <a:pt x="639" y="131"/>
                </a:lnTo>
                <a:lnTo>
                  <a:pt x="634" y="133"/>
                </a:lnTo>
                <a:lnTo>
                  <a:pt x="628" y="136"/>
                </a:lnTo>
                <a:lnTo>
                  <a:pt x="622" y="137"/>
                </a:lnTo>
                <a:lnTo>
                  <a:pt x="609" y="139"/>
                </a:lnTo>
                <a:lnTo>
                  <a:pt x="676" y="236"/>
                </a:lnTo>
                <a:lnTo>
                  <a:pt x="652" y="236"/>
                </a:lnTo>
                <a:close/>
                <a:moveTo>
                  <a:pt x="652" y="72"/>
                </a:moveTo>
                <a:lnTo>
                  <a:pt x="652" y="67"/>
                </a:lnTo>
                <a:lnTo>
                  <a:pt x="652" y="61"/>
                </a:lnTo>
                <a:lnTo>
                  <a:pt x="650" y="56"/>
                </a:lnTo>
                <a:lnTo>
                  <a:pt x="649" y="52"/>
                </a:lnTo>
                <a:lnTo>
                  <a:pt x="647" y="47"/>
                </a:lnTo>
                <a:lnTo>
                  <a:pt x="644" y="43"/>
                </a:lnTo>
                <a:lnTo>
                  <a:pt x="642" y="40"/>
                </a:lnTo>
                <a:lnTo>
                  <a:pt x="638" y="36"/>
                </a:lnTo>
                <a:lnTo>
                  <a:pt x="635" y="33"/>
                </a:lnTo>
                <a:lnTo>
                  <a:pt x="631" y="30"/>
                </a:lnTo>
                <a:lnTo>
                  <a:pt x="627" y="28"/>
                </a:lnTo>
                <a:lnTo>
                  <a:pt x="622" y="26"/>
                </a:lnTo>
                <a:lnTo>
                  <a:pt x="617" y="24"/>
                </a:lnTo>
                <a:lnTo>
                  <a:pt x="612" y="23"/>
                </a:lnTo>
                <a:lnTo>
                  <a:pt x="607" y="22"/>
                </a:lnTo>
                <a:lnTo>
                  <a:pt x="601" y="22"/>
                </a:lnTo>
                <a:lnTo>
                  <a:pt x="536" y="22"/>
                </a:lnTo>
                <a:lnTo>
                  <a:pt x="536" y="122"/>
                </a:lnTo>
                <a:lnTo>
                  <a:pt x="601" y="122"/>
                </a:lnTo>
                <a:lnTo>
                  <a:pt x="607" y="122"/>
                </a:lnTo>
                <a:lnTo>
                  <a:pt x="612" y="121"/>
                </a:lnTo>
                <a:lnTo>
                  <a:pt x="617" y="120"/>
                </a:lnTo>
                <a:lnTo>
                  <a:pt x="622" y="118"/>
                </a:lnTo>
                <a:lnTo>
                  <a:pt x="627" y="116"/>
                </a:lnTo>
                <a:lnTo>
                  <a:pt x="631" y="114"/>
                </a:lnTo>
                <a:lnTo>
                  <a:pt x="635" y="111"/>
                </a:lnTo>
                <a:lnTo>
                  <a:pt x="638" y="108"/>
                </a:lnTo>
                <a:lnTo>
                  <a:pt x="642" y="104"/>
                </a:lnTo>
                <a:lnTo>
                  <a:pt x="644" y="101"/>
                </a:lnTo>
                <a:lnTo>
                  <a:pt x="647" y="96"/>
                </a:lnTo>
                <a:lnTo>
                  <a:pt x="649" y="92"/>
                </a:lnTo>
                <a:lnTo>
                  <a:pt x="650" y="90"/>
                </a:lnTo>
                <a:lnTo>
                  <a:pt x="650" y="87"/>
                </a:lnTo>
                <a:lnTo>
                  <a:pt x="652" y="82"/>
                </a:lnTo>
                <a:lnTo>
                  <a:pt x="652" y="77"/>
                </a:lnTo>
                <a:lnTo>
                  <a:pt x="652" y="72"/>
                </a:lnTo>
                <a:close/>
                <a:moveTo>
                  <a:pt x="811" y="120"/>
                </a:moveTo>
                <a:lnTo>
                  <a:pt x="811" y="107"/>
                </a:lnTo>
                <a:lnTo>
                  <a:pt x="813" y="95"/>
                </a:lnTo>
                <a:lnTo>
                  <a:pt x="816" y="83"/>
                </a:lnTo>
                <a:lnTo>
                  <a:pt x="820" y="71"/>
                </a:lnTo>
                <a:lnTo>
                  <a:pt x="822" y="66"/>
                </a:lnTo>
                <a:lnTo>
                  <a:pt x="825" y="61"/>
                </a:lnTo>
                <a:lnTo>
                  <a:pt x="830" y="51"/>
                </a:lnTo>
                <a:lnTo>
                  <a:pt x="834" y="46"/>
                </a:lnTo>
                <a:lnTo>
                  <a:pt x="837" y="42"/>
                </a:lnTo>
                <a:lnTo>
                  <a:pt x="845" y="34"/>
                </a:lnTo>
                <a:lnTo>
                  <a:pt x="854" y="26"/>
                </a:lnTo>
                <a:lnTo>
                  <a:pt x="863" y="19"/>
                </a:lnTo>
                <a:lnTo>
                  <a:pt x="873" y="14"/>
                </a:lnTo>
                <a:lnTo>
                  <a:pt x="883" y="9"/>
                </a:lnTo>
                <a:lnTo>
                  <a:pt x="894" y="5"/>
                </a:lnTo>
                <a:lnTo>
                  <a:pt x="905" y="3"/>
                </a:lnTo>
                <a:lnTo>
                  <a:pt x="917" y="1"/>
                </a:lnTo>
                <a:lnTo>
                  <a:pt x="929" y="0"/>
                </a:lnTo>
                <a:lnTo>
                  <a:pt x="942" y="1"/>
                </a:lnTo>
                <a:lnTo>
                  <a:pt x="949" y="2"/>
                </a:lnTo>
                <a:lnTo>
                  <a:pt x="955" y="3"/>
                </a:lnTo>
                <a:lnTo>
                  <a:pt x="967" y="7"/>
                </a:lnTo>
                <a:lnTo>
                  <a:pt x="978" y="12"/>
                </a:lnTo>
                <a:lnTo>
                  <a:pt x="983" y="14"/>
                </a:lnTo>
                <a:lnTo>
                  <a:pt x="988" y="17"/>
                </a:lnTo>
                <a:lnTo>
                  <a:pt x="997" y="24"/>
                </a:lnTo>
                <a:lnTo>
                  <a:pt x="1006" y="32"/>
                </a:lnTo>
                <a:lnTo>
                  <a:pt x="1013" y="41"/>
                </a:lnTo>
                <a:lnTo>
                  <a:pt x="997" y="52"/>
                </a:lnTo>
                <a:lnTo>
                  <a:pt x="994" y="48"/>
                </a:lnTo>
                <a:lnTo>
                  <a:pt x="991" y="45"/>
                </a:lnTo>
                <a:lnTo>
                  <a:pt x="984" y="38"/>
                </a:lnTo>
                <a:lnTo>
                  <a:pt x="976" y="33"/>
                </a:lnTo>
                <a:lnTo>
                  <a:pt x="968" y="28"/>
                </a:lnTo>
                <a:lnTo>
                  <a:pt x="959" y="24"/>
                </a:lnTo>
                <a:lnTo>
                  <a:pt x="954" y="22"/>
                </a:lnTo>
                <a:lnTo>
                  <a:pt x="949" y="21"/>
                </a:lnTo>
                <a:lnTo>
                  <a:pt x="944" y="20"/>
                </a:lnTo>
                <a:lnTo>
                  <a:pt x="939" y="19"/>
                </a:lnTo>
                <a:lnTo>
                  <a:pt x="934" y="19"/>
                </a:lnTo>
                <a:lnTo>
                  <a:pt x="929" y="18"/>
                </a:lnTo>
                <a:lnTo>
                  <a:pt x="919" y="19"/>
                </a:lnTo>
                <a:lnTo>
                  <a:pt x="909" y="20"/>
                </a:lnTo>
                <a:lnTo>
                  <a:pt x="905" y="21"/>
                </a:lnTo>
                <a:lnTo>
                  <a:pt x="900" y="23"/>
                </a:lnTo>
                <a:lnTo>
                  <a:pt x="891" y="26"/>
                </a:lnTo>
                <a:lnTo>
                  <a:pt x="883" y="30"/>
                </a:lnTo>
                <a:lnTo>
                  <a:pt x="875" y="35"/>
                </a:lnTo>
                <a:lnTo>
                  <a:pt x="867" y="40"/>
                </a:lnTo>
                <a:lnTo>
                  <a:pt x="864" y="43"/>
                </a:lnTo>
                <a:lnTo>
                  <a:pt x="860" y="47"/>
                </a:lnTo>
                <a:lnTo>
                  <a:pt x="854" y="54"/>
                </a:lnTo>
                <a:lnTo>
                  <a:pt x="848" y="61"/>
                </a:lnTo>
                <a:lnTo>
                  <a:pt x="843" y="70"/>
                </a:lnTo>
                <a:lnTo>
                  <a:pt x="839" y="79"/>
                </a:lnTo>
                <a:lnTo>
                  <a:pt x="836" y="88"/>
                </a:lnTo>
                <a:lnTo>
                  <a:pt x="833" y="98"/>
                </a:lnTo>
                <a:lnTo>
                  <a:pt x="832" y="109"/>
                </a:lnTo>
                <a:lnTo>
                  <a:pt x="831" y="120"/>
                </a:lnTo>
                <a:lnTo>
                  <a:pt x="832" y="131"/>
                </a:lnTo>
                <a:lnTo>
                  <a:pt x="833" y="142"/>
                </a:lnTo>
                <a:lnTo>
                  <a:pt x="836" y="152"/>
                </a:lnTo>
                <a:lnTo>
                  <a:pt x="839" y="161"/>
                </a:lnTo>
                <a:lnTo>
                  <a:pt x="843" y="170"/>
                </a:lnTo>
                <a:lnTo>
                  <a:pt x="848" y="179"/>
                </a:lnTo>
                <a:lnTo>
                  <a:pt x="854" y="186"/>
                </a:lnTo>
                <a:lnTo>
                  <a:pt x="860" y="194"/>
                </a:lnTo>
                <a:lnTo>
                  <a:pt x="867" y="200"/>
                </a:lnTo>
                <a:lnTo>
                  <a:pt x="871" y="203"/>
                </a:lnTo>
                <a:lnTo>
                  <a:pt x="875" y="206"/>
                </a:lnTo>
                <a:lnTo>
                  <a:pt x="883" y="210"/>
                </a:lnTo>
                <a:lnTo>
                  <a:pt x="891" y="214"/>
                </a:lnTo>
                <a:lnTo>
                  <a:pt x="900" y="218"/>
                </a:lnTo>
                <a:lnTo>
                  <a:pt x="909" y="220"/>
                </a:lnTo>
                <a:lnTo>
                  <a:pt x="919" y="222"/>
                </a:lnTo>
                <a:lnTo>
                  <a:pt x="929" y="222"/>
                </a:lnTo>
                <a:lnTo>
                  <a:pt x="939" y="221"/>
                </a:lnTo>
                <a:lnTo>
                  <a:pt x="949" y="220"/>
                </a:lnTo>
                <a:lnTo>
                  <a:pt x="954" y="218"/>
                </a:lnTo>
                <a:lnTo>
                  <a:pt x="959" y="217"/>
                </a:lnTo>
                <a:lnTo>
                  <a:pt x="968" y="213"/>
                </a:lnTo>
                <a:lnTo>
                  <a:pt x="972" y="210"/>
                </a:lnTo>
                <a:lnTo>
                  <a:pt x="976" y="208"/>
                </a:lnTo>
                <a:lnTo>
                  <a:pt x="984" y="202"/>
                </a:lnTo>
                <a:lnTo>
                  <a:pt x="991" y="196"/>
                </a:lnTo>
                <a:lnTo>
                  <a:pt x="994" y="192"/>
                </a:lnTo>
                <a:lnTo>
                  <a:pt x="997" y="188"/>
                </a:lnTo>
                <a:lnTo>
                  <a:pt x="1014" y="199"/>
                </a:lnTo>
                <a:lnTo>
                  <a:pt x="1010" y="203"/>
                </a:lnTo>
                <a:lnTo>
                  <a:pt x="1006" y="208"/>
                </a:lnTo>
                <a:lnTo>
                  <a:pt x="997" y="216"/>
                </a:lnTo>
                <a:lnTo>
                  <a:pt x="992" y="220"/>
                </a:lnTo>
                <a:lnTo>
                  <a:pt x="988" y="223"/>
                </a:lnTo>
                <a:lnTo>
                  <a:pt x="977" y="229"/>
                </a:lnTo>
                <a:lnTo>
                  <a:pt x="972" y="231"/>
                </a:lnTo>
                <a:lnTo>
                  <a:pt x="967" y="234"/>
                </a:lnTo>
                <a:lnTo>
                  <a:pt x="961" y="236"/>
                </a:lnTo>
                <a:lnTo>
                  <a:pt x="955" y="237"/>
                </a:lnTo>
                <a:lnTo>
                  <a:pt x="949" y="238"/>
                </a:lnTo>
                <a:lnTo>
                  <a:pt x="942" y="239"/>
                </a:lnTo>
                <a:lnTo>
                  <a:pt x="929" y="240"/>
                </a:lnTo>
                <a:lnTo>
                  <a:pt x="917" y="240"/>
                </a:lnTo>
                <a:lnTo>
                  <a:pt x="911" y="239"/>
                </a:lnTo>
                <a:lnTo>
                  <a:pt x="905" y="238"/>
                </a:lnTo>
                <a:lnTo>
                  <a:pt x="894" y="235"/>
                </a:lnTo>
                <a:lnTo>
                  <a:pt x="888" y="233"/>
                </a:lnTo>
                <a:lnTo>
                  <a:pt x="883" y="231"/>
                </a:lnTo>
                <a:lnTo>
                  <a:pt x="873" y="227"/>
                </a:lnTo>
                <a:lnTo>
                  <a:pt x="863" y="221"/>
                </a:lnTo>
                <a:lnTo>
                  <a:pt x="854" y="214"/>
                </a:lnTo>
                <a:lnTo>
                  <a:pt x="849" y="211"/>
                </a:lnTo>
                <a:lnTo>
                  <a:pt x="845" y="207"/>
                </a:lnTo>
                <a:lnTo>
                  <a:pt x="837" y="199"/>
                </a:lnTo>
                <a:lnTo>
                  <a:pt x="830" y="189"/>
                </a:lnTo>
                <a:lnTo>
                  <a:pt x="825" y="180"/>
                </a:lnTo>
                <a:lnTo>
                  <a:pt x="820" y="169"/>
                </a:lnTo>
                <a:lnTo>
                  <a:pt x="816" y="158"/>
                </a:lnTo>
                <a:lnTo>
                  <a:pt x="814" y="152"/>
                </a:lnTo>
                <a:lnTo>
                  <a:pt x="813" y="146"/>
                </a:lnTo>
                <a:lnTo>
                  <a:pt x="811" y="133"/>
                </a:lnTo>
                <a:lnTo>
                  <a:pt x="811" y="127"/>
                </a:lnTo>
                <a:lnTo>
                  <a:pt x="811" y="120"/>
                </a:lnTo>
                <a:close/>
                <a:moveTo>
                  <a:pt x="1049" y="236"/>
                </a:moveTo>
                <a:lnTo>
                  <a:pt x="1049" y="4"/>
                </a:lnTo>
                <a:lnTo>
                  <a:pt x="1069" y="4"/>
                </a:lnTo>
                <a:lnTo>
                  <a:pt x="1069" y="218"/>
                </a:lnTo>
                <a:lnTo>
                  <a:pt x="1181" y="218"/>
                </a:lnTo>
                <a:lnTo>
                  <a:pt x="1181" y="236"/>
                </a:lnTo>
                <a:lnTo>
                  <a:pt x="1049" y="236"/>
                </a:lnTo>
                <a:close/>
                <a:moveTo>
                  <a:pt x="1220" y="236"/>
                </a:moveTo>
                <a:lnTo>
                  <a:pt x="1220" y="4"/>
                </a:lnTo>
                <a:lnTo>
                  <a:pt x="1240" y="4"/>
                </a:lnTo>
                <a:lnTo>
                  <a:pt x="1240" y="236"/>
                </a:lnTo>
                <a:lnTo>
                  <a:pt x="1220" y="236"/>
                </a:lnTo>
                <a:close/>
                <a:moveTo>
                  <a:pt x="1301" y="236"/>
                </a:moveTo>
                <a:lnTo>
                  <a:pt x="1301" y="4"/>
                </a:lnTo>
                <a:lnTo>
                  <a:pt x="1448" y="4"/>
                </a:lnTo>
                <a:lnTo>
                  <a:pt x="1448" y="22"/>
                </a:lnTo>
                <a:lnTo>
                  <a:pt x="1320" y="22"/>
                </a:lnTo>
                <a:lnTo>
                  <a:pt x="1320" y="108"/>
                </a:lnTo>
                <a:lnTo>
                  <a:pt x="1445" y="108"/>
                </a:lnTo>
                <a:lnTo>
                  <a:pt x="1445" y="126"/>
                </a:lnTo>
                <a:lnTo>
                  <a:pt x="1320" y="126"/>
                </a:lnTo>
                <a:lnTo>
                  <a:pt x="1320" y="218"/>
                </a:lnTo>
                <a:lnTo>
                  <a:pt x="1448" y="218"/>
                </a:lnTo>
                <a:lnTo>
                  <a:pt x="1448" y="236"/>
                </a:lnTo>
                <a:lnTo>
                  <a:pt x="1301" y="236"/>
                </a:lnTo>
                <a:close/>
                <a:moveTo>
                  <a:pt x="1662" y="236"/>
                </a:moveTo>
                <a:lnTo>
                  <a:pt x="1516" y="37"/>
                </a:lnTo>
                <a:lnTo>
                  <a:pt x="1516" y="236"/>
                </a:lnTo>
                <a:lnTo>
                  <a:pt x="1496" y="236"/>
                </a:lnTo>
                <a:lnTo>
                  <a:pt x="1496" y="4"/>
                </a:lnTo>
                <a:lnTo>
                  <a:pt x="1516" y="4"/>
                </a:lnTo>
                <a:lnTo>
                  <a:pt x="1662" y="200"/>
                </a:lnTo>
                <a:lnTo>
                  <a:pt x="1662" y="4"/>
                </a:lnTo>
                <a:lnTo>
                  <a:pt x="1681" y="4"/>
                </a:lnTo>
                <a:lnTo>
                  <a:pt x="1681" y="236"/>
                </a:lnTo>
                <a:lnTo>
                  <a:pt x="1662" y="236"/>
                </a:lnTo>
                <a:close/>
                <a:moveTo>
                  <a:pt x="1798" y="236"/>
                </a:moveTo>
                <a:lnTo>
                  <a:pt x="1798" y="22"/>
                </a:lnTo>
                <a:lnTo>
                  <a:pt x="1722" y="22"/>
                </a:lnTo>
                <a:lnTo>
                  <a:pt x="1722" y="4"/>
                </a:lnTo>
                <a:lnTo>
                  <a:pt x="1893" y="4"/>
                </a:lnTo>
                <a:lnTo>
                  <a:pt x="1893" y="22"/>
                </a:lnTo>
                <a:lnTo>
                  <a:pt x="1818" y="22"/>
                </a:lnTo>
                <a:lnTo>
                  <a:pt x="1818" y="236"/>
                </a:lnTo>
                <a:lnTo>
                  <a:pt x="1798" y="236"/>
                </a:lnTo>
                <a:close/>
                <a:moveTo>
                  <a:pt x="1918" y="203"/>
                </a:moveTo>
                <a:lnTo>
                  <a:pt x="1931" y="188"/>
                </a:lnTo>
                <a:lnTo>
                  <a:pt x="1934" y="191"/>
                </a:lnTo>
                <a:lnTo>
                  <a:pt x="1937" y="195"/>
                </a:lnTo>
                <a:lnTo>
                  <a:pt x="1940" y="198"/>
                </a:lnTo>
                <a:lnTo>
                  <a:pt x="1944" y="201"/>
                </a:lnTo>
                <a:lnTo>
                  <a:pt x="1952" y="206"/>
                </a:lnTo>
                <a:lnTo>
                  <a:pt x="1960" y="212"/>
                </a:lnTo>
                <a:lnTo>
                  <a:pt x="1970" y="216"/>
                </a:lnTo>
                <a:lnTo>
                  <a:pt x="1975" y="218"/>
                </a:lnTo>
                <a:lnTo>
                  <a:pt x="1980" y="219"/>
                </a:lnTo>
                <a:lnTo>
                  <a:pt x="1986" y="220"/>
                </a:lnTo>
                <a:lnTo>
                  <a:pt x="1992" y="221"/>
                </a:lnTo>
                <a:lnTo>
                  <a:pt x="2004" y="222"/>
                </a:lnTo>
                <a:lnTo>
                  <a:pt x="2012" y="222"/>
                </a:lnTo>
                <a:lnTo>
                  <a:pt x="2020" y="221"/>
                </a:lnTo>
                <a:lnTo>
                  <a:pt x="2027" y="219"/>
                </a:lnTo>
                <a:lnTo>
                  <a:pt x="2033" y="218"/>
                </a:lnTo>
                <a:lnTo>
                  <a:pt x="2039" y="215"/>
                </a:lnTo>
                <a:lnTo>
                  <a:pt x="2044" y="213"/>
                </a:lnTo>
                <a:lnTo>
                  <a:pt x="2048" y="210"/>
                </a:lnTo>
                <a:lnTo>
                  <a:pt x="2052" y="206"/>
                </a:lnTo>
                <a:lnTo>
                  <a:pt x="2055" y="203"/>
                </a:lnTo>
                <a:lnTo>
                  <a:pt x="2058" y="199"/>
                </a:lnTo>
                <a:lnTo>
                  <a:pt x="2060" y="195"/>
                </a:lnTo>
                <a:lnTo>
                  <a:pt x="2062" y="191"/>
                </a:lnTo>
                <a:lnTo>
                  <a:pt x="2064" y="183"/>
                </a:lnTo>
                <a:lnTo>
                  <a:pt x="2064" y="176"/>
                </a:lnTo>
                <a:lnTo>
                  <a:pt x="2064" y="170"/>
                </a:lnTo>
                <a:lnTo>
                  <a:pt x="2063" y="164"/>
                </a:lnTo>
                <a:lnTo>
                  <a:pt x="2061" y="159"/>
                </a:lnTo>
                <a:lnTo>
                  <a:pt x="2058" y="155"/>
                </a:lnTo>
                <a:lnTo>
                  <a:pt x="2055" y="151"/>
                </a:lnTo>
                <a:lnTo>
                  <a:pt x="2052" y="147"/>
                </a:lnTo>
                <a:lnTo>
                  <a:pt x="2047" y="144"/>
                </a:lnTo>
                <a:lnTo>
                  <a:pt x="2043" y="141"/>
                </a:lnTo>
                <a:lnTo>
                  <a:pt x="2038" y="138"/>
                </a:lnTo>
                <a:lnTo>
                  <a:pt x="2032" y="136"/>
                </a:lnTo>
                <a:lnTo>
                  <a:pt x="2020" y="131"/>
                </a:lnTo>
                <a:lnTo>
                  <a:pt x="2008" y="127"/>
                </a:lnTo>
                <a:lnTo>
                  <a:pt x="1995" y="124"/>
                </a:lnTo>
                <a:lnTo>
                  <a:pt x="1982" y="120"/>
                </a:lnTo>
                <a:lnTo>
                  <a:pt x="1969" y="116"/>
                </a:lnTo>
                <a:lnTo>
                  <a:pt x="1958" y="111"/>
                </a:lnTo>
                <a:lnTo>
                  <a:pt x="1952" y="108"/>
                </a:lnTo>
                <a:lnTo>
                  <a:pt x="1947" y="104"/>
                </a:lnTo>
                <a:lnTo>
                  <a:pt x="1942" y="101"/>
                </a:lnTo>
                <a:lnTo>
                  <a:pt x="1938" y="97"/>
                </a:lnTo>
                <a:lnTo>
                  <a:pt x="1935" y="92"/>
                </a:lnTo>
                <a:lnTo>
                  <a:pt x="1931" y="87"/>
                </a:lnTo>
                <a:lnTo>
                  <a:pt x="1929" y="82"/>
                </a:lnTo>
                <a:lnTo>
                  <a:pt x="1927" y="76"/>
                </a:lnTo>
                <a:lnTo>
                  <a:pt x="1926" y="69"/>
                </a:lnTo>
                <a:lnTo>
                  <a:pt x="1925" y="62"/>
                </a:lnTo>
                <a:lnTo>
                  <a:pt x="1926" y="55"/>
                </a:lnTo>
                <a:lnTo>
                  <a:pt x="1927" y="49"/>
                </a:lnTo>
                <a:lnTo>
                  <a:pt x="1929" y="42"/>
                </a:lnTo>
                <a:lnTo>
                  <a:pt x="1931" y="36"/>
                </a:lnTo>
                <a:lnTo>
                  <a:pt x="1935" y="31"/>
                </a:lnTo>
                <a:lnTo>
                  <a:pt x="1938" y="26"/>
                </a:lnTo>
                <a:lnTo>
                  <a:pt x="1941" y="24"/>
                </a:lnTo>
                <a:lnTo>
                  <a:pt x="1943" y="21"/>
                </a:lnTo>
                <a:lnTo>
                  <a:pt x="1948" y="17"/>
                </a:lnTo>
                <a:lnTo>
                  <a:pt x="1953" y="13"/>
                </a:lnTo>
                <a:lnTo>
                  <a:pt x="1959" y="10"/>
                </a:lnTo>
                <a:lnTo>
                  <a:pt x="1965" y="7"/>
                </a:lnTo>
                <a:lnTo>
                  <a:pt x="1972" y="5"/>
                </a:lnTo>
                <a:lnTo>
                  <a:pt x="1979" y="3"/>
                </a:lnTo>
                <a:lnTo>
                  <a:pt x="1986" y="1"/>
                </a:lnTo>
                <a:lnTo>
                  <a:pt x="1994" y="1"/>
                </a:lnTo>
                <a:lnTo>
                  <a:pt x="2002" y="0"/>
                </a:lnTo>
                <a:lnTo>
                  <a:pt x="2014" y="1"/>
                </a:lnTo>
                <a:lnTo>
                  <a:pt x="2020" y="2"/>
                </a:lnTo>
                <a:lnTo>
                  <a:pt x="2026" y="2"/>
                </a:lnTo>
                <a:lnTo>
                  <a:pt x="2037" y="5"/>
                </a:lnTo>
                <a:lnTo>
                  <a:pt x="2042" y="7"/>
                </a:lnTo>
                <a:lnTo>
                  <a:pt x="2047" y="9"/>
                </a:lnTo>
                <a:lnTo>
                  <a:pt x="2057" y="14"/>
                </a:lnTo>
                <a:lnTo>
                  <a:pt x="2065" y="19"/>
                </a:lnTo>
                <a:lnTo>
                  <a:pt x="2073" y="26"/>
                </a:lnTo>
                <a:lnTo>
                  <a:pt x="2080" y="33"/>
                </a:lnTo>
                <a:lnTo>
                  <a:pt x="2067" y="48"/>
                </a:lnTo>
                <a:lnTo>
                  <a:pt x="2060" y="41"/>
                </a:lnTo>
                <a:lnTo>
                  <a:pt x="2057" y="37"/>
                </a:lnTo>
                <a:lnTo>
                  <a:pt x="2053" y="34"/>
                </a:lnTo>
                <a:lnTo>
                  <a:pt x="2045" y="29"/>
                </a:lnTo>
                <a:lnTo>
                  <a:pt x="2037" y="25"/>
                </a:lnTo>
                <a:lnTo>
                  <a:pt x="2033" y="24"/>
                </a:lnTo>
                <a:lnTo>
                  <a:pt x="2029" y="22"/>
                </a:lnTo>
                <a:lnTo>
                  <a:pt x="2020" y="20"/>
                </a:lnTo>
                <a:lnTo>
                  <a:pt x="2010" y="19"/>
                </a:lnTo>
                <a:lnTo>
                  <a:pt x="2000" y="18"/>
                </a:lnTo>
                <a:lnTo>
                  <a:pt x="1989" y="19"/>
                </a:lnTo>
                <a:lnTo>
                  <a:pt x="1984" y="20"/>
                </a:lnTo>
                <a:lnTo>
                  <a:pt x="1979" y="22"/>
                </a:lnTo>
                <a:lnTo>
                  <a:pt x="1974" y="23"/>
                </a:lnTo>
                <a:lnTo>
                  <a:pt x="1970" y="25"/>
                </a:lnTo>
                <a:lnTo>
                  <a:pt x="1962" y="30"/>
                </a:lnTo>
                <a:lnTo>
                  <a:pt x="1958" y="33"/>
                </a:lnTo>
                <a:lnTo>
                  <a:pt x="1955" y="37"/>
                </a:lnTo>
                <a:lnTo>
                  <a:pt x="1953" y="40"/>
                </a:lnTo>
                <a:lnTo>
                  <a:pt x="1950" y="44"/>
                </a:lnTo>
                <a:lnTo>
                  <a:pt x="1949" y="48"/>
                </a:lnTo>
                <a:lnTo>
                  <a:pt x="1947" y="52"/>
                </a:lnTo>
                <a:lnTo>
                  <a:pt x="1947" y="56"/>
                </a:lnTo>
                <a:lnTo>
                  <a:pt x="1946" y="61"/>
                </a:lnTo>
                <a:lnTo>
                  <a:pt x="1947" y="66"/>
                </a:lnTo>
                <a:lnTo>
                  <a:pt x="1948" y="71"/>
                </a:lnTo>
                <a:lnTo>
                  <a:pt x="1950" y="76"/>
                </a:lnTo>
                <a:lnTo>
                  <a:pt x="1952" y="79"/>
                </a:lnTo>
                <a:lnTo>
                  <a:pt x="1955" y="83"/>
                </a:lnTo>
                <a:lnTo>
                  <a:pt x="1959" y="86"/>
                </a:lnTo>
                <a:lnTo>
                  <a:pt x="1968" y="92"/>
                </a:lnTo>
                <a:lnTo>
                  <a:pt x="1973" y="94"/>
                </a:lnTo>
                <a:lnTo>
                  <a:pt x="1979" y="96"/>
                </a:lnTo>
                <a:lnTo>
                  <a:pt x="1990" y="100"/>
                </a:lnTo>
                <a:lnTo>
                  <a:pt x="2016" y="108"/>
                </a:lnTo>
                <a:lnTo>
                  <a:pt x="2029" y="112"/>
                </a:lnTo>
                <a:lnTo>
                  <a:pt x="2041" y="116"/>
                </a:lnTo>
                <a:lnTo>
                  <a:pt x="2053" y="122"/>
                </a:lnTo>
                <a:lnTo>
                  <a:pt x="2058" y="125"/>
                </a:lnTo>
                <a:lnTo>
                  <a:pt x="2064" y="129"/>
                </a:lnTo>
                <a:lnTo>
                  <a:pt x="2068" y="133"/>
                </a:lnTo>
                <a:lnTo>
                  <a:pt x="2070" y="135"/>
                </a:lnTo>
                <a:lnTo>
                  <a:pt x="2072" y="137"/>
                </a:lnTo>
                <a:lnTo>
                  <a:pt x="2076" y="142"/>
                </a:lnTo>
                <a:lnTo>
                  <a:pt x="2079" y="147"/>
                </a:lnTo>
                <a:lnTo>
                  <a:pt x="2082" y="153"/>
                </a:lnTo>
                <a:lnTo>
                  <a:pt x="2084" y="160"/>
                </a:lnTo>
                <a:lnTo>
                  <a:pt x="2085" y="167"/>
                </a:lnTo>
                <a:lnTo>
                  <a:pt x="2085" y="174"/>
                </a:lnTo>
                <a:lnTo>
                  <a:pt x="2085" y="180"/>
                </a:lnTo>
                <a:lnTo>
                  <a:pt x="2084" y="186"/>
                </a:lnTo>
                <a:lnTo>
                  <a:pt x="2081" y="197"/>
                </a:lnTo>
                <a:lnTo>
                  <a:pt x="2079" y="203"/>
                </a:lnTo>
                <a:lnTo>
                  <a:pt x="2076" y="208"/>
                </a:lnTo>
                <a:lnTo>
                  <a:pt x="2072" y="214"/>
                </a:lnTo>
                <a:lnTo>
                  <a:pt x="2068" y="218"/>
                </a:lnTo>
                <a:lnTo>
                  <a:pt x="2062" y="223"/>
                </a:lnTo>
                <a:lnTo>
                  <a:pt x="2056" y="227"/>
                </a:lnTo>
                <a:lnTo>
                  <a:pt x="2050" y="231"/>
                </a:lnTo>
                <a:lnTo>
                  <a:pt x="2042" y="234"/>
                </a:lnTo>
                <a:lnTo>
                  <a:pt x="2034" y="237"/>
                </a:lnTo>
                <a:lnTo>
                  <a:pt x="2024" y="238"/>
                </a:lnTo>
                <a:lnTo>
                  <a:pt x="2014" y="240"/>
                </a:lnTo>
                <a:lnTo>
                  <a:pt x="2003" y="240"/>
                </a:lnTo>
                <a:lnTo>
                  <a:pt x="1989" y="239"/>
                </a:lnTo>
                <a:lnTo>
                  <a:pt x="1976" y="237"/>
                </a:lnTo>
                <a:lnTo>
                  <a:pt x="1964" y="234"/>
                </a:lnTo>
                <a:lnTo>
                  <a:pt x="1953" y="230"/>
                </a:lnTo>
                <a:lnTo>
                  <a:pt x="1943" y="224"/>
                </a:lnTo>
                <a:lnTo>
                  <a:pt x="1933" y="218"/>
                </a:lnTo>
                <a:lnTo>
                  <a:pt x="1929" y="215"/>
                </a:lnTo>
                <a:lnTo>
                  <a:pt x="1925" y="211"/>
                </a:lnTo>
                <a:lnTo>
                  <a:pt x="1918" y="203"/>
                </a:lnTo>
                <a:close/>
                <a:moveTo>
                  <a:pt x="2427" y="236"/>
                </a:moveTo>
                <a:lnTo>
                  <a:pt x="2427" y="29"/>
                </a:lnTo>
                <a:lnTo>
                  <a:pt x="2342" y="236"/>
                </a:lnTo>
                <a:lnTo>
                  <a:pt x="2334" y="236"/>
                </a:lnTo>
                <a:lnTo>
                  <a:pt x="2250" y="29"/>
                </a:lnTo>
                <a:lnTo>
                  <a:pt x="2250" y="236"/>
                </a:lnTo>
                <a:lnTo>
                  <a:pt x="2230" y="236"/>
                </a:lnTo>
                <a:lnTo>
                  <a:pt x="2230" y="4"/>
                </a:lnTo>
                <a:lnTo>
                  <a:pt x="2259" y="4"/>
                </a:lnTo>
                <a:lnTo>
                  <a:pt x="2338" y="197"/>
                </a:lnTo>
                <a:lnTo>
                  <a:pt x="2417" y="4"/>
                </a:lnTo>
                <a:lnTo>
                  <a:pt x="2447" y="4"/>
                </a:lnTo>
                <a:lnTo>
                  <a:pt x="2447" y="236"/>
                </a:lnTo>
                <a:lnTo>
                  <a:pt x="2427" y="236"/>
                </a:lnTo>
                <a:close/>
                <a:moveTo>
                  <a:pt x="2676" y="236"/>
                </a:moveTo>
                <a:lnTo>
                  <a:pt x="2653" y="179"/>
                </a:lnTo>
                <a:lnTo>
                  <a:pt x="2530" y="179"/>
                </a:lnTo>
                <a:lnTo>
                  <a:pt x="2507" y="236"/>
                </a:lnTo>
                <a:lnTo>
                  <a:pt x="2484" y="236"/>
                </a:lnTo>
                <a:lnTo>
                  <a:pt x="2580" y="4"/>
                </a:lnTo>
                <a:lnTo>
                  <a:pt x="2604" y="4"/>
                </a:lnTo>
                <a:lnTo>
                  <a:pt x="2699" y="236"/>
                </a:lnTo>
                <a:lnTo>
                  <a:pt x="2676" y="236"/>
                </a:lnTo>
                <a:close/>
                <a:moveTo>
                  <a:pt x="2592" y="25"/>
                </a:moveTo>
                <a:lnTo>
                  <a:pt x="2536" y="161"/>
                </a:lnTo>
                <a:lnTo>
                  <a:pt x="2647" y="161"/>
                </a:lnTo>
                <a:lnTo>
                  <a:pt x="2592" y="25"/>
                </a:lnTo>
                <a:close/>
                <a:moveTo>
                  <a:pt x="2877" y="236"/>
                </a:moveTo>
                <a:lnTo>
                  <a:pt x="2782" y="127"/>
                </a:lnTo>
                <a:lnTo>
                  <a:pt x="2756" y="155"/>
                </a:lnTo>
                <a:lnTo>
                  <a:pt x="2756" y="236"/>
                </a:lnTo>
                <a:lnTo>
                  <a:pt x="2736" y="236"/>
                </a:lnTo>
                <a:lnTo>
                  <a:pt x="2736" y="4"/>
                </a:lnTo>
                <a:lnTo>
                  <a:pt x="2756" y="4"/>
                </a:lnTo>
                <a:lnTo>
                  <a:pt x="2756" y="131"/>
                </a:lnTo>
                <a:lnTo>
                  <a:pt x="2868" y="4"/>
                </a:lnTo>
                <a:lnTo>
                  <a:pt x="2893" y="4"/>
                </a:lnTo>
                <a:lnTo>
                  <a:pt x="2795" y="115"/>
                </a:lnTo>
                <a:lnTo>
                  <a:pt x="2903" y="236"/>
                </a:lnTo>
                <a:lnTo>
                  <a:pt x="2877" y="236"/>
                </a:lnTo>
                <a:close/>
                <a:moveTo>
                  <a:pt x="2941" y="236"/>
                </a:moveTo>
                <a:lnTo>
                  <a:pt x="2941" y="4"/>
                </a:lnTo>
                <a:lnTo>
                  <a:pt x="3088" y="4"/>
                </a:lnTo>
                <a:lnTo>
                  <a:pt x="3088" y="22"/>
                </a:lnTo>
                <a:lnTo>
                  <a:pt x="2961" y="22"/>
                </a:lnTo>
                <a:lnTo>
                  <a:pt x="2961" y="108"/>
                </a:lnTo>
                <a:lnTo>
                  <a:pt x="3085" y="108"/>
                </a:lnTo>
                <a:lnTo>
                  <a:pt x="3085" y="126"/>
                </a:lnTo>
                <a:lnTo>
                  <a:pt x="2961" y="126"/>
                </a:lnTo>
                <a:lnTo>
                  <a:pt x="2961" y="218"/>
                </a:lnTo>
                <a:lnTo>
                  <a:pt x="3088" y="218"/>
                </a:lnTo>
                <a:lnTo>
                  <a:pt x="3088" y="236"/>
                </a:lnTo>
                <a:lnTo>
                  <a:pt x="2941" y="236"/>
                </a:lnTo>
                <a:close/>
                <a:moveTo>
                  <a:pt x="3293" y="236"/>
                </a:moveTo>
                <a:lnTo>
                  <a:pt x="3293" y="22"/>
                </a:lnTo>
                <a:lnTo>
                  <a:pt x="3217" y="22"/>
                </a:lnTo>
                <a:lnTo>
                  <a:pt x="3217" y="4"/>
                </a:lnTo>
                <a:lnTo>
                  <a:pt x="3388" y="4"/>
                </a:lnTo>
                <a:lnTo>
                  <a:pt x="3388" y="22"/>
                </a:lnTo>
                <a:lnTo>
                  <a:pt x="3313" y="22"/>
                </a:lnTo>
                <a:lnTo>
                  <a:pt x="3313" y="236"/>
                </a:lnTo>
                <a:lnTo>
                  <a:pt x="3293" y="236"/>
                </a:lnTo>
                <a:close/>
                <a:moveTo>
                  <a:pt x="3596" y="236"/>
                </a:moveTo>
                <a:lnTo>
                  <a:pt x="3596" y="126"/>
                </a:lnTo>
                <a:lnTo>
                  <a:pt x="3449" y="126"/>
                </a:lnTo>
                <a:lnTo>
                  <a:pt x="3449" y="236"/>
                </a:lnTo>
                <a:lnTo>
                  <a:pt x="3429" y="236"/>
                </a:lnTo>
                <a:lnTo>
                  <a:pt x="3429" y="4"/>
                </a:lnTo>
                <a:lnTo>
                  <a:pt x="3449" y="4"/>
                </a:lnTo>
                <a:lnTo>
                  <a:pt x="3449" y="108"/>
                </a:lnTo>
                <a:lnTo>
                  <a:pt x="3596" y="108"/>
                </a:lnTo>
                <a:lnTo>
                  <a:pt x="3596" y="4"/>
                </a:lnTo>
                <a:lnTo>
                  <a:pt x="3615" y="4"/>
                </a:lnTo>
                <a:lnTo>
                  <a:pt x="3615" y="236"/>
                </a:lnTo>
                <a:lnTo>
                  <a:pt x="3596" y="236"/>
                </a:lnTo>
                <a:close/>
                <a:moveTo>
                  <a:pt x="3677" y="236"/>
                </a:moveTo>
                <a:lnTo>
                  <a:pt x="3677" y="4"/>
                </a:lnTo>
                <a:lnTo>
                  <a:pt x="3824" y="4"/>
                </a:lnTo>
                <a:lnTo>
                  <a:pt x="3824" y="22"/>
                </a:lnTo>
                <a:lnTo>
                  <a:pt x="3697" y="22"/>
                </a:lnTo>
                <a:lnTo>
                  <a:pt x="3697" y="108"/>
                </a:lnTo>
                <a:lnTo>
                  <a:pt x="3822" y="108"/>
                </a:lnTo>
                <a:lnTo>
                  <a:pt x="3822" y="126"/>
                </a:lnTo>
                <a:lnTo>
                  <a:pt x="3697" y="126"/>
                </a:lnTo>
                <a:lnTo>
                  <a:pt x="3697" y="218"/>
                </a:lnTo>
                <a:lnTo>
                  <a:pt x="3824" y="218"/>
                </a:lnTo>
                <a:lnTo>
                  <a:pt x="3824" y="236"/>
                </a:lnTo>
                <a:lnTo>
                  <a:pt x="3677" y="236"/>
                </a:lnTo>
                <a:close/>
                <a:moveTo>
                  <a:pt x="4148" y="236"/>
                </a:moveTo>
                <a:lnTo>
                  <a:pt x="4092" y="37"/>
                </a:lnTo>
                <a:lnTo>
                  <a:pt x="4036" y="236"/>
                </a:lnTo>
                <a:lnTo>
                  <a:pt x="4014" y="236"/>
                </a:lnTo>
                <a:lnTo>
                  <a:pt x="3948" y="4"/>
                </a:lnTo>
                <a:lnTo>
                  <a:pt x="3970" y="4"/>
                </a:lnTo>
                <a:lnTo>
                  <a:pt x="4026" y="208"/>
                </a:lnTo>
                <a:lnTo>
                  <a:pt x="4083" y="4"/>
                </a:lnTo>
                <a:lnTo>
                  <a:pt x="4101" y="4"/>
                </a:lnTo>
                <a:lnTo>
                  <a:pt x="4158" y="208"/>
                </a:lnTo>
                <a:lnTo>
                  <a:pt x="4214" y="4"/>
                </a:lnTo>
                <a:lnTo>
                  <a:pt x="4236" y="4"/>
                </a:lnTo>
                <a:lnTo>
                  <a:pt x="4170" y="236"/>
                </a:lnTo>
                <a:lnTo>
                  <a:pt x="4148" y="236"/>
                </a:lnTo>
                <a:close/>
                <a:moveTo>
                  <a:pt x="4259" y="120"/>
                </a:moveTo>
                <a:lnTo>
                  <a:pt x="4260" y="108"/>
                </a:lnTo>
                <a:lnTo>
                  <a:pt x="4260" y="102"/>
                </a:lnTo>
                <a:lnTo>
                  <a:pt x="4261" y="96"/>
                </a:lnTo>
                <a:lnTo>
                  <a:pt x="4264" y="84"/>
                </a:lnTo>
                <a:lnTo>
                  <a:pt x="4267" y="73"/>
                </a:lnTo>
                <a:lnTo>
                  <a:pt x="4271" y="62"/>
                </a:lnTo>
                <a:lnTo>
                  <a:pt x="4274" y="57"/>
                </a:lnTo>
                <a:lnTo>
                  <a:pt x="4277" y="52"/>
                </a:lnTo>
                <a:lnTo>
                  <a:pt x="4283" y="43"/>
                </a:lnTo>
                <a:lnTo>
                  <a:pt x="4290" y="35"/>
                </a:lnTo>
                <a:lnTo>
                  <a:pt x="4298" y="27"/>
                </a:lnTo>
                <a:lnTo>
                  <a:pt x="4302" y="24"/>
                </a:lnTo>
                <a:lnTo>
                  <a:pt x="4306" y="20"/>
                </a:lnTo>
                <a:lnTo>
                  <a:pt x="4315" y="14"/>
                </a:lnTo>
                <a:lnTo>
                  <a:pt x="4325" y="9"/>
                </a:lnTo>
                <a:lnTo>
                  <a:pt x="4336" y="6"/>
                </a:lnTo>
                <a:lnTo>
                  <a:pt x="4347" y="3"/>
                </a:lnTo>
                <a:lnTo>
                  <a:pt x="4359" y="1"/>
                </a:lnTo>
                <a:lnTo>
                  <a:pt x="4365" y="0"/>
                </a:lnTo>
                <a:lnTo>
                  <a:pt x="4372" y="0"/>
                </a:lnTo>
                <a:lnTo>
                  <a:pt x="4384" y="1"/>
                </a:lnTo>
                <a:lnTo>
                  <a:pt x="4396" y="3"/>
                </a:lnTo>
                <a:lnTo>
                  <a:pt x="4407" y="6"/>
                </a:lnTo>
                <a:lnTo>
                  <a:pt x="4418" y="9"/>
                </a:lnTo>
                <a:lnTo>
                  <a:pt x="4428" y="14"/>
                </a:lnTo>
                <a:lnTo>
                  <a:pt x="4432" y="17"/>
                </a:lnTo>
                <a:lnTo>
                  <a:pt x="4437" y="20"/>
                </a:lnTo>
                <a:lnTo>
                  <a:pt x="4441" y="24"/>
                </a:lnTo>
                <a:lnTo>
                  <a:pt x="4446" y="27"/>
                </a:lnTo>
                <a:lnTo>
                  <a:pt x="4453" y="35"/>
                </a:lnTo>
                <a:lnTo>
                  <a:pt x="4460" y="43"/>
                </a:lnTo>
                <a:lnTo>
                  <a:pt x="4466" y="52"/>
                </a:lnTo>
                <a:lnTo>
                  <a:pt x="4469" y="57"/>
                </a:lnTo>
                <a:lnTo>
                  <a:pt x="4472" y="62"/>
                </a:lnTo>
                <a:lnTo>
                  <a:pt x="4476" y="73"/>
                </a:lnTo>
                <a:lnTo>
                  <a:pt x="4480" y="84"/>
                </a:lnTo>
                <a:lnTo>
                  <a:pt x="4482" y="96"/>
                </a:lnTo>
                <a:lnTo>
                  <a:pt x="4484" y="108"/>
                </a:lnTo>
                <a:lnTo>
                  <a:pt x="4484" y="120"/>
                </a:lnTo>
                <a:lnTo>
                  <a:pt x="4484" y="133"/>
                </a:lnTo>
                <a:lnTo>
                  <a:pt x="4483" y="139"/>
                </a:lnTo>
                <a:lnTo>
                  <a:pt x="4482" y="145"/>
                </a:lnTo>
                <a:lnTo>
                  <a:pt x="4480" y="156"/>
                </a:lnTo>
                <a:lnTo>
                  <a:pt x="4476" y="168"/>
                </a:lnTo>
                <a:lnTo>
                  <a:pt x="4472" y="178"/>
                </a:lnTo>
                <a:lnTo>
                  <a:pt x="4469" y="183"/>
                </a:lnTo>
                <a:lnTo>
                  <a:pt x="4466" y="188"/>
                </a:lnTo>
                <a:lnTo>
                  <a:pt x="4460" y="197"/>
                </a:lnTo>
                <a:lnTo>
                  <a:pt x="4453" y="206"/>
                </a:lnTo>
                <a:lnTo>
                  <a:pt x="4446" y="213"/>
                </a:lnTo>
                <a:lnTo>
                  <a:pt x="4441" y="217"/>
                </a:lnTo>
                <a:lnTo>
                  <a:pt x="4437" y="220"/>
                </a:lnTo>
                <a:lnTo>
                  <a:pt x="4428" y="226"/>
                </a:lnTo>
                <a:lnTo>
                  <a:pt x="4418" y="231"/>
                </a:lnTo>
                <a:lnTo>
                  <a:pt x="4407" y="235"/>
                </a:lnTo>
                <a:lnTo>
                  <a:pt x="4396" y="238"/>
                </a:lnTo>
                <a:lnTo>
                  <a:pt x="4384" y="239"/>
                </a:lnTo>
                <a:lnTo>
                  <a:pt x="4378" y="240"/>
                </a:lnTo>
                <a:lnTo>
                  <a:pt x="4372" y="240"/>
                </a:lnTo>
                <a:lnTo>
                  <a:pt x="4359" y="239"/>
                </a:lnTo>
                <a:lnTo>
                  <a:pt x="4347" y="238"/>
                </a:lnTo>
                <a:lnTo>
                  <a:pt x="4342" y="236"/>
                </a:lnTo>
                <a:lnTo>
                  <a:pt x="4336" y="235"/>
                </a:lnTo>
                <a:lnTo>
                  <a:pt x="4325" y="231"/>
                </a:lnTo>
                <a:lnTo>
                  <a:pt x="4315" y="226"/>
                </a:lnTo>
                <a:lnTo>
                  <a:pt x="4311" y="223"/>
                </a:lnTo>
                <a:lnTo>
                  <a:pt x="4306" y="220"/>
                </a:lnTo>
                <a:lnTo>
                  <a:pt x="4302" y="217"/>
                </a:lnTo>
                <a:lnTo>
                  <a:pt x="4298" y="213"/>
                </a:lnTo>
                <a:lnTo>
                  <a:pt x="4290" y="206"/>
                </a:lnTo>
                <a:lnTo>
                  <a:pt x="4283" y="197"/>
                </a:lnTo>
                <a:lnTo>
                  <a:pt x="4277" y="188"/>
                </a:lnTo>
                <a:lnTo>
                  <a:pt x="4274" y="183"/>
                </a:lnTo>
                <a:lnTo>
                  <a:pt x="4271" y="178"/>
                </a:lnTo>
                <a:lnTo>
                  <a:pt x="4267" y="168"/>
                </a:lnTo>
                <a:lnTo>
                  <a:pt x="4264" y="156"/>
                </a:lnTo>
                <a:lnTo>
                  <a:pt x="4261" y="145"/>
                </a:lnTo>
                <a:lnTo>
                  <a:pt x="4260" y="133"/>
                </a:lnTo>
                <a:lnTo>
                  <a:pt x="4259" y="120"/>
                </a:lnTo>
                <a:close/>
                <a:moveTo>
                  <a:pt x="4463" y="120"/>
                </a:moveTo>
                <a:lnTo>
                  <a:pt x="4463" y="109"/>
                </a:lnTo>
                <a:lnTo>
                  <a:pt x="4462" y="99"/>
                </a:lnTo>
                <a:lnTo>
                  <a:pt x="4460" y="89"/>
                </a:lnTo>
                <a:lnTo>
                  <a:pt x="4457" y="79"/>
                </a:lnTo>
                <a:lnTo>
                  <a:pt x="4453" y="71"/>
                </a:lnTo>
                <a:lnTo>
                  <a:pt x="4449" y="62"/>
                </a:lnTo>
                <a:lnTo>
                  <a:pt x="4444" y="54"/>
                </a:lnTo>
                <a:lnTo>
                  <a:pt x="4438" y="47"/>
                </a:lnTo>
                <a:lnTo>
                  <a:pt x="4432" y="41"/>
                </a:lnTo>
                <a:lnTo>
                  <a:pt x="4425" y="35"/>
                </a:lnTo>
                <a:lnTo>
                  <a:pt x="4418" y="30"/>
                </a:lnTo>
                <a:lnTo>
                  <a:pt x="4409" y="26"/>
                </a:lnTo>
                <a:lnTo>
                  <a:pt x="4401" y="23"/>
                </a:lnTo>
                <a:lnTo>
                  <a:pt x="4392" y="20"/>
                </a:lnTo>
                <a:lnTo>
                  <a:pt x="4382" y="19"/>
                </a:lnTo>
                <a:lnTo>
                  <a:pt x="4372" y="18"/>
                </a:lnTo>
                <a:lnTo>
                  <a:pt x="4361" y="19"/>
                </a:lnTo>
                <a:lnTo>
                  <a:pt x="4352" y="20"/>
                </a:lnTo>
                <a:lnTo>
                  <a:pt x="4342" y="23"/>
                </a:lnTo>
                <a:lnTo>
                  <a:pt x="4334" y="26"/>
                </a:lnTo>
                <a:lnTo>
                  <a:pt x="4330" y="28"/>
                </a:lnTo>
                <a:lnTo>
                  <a:pt x="4326" y="30"/>
                </a:lnTo>
                <a:lnTo>
                  <a:pt x="4318" y="35"/>
                </a:lnTo>
                <a:lnTo>
                  <a:pt x="4311" y="41"/>
                </a:lnTo>
                <a:lnTo>
                  <a:pt x="4305" y="47"/>
                </a:lnTo>
                <a:lnTo>
                  <a:pt x="4299" y="54"/>
                </a:lnTo>
                <a:lnTo>
                  <a:pt x="4294" y="62"/>
                </a:lnTo>
                <a:lnTo>
                  <a:pt x="4290" y="71"/>
                </a:lnTo>
                <a:lnTo>
                  <a:pt x="4286" y="79"/>
                </a:lnTo>
                <a:lnTo>
                  <a:pt x="4284" y="89"/>
                </a:lnTo>
                <a:lnTo>
                  <a:pt x="4282" y="99"/>
                </a:lnTo>
                <a:lnTo>
                  <a:pt x="4280" y="109"/>
                </a:lnTo>
                <a:lnTo>
                  <a:pt x="4280" y="120"/>
                </a:lnTo>
                <a:lnTo>
                  <a:pt x="4280" y="131"/>
                </a:lnTo>
                <a:lnTo>
                  <a:pt x="4282" y="141"/>
                </a:lnTo>
                <a:lnTo>
                  <a:pt x="4284" y="151"/>
                </a:lnTo>
                <a:lnTo>
                  <a:pt x="4286" y="161"/>
                </a:lnTo>
                <a:lnTo>
                  <a:pt x="4290" y="170"/>
                </a:lnTo>
                <a:lnTo>
                  <a:pt x="4294" y="178"/>
                </a:lnTo>
                <a:lnTo>
                  <a:pt x="4299" y="186"/>
                </a:lnTo>
                <a:lnTo>
                  <a:pt x="4305" y="193"/>
                </a:lnTo>
                <a:lnTo>
                  <a:pt x="4311" y="199"/>
                </a:lnTo>
                <a:lnTo>
                  <a:pt x="4318" y="205"/>
                </a:lnTo>
                <a:lnTo>
                  <a:pt x="4326" y="210"/>
                </a:lnTo>
                <a:lnTo>
                  <a:pt x="4334" y="214"/>
                </a:lnTo>
                <a:lnTo>
                  <a:pt x="4342" y="218"/>
                </a:lnTo>
                <a:lnTo>
                  <a:pt x="4352" y="220"/>
                </a:lnTo>
                <a:lnTo>
                  <a:pt x="4361" y="222"/>
                </a:lnTo>
                <a:lnTo>
                  <a:pt x="4372" y="222"/>
                </a:lnTo>
                <a:lnTo>
                  <a:pt x="4382" y="222"/>
                </a:lnTo>
                <a:lnTo>
                  <a:pt x="4392" y="220"/>
                </a:lnTo>
                <a:lnTo>
                  <a:pt x="4401" y="218"/>
                </a:lnTo>
                <a:lnTo>
                  <a:pt x="4409" y="214"/>
                </a:lnTo>
                <a:lnTo>
                  <a:pt x="4418" y="210"/>
                </a:lnTo>
                <a:lnTo>
                  <a:pt x="4425" y="205"/>
                </a:lnTo>
                <a:lnTo>
                  <a:pt x="4432" y="199"/>
                </a:lnTo>
                <a:lnTo>
                  <a:pt x="4438" y="193"/>
                </a:lnTo>
                <a:lnTo>
                  <a:pt x="4444" y="186"/>
                </a:lnTo>
                <a:lnTo>
                  <a:pt x="4449" y="178"/>
                </a:lnTo>
                <a:lnTo>
                  <a:pt x="4453" y="170"/>
                </a:lnTo>
                <a:lnTo>
                  <a:pt x="4457" y="161"/>
                </a:lnTo>
                <a:lnTo>
                  <a:pt x="4460" y="151"/>
                </a:lnTo>
                <a:lnTo>
                  <a:pt x="4462" y="141"/>
                </a:lnTo>
                <a:lnTo>
                  <a:pt x="4463" y="131"/>
                </a:lnTo>
                <a:lnTo>
                  <a:pt x="4463" y="120"/>
                </a:lnTo>
                <a:close/>
                <a:moveTo>
                  <a:pt x="4671" y="236"/>
                </a:moveTo>
                <a:lnTo>
                  <a:pt x="4606" y="140"/>
                </a:lnTo>
                <a:lnTo>
                  <a:pt x="4555" y="140"/>
                </a:lnTo>
                <a:lnTo>
                  <a:pt x="4555" y="236"/>
                </a:lnTo>
                <a:lnTo>
                  <a:pt x="4535" y="236"/>
                </a:lnTo>
                <a:lnTo>
                  <a:pt x="4535" y="4"/>
                </a:lnTo>
                <a:lnTo>
                  <a:pt x="4622" y="4"/>
                </a:lnTo>
                <a:lnTo>
                  <a:pt x="4629" y="4"/>
                </a:lnTo>
                <a:lnTo>
                  <a:pt x="4636" y="5"/>
                </a:lnTo>
                <a:lnTo>
                  <a:pt x="4643" y="7"/>
                </a:lnTo>
                <a:lnTo>
                  <a:pt x="4649" y="9"/>
                </a:lnTo>
                <a:lnTo>
                  <a:pt x="4656" y="11"/>
                </a:lnTo>
                <a:lnTo>
                  <a:pt x="4661" y="14"/>
                </a:lnTo>
                <a:lnTo>
                  <a:pt x="4667" y="18"/>
                </a:lnTo>
                <a:lnTo>
                  <a:pt x="4672" y="22"/>
                </a:lnTo>
                <a:lnTo>
                  <a:pt x="4676" y="27"/>
                </a:lnTo>
                <a:lnTo>
                  <a:pt x="4680" y="32"/>
                </a:lnTo>
                <a:lnTo>
                  <a:pt x="4684" y="37"/>
                </a:lnTo>
                <a:lnTo>
                  <a:pt x="4687" y="43"/>
                </a:lnTo>
                <a:lnTo>
                  <a:pt x="4689" y="50"/>
                </a:lnTo>
                <a:lnTo>
                  <a:pt x="4691" y="57"/>
                </a:lnTo>
                <a:lnTo>
                  <a:pt x="4692" y="64"/>
                </a:lnTo>
                <a:lnTo>
                  <a:pt x="4692" y="72"/>
                </a:lnTo>
                <a:lnTo>
                  <a:pt x="4692" y="80"/>
                </a:lnTo>
                <a:lnTo>
                  <a:pt x="4691" y="87"/>
                </a:lnTo>
                <a:lnTo>
                  <a:pt x="4689" y="94"/>
                </a:lnTo>
                <a:lnTo>
                  <a:pt x="4687" y="100"/>
                </a:lnTo>
                <a:lnTo>
                  <a:pt x="4684" y="106"/>
                </a:lnTo>
                <a:lnTo>
                  <a:pt x="4681" y="111"/>
                </a:lnTo>
                <a:lnTo>
                  <a:pt x="4677" y="116"/>
                </a:lnTo>
                <a:lnTo>
                  <a:pt x="4673" y="120"/>
                </a:lnTo>
                <a:lnTo>
                  <a:pt x="4668" y="124"/>
                </a:lnTo>
                <a:lnTo>
                  <a:pt x="4663" y="128"/>
                </a:lnTo>
                <a:lnTo>
                  <a:pt x="4658" y="131"/>
                </a:lnTo>
                <a:lnTo>
                  <a:pt x="4652" y="133"/>
                </a:lnTo>
                <a:lnTo>
                  <a:pt x="4647" y="136"/>
                </a:lnTo>
                <a:lnTo>
                  <a:pt x="4641" y="137"/>
                </a:lnTo>
                <a:lnTo>
                  <a:pt x="4628" y="139"/>
                </a:lnTo>
                <a:lnTo>
                  <a:pt x="4695" y="236"/>
                </a:lnTo>
                <a:lnTo>
                  <a:pt x="4671" y="236"/>
                </a:lnTo>
                <a:close/>
                <a:moveTo>
                  <a:pt x="4671" y="72"/>
                </a:moveTo>
                <a:lnTo>
                  <a:pt x="4671" y="67"/>
                </a:lnTo>
                <a:lnTo>
                  <a:pt x="4670" y="61"/>
                </a:lnTo>
                <a:lnTo>
                  <a:pt x="4669" y="56"/>
                </a:lnTo>
                <a:lnTo>
                  <a:pt x="4668" y="52"/>
                </a:lnTo>
                <a:lnTo>
                  <a:pt x="4666" y="47"/>
                </a:lnTo>
                <a:lnTo>
                  <a:pt x="4663" y="43"/>
                </a:lnTo>
                <a:lnTo>
                  <a:pt x="4660" y="40"/>
                </a:lnTo>
                <a:lnTo>
                  <a:pt x="4657" y="36"/>
                </a:lnTo>
                <a:lnTo>
                  <a:pt x="4654" y="33"/>
                </a:lnTo>
                <a:lnTo>
                  <a:pt x="4650" y="30"/>
                </a:lnTo>
                <a:lnTo>
                  <a:pt x="4645" y="28"/>
                </a:lnTo>
                <a:lnTo>
                  <a:pt x="4641" y="26"/>
                </a:lnTo>
                <a:lnTo>
                  <a:pt x="4636" y="24"/>
                </a:lnTo>
                <a:lnTo>
                  <a:pt x="4631" y="23"/>
                </a:lnTo>
                <a:lnTo>
                  <a:pt x="4625" y="22"/>
                </a:lnTo>
                <a:lnTo>
                  <a:pt x="4620" y="22"/>
                </a:lnTo>
                <a:lnTo>
                  <a:pt x="4555" y="22"/>
                </a:lnTo>
                <a:lnTo>
                  <a:pt x="4555" y="122"/>
                </a:lnTo>
                <a:lnTo>
                  <a:pt x="4620" y="122"/>
                </a:lnTo>
                <a:lnTo>
                  <a:pt x="4625" y="122"/>
                </a:lnTo>
                <a:lnTo>
                  <a:pt x="4631" y="121"/>
                </a:lnTo>
                <a:lnTo>
                  <a:pt x="4636" y="120"/>
                </a:lnTo>
                <a:lnTo>
                  <a:pt x="4641" y="118"/>
                </a:lnTo>
                <a:lnTo>
                  <a:pt x="4645" y="116"/>
                </a:lnTo>
                <a:lnTo>
                  <a:pt x="4650" y="114"/>
                </a:lnTo>
                <a:lnTo>
                  <a:pt x="4654" y="111"/>
                </a:lnTo>
                <a:lnTo>
                  <a:pt x="4657" y="108"/>
                </a:lnTo>
                <a:lnTo>
                  <a:pt x="4660" y="104"/>
                </a:lnTo>
                <a:lnTo>
                  <a:pt x="4663" y="101"/>
                </a:lnTo>
                <a:lnTo>
                  <a:pt x="4666" y="96"/>
                </a:lnTo>
                <a:lnTo>
                  <a:pt x="4668" y="92"/>
                </a:lnTo>
                <a:lnTo>
                  <a:pt x="4668" y="90"/>
                </a:lnTo>
                <a:lnTo>
                  <a:pt x="4669" y="87"/>
                </a:lnTo>
                <a:lnTo>
                  <a:pt x="4670" y="82"/>
                </a:lnTo>
                <a:lnTo>
                  <a:pt x="4671" y="77"/>
                </a:lnTo>
                <a:lnTo>
                  <a:pt x="4671" y="72"/>
                </a:lnTo>
                <a:close/>
                <a:moveTo>
                  <a:pt x="4738" y="236"/>
                </a:moveTo>
                <a:lnTo>
                  <a:pt x="4738" y="4"/>
                </a:lnTo>
                <a:lnTo>
                  <a:pt x="4758" y="4"/>
                </a:lnTo>
                <a:lnTo>
                  <a:pt x="4758" y="218"/>
                </a:lnTo>
                <a:lnTo>
                  <a:pt x="4870" y="218"/>
                </a:lnTo>
                <a:lnTo>
                  <a:pt x="4870" y="236"/>
                </a:lnTo>
                <a:lnTo>
                  <a:pt x="4738" y="236"/>
                </a:lnTo>
                <a:close/>
                <a:moveTo>
                  <a:pt x="4909" y="236"/>
                </a:moveTo>
                <a:lnTo>
                  <a:pt x="4909" y="4"/>
                </a:lnTo>
                <a:lnTo>
                  <a:pt x="4983" y="4"/>
                </a:lnTo>
                <a:lnTo>
                  <a:pt x="4996" y="5"/>
                </a:lnTo>
                <a:lnTo>
                  <a:pt x="5009" y="6"/>
                </a:lnTo>
                <a:lnTo>
                  <a:pt x="5015" y="8"/>
                </a:lnTo>
                <a:lnTo>
                  <a:pt x="5021" y="9"/>
                </a:lnTo>
                <a:lnTo>
                  <a:pt x="5032" y="13"/>
                </a:lnTo>
                <a:lnTo>
                  <a:pt x="5037" y="16"/>
                </a:lnTo>
                <a:lnTo>
                  <a:pt x="5042" y="18"/>
                </a:lnTo>
                <a:lnTo>
                  <a:pt x="5052" y="24"/>
                </a:lnTo>
                <a:lnTo>
                  <a:pt x="5056" y="27"/>
                </a:lnTo>
                <a:lnTo>
                  <a:pt x="5061" y="31"/>
                </a:lnTo>
                <a:lnTo>
                  <a:pt x="5069" y="38"/>
                </a:lnTo>
                <a:lnTo>
                  <a:pt x="5076" y="47"/>
                </a:lnTo>
                <a:lnTo>
                  <a:pt x="5079" y="51"/>
                </a:lnTo>
                <a:lnTo>
                  <a:pt x="5082" y="56"/>
                </a:lnTo>
                <a:lnTo>
                  <a:pt x="5088" y="65"/>
                </a:lnTo>
                <a:lnTo>
                  <a:pt x="5090" y="70"/>
                </a:lnTo>
                <a:lnTo>
                  <a:pt x="5092" y="75"/>
                </a:lnTo>
                <a:lnTo>
                  <a:pt x="5096" y="86"/>
                </a:lnTo>
                <a:lnTo>
                  <a:pt x="5098" y="97"/>
                </a:lnTo>
                <a:lnTo>
                  <a:pt x="5099" y="103"/>
                </a:lnTo>
                <a:lnTo>
                  <a:pt x="5100" y="108"/>
                </a:lnTo>
                <a:lnTo>
                  <a:pt x="5100" y="120"/>
                </a:lnTo>
                <a:lnTo>
                  <a:pt x="5100" y="132"/>
                </a:lnTo>
                <a:lnTo>
                  <a:pt x="5099" y="138"/>
                </a:lnTo>
                <a:lnTo>
                  <a:pt x="5098" y="144"/>
                </a:lnTo>
                <a:lnTo>
                  <a:pt x="5096" y="155"/>
                </a:lnTo>
                <a:lnTo>
                  <a:pt x="5092" y="165"/>
                </a:lnTo>
                <a:lnTo>
                  <a:pt x="5090" y="171"/>
                </a:lnTo>
                <a:lnTo>
                  <a:pt x="5088" y="176"/>
                </a:lnTo>
                <a:lnTo>
                  <a:pt x="5082" y="185"/>
                </a:lnTo>
                <a:lnTo>
                  <a:pt x="5076" y="194"/>
                </a:lnTo>
                <a:lnTo>
                  <a:pt x="5069" y="202"/>
                </a:lnTo>
                <a:lnTo>
                  <a:pt x="5061" y="210"/>
                </a:lnTo>
                <a:lnTo>
                  <a:pt x="5052" y="216"/>
                </a:lnTo>
                <a:lnTo>
                  <a:pt x="5042" y="222"/>
                </a:lnTo>
                <a:lnTo>
                  <a:pt x="5037" y="225"/>
                </a:lnTo>
                <a:lnTo>
                  <a:pt x="5032" y="227"/>
                </a:lnTo>
                <a:lnTo>
                  <a:pt x="5026" y="229"/>
                </a:lnTo>
                <a:lnTo>
                  <a:pt x="5021" y="231"/>
                </a:lnTo>
                <a:lnTo>
                  <a:pt x="5009" y="234"/>
                </a:lnTo>
                <a:lnTo>
                  <a:pt x="4996" y="235"/>
                </a:lnTo>
                <a:lnTo>
                  <a:pt x="4990" y="236"/>
                </a:lnTo>
                <a:lnTo>
                  <a:pt x="4983" y="236"/>
                </a:lnTo>
                <a:lnTo>
                  <a:pt x="4909" y="236"/>
                </a:lnTo>
                <a:close/>
                <a:moveTo>
                  <a:pt x="5080" y="120"/>
                </a:moveTo>
                <a:lnTo>
                  <a:pt x="5079" y="110"/>
                </a:lnTo>
                <a:lnTo>
                  <a:pt x="5078" y="100"/>
                </a:lnTo>
                <a:lnTo>
                  <a:pt x="5076" y="91"/>
                </a:lnTo>
                <a:lnTo>
                  <a:pt x="5073" y="82"/>
                </a:lnTo>
                <a:lnTo>
                  <a:pt x="5070" y="73"/>
                </a:lnTo>
                <a:lnTo>
                  <a:pt x="5065" y="65"/>
                </a:lnTo>
                <a:lnTo>
                  <a:pt x="5060" y="58"/>
                </a:lnTo>
                <a:lnTo>
                  <a:pt x="5054" y="51"/>
                </a:lnTo>
                <a:lnTo>
                  <a:pt x="5048" y="45"/>
                </a:lnTo>
                <a:lnTo>
                  <a:pt x="5041" y="39"/>
                </a:lnTo>
                <a:lnTo>
                  <a:pt x="5033" y="34"/>
                </a:lnTo>
                <a:lnTo>
                  <a:pt x="5029" y="32"/>
                </a:lnTo>
                <a:lnTo>
                  <a:pt x="5024" y="30"/>
                </a:lnTo>
                <a:lnTo>
                  <a:pt x="5015" y="27"/>
                </a:lnTo>
                <a:lnTo>
                  <a:pt x="5005" y="24"/>
                </a:lnTo>
                <a:lnTo>
                  <a:pt x="4995" y="23"/>
                </a:lnTo>
                <a:lnTo>
                  <a:pt x="4983" y="22"/>
                </a:lnTo>
                <a:lnTo>
                  <a:pt x="4929" y="22"/>
                </a:lnTo>
                <a:lnTo>
                  <a:pt x="4929" y="218"/>
                </a:lnTo>
                <a:lnTo>
                  <a:pt x="4983" y="218"/>
                </a:lnTo>
                <a:lnTo>
                  <a:pt x="4994" y="217"/>
                </a:lnTo>
                <a:lnTo>
                  <a:pt x="5000" y="217"/>
                </a:lnTo>
                <a:lnTo>
                  <a:pt x="5005" y="216"/>
                </a:lnTo>
                <a:lnTo>
                  <a:pt x="5015" y="213"/>
                </a:lnTo>
                <a:lnTo>
                  <a:pt x="5024" y="210"/>
                </a:lnTo>
                <a:lnTo>
                  <a:pt x="5033" y="206"/>
                </a:lnTo>
                <a:lnTo>
                  <a:pt x="5041" y="201"/>
                </a:lnTo>
                <a:lnTo>
                  <a:pt x="5048" y="196"/>
                </a:lnTo>
                <a:lnTo>
                  <a:pt x="5054" y="189"/>
                </a:lnTo>
                <a:lnTo>
                  <a:pt x="5060" y="182"/>
                </a:lnTo>
                <a:lnTo>
                  <a:pt x="5065" y="175"/>
                </a:lnTo>
                <a:lnTo>
                  <a:pt x="5070" y="167"/>
                </a:lnTo>
                <a:lnTo>
                  <a:pt x="5073" y="158"/>
                </a:lnTo>
                <a:lnTo>
                  <a:pt x="5076" y="149"/>
                </a:lnTo>
                <a:lnTo>
                  <a:pt x="5078" y="140"/>
                </a:lnTo>
                <a:lnTo>
                  <a:pt x="5079" y="130"/>
                </a:lnTo>
                <a:lnTo>
                  <a:pt x="5080" y="120"/>
                </a:lnTo>
                <a:close/>
                <a:moveTo>
                  <a:pt x="829" y="538"/>
                </a:moveTo>
                <a:lnTo>
                  <a:pt x="830" y="525"/>
                </a:lnTo>
                <a:lnTo>
                  <a:pt x="832" y="513"/>
                </a:lnTo>
                <a:lnTo>
                  <a:pt x="835" y="501"/>
                </a:lnTo>
                <a:lnTo>
                  <a:pt x="838" y="489"/>
                </a:lnTo>
                <a:lnTo>
                  <a:pt x="841" y="484"/>
                </a:lnTo>
                <a:lnTo>
                  <a:pt x="843" y="479"/>
                </a:lnTo>
                <a:lnTo>
                  <a:pt x="849" y="469"/>
                </a:lnTo>
                <a:lnTo>
                  <a:pt x="853" y="464"/>
                </a:lnTo>
                <a:lnTo>
                  <a:pt x="857" y="460"/>
                </a:lnTo>
                <a:lnTo>
                  <a:pt x="864" y="452"/>
                </a:lnTo>
                <a:lnTo>
                  <a:pt x="873" y="444"/>
                </a:lnTo>
                <a:lnTo>
                  <a:pt x="882" y="437"/>
                </a:lnTo>
                <a:lnTo>
                  <a:pt x="891" y="432"/>
                </a:lnTo>
                <a:lnTo>
                  <a:pt x="902" y="427"/>
                </a:lnTo>
                <a:lnTo>
                  <a:pt x="913" y="423"/>
                </a:lnTo>
                <a:lnTo>
                  <a:pt x="924" y="421"/>
                </a:lnTo>
                <a:lnTo>
                  <a:pt x="936" y="419"/>
                </a:lnTo>
                <a:lnTo>
                  <a:pt x="948" y="418"/>
                </a:lnTo>
                <a:lnTo>
                  <a:pt x="961" y="419"/>
                </a:lnTo>
                <a:lnTo>
                  <a:pt x="968" y="420"/>
                </a:lnTo>
                <a:lnTo>
                  <a:pt x="974" y="421"/>
                </a:lnTo>
                <a:lnTo>
                  <a:pt x="986" y="425"/>
                </a:lnTo>
                <a:lnTo>
                  <a:pt x="997" y="430"/>
                </a:lnTo>
                <a:lnTo>
                  <a:pt x="1002" y="432"/>
                </a:lnTo>
                <a:lnTo>
                  <a:pt x="1007" y="436"/>
                </a:lnTo>
                <a:lnTo>
                  <a:pt x="1016" y="443"/>
                </a:lnTo>
                <a:lnTo>
                  <a:pt x="1025" y="450"/>
                </a:lnTo>
                <a:lnTo>
                  <a:pt x="1032" y="459"/>
                </a:lnTo>
                <a:lnTo>
                  <a:pt x="1016" y="470"/>
                </a:lnTo>
                <a:lnTo>
                  <a:pt x="1013" y="466"/>
                </a:lnTo>
                <a:lnTo>
                  <a:pt x="1010" y="463"/>
                </a:lnTo>
                <a:lnTo>
                  <a:pt x="1003" y="456"/>
                </a:lnTo>
                <a:lnTo>
                  <a:pt x="995" y="451"/>
                </a:lnTo>
                <a:lnTo>
                  <a:pt x="987" y="446"/>
                </a:lnTo>
                <a:lnTo>
                  <a:pt x="978" y="442"/>
                </a:lnTo>
                <a:lnTo>
                  <a:pt x="973" y="440"/>
                </a:lnTo>
                <a:lnTo>
                  <a:pt x="968" y="439"/>
                </a:lnTo>
                <a:lnTo>
                  <a:pt x="963" y="438"/>
                </a:lnTo>
                <a:lnTo>
                  <a:pt x="958" y="437"/>
                </a:lnTo>
                <a:lnTo>
                  <a:pt x="953" y="437"/>
                </a:lnTo>
                <a:lnTo>
                  <a:pt x="948" y="436"/>
                </a:lnTo>
                <a:lnTo>
                  <a:pt x="938" y="437"/>
                </a:lnTo>
                <a:lnTo>
                  <a:pt x="928" y="438"/>
                </a:lnTo>
                <a:lnTo>
                  <a:pt x="923" y="439"/>
                </a:lnTo>
                <a:lnTo>
                  <a:pt x="919" y="441"/>
                </a:lnTo>
                <a:lnTo>
                  <a:pt x="910" y="444"/>
                </a:lnTo>
                <a:lnTo>
                  <a:pt x="901" y="448"/>
                </a:lnTo>
                <a:lnTo>
                  <a:pt x="893" y="453"/>
                </a:lnTo>
                <a:lnTo>
                  <a:pt x="886" y="458"/>
                </a:lnTo>
                <a:lnTo>
                  <a:pt x="883" y="461"/>
                </a:lnTo>
                <a:lnTo>
                  <a:pt x="879" y="465"/>
                </a:lnTo>
                <a:lnTo>
                  <a:pt x="873" y="472"/>
                </a:lnTo>
                <a:lnTo>
                  <a:pt x="867" y="479"/>
                </a:lnTo>
                <a:lnTo>
                  <a:pt x="863" y="488"/>
                </a:lnTo>
                <a:lnTo>
                  <a:pt x="859" y="497"/>
                </a:lnTo>
                <a:lnTo>
                  <a:pt x="855" y="506"/>
                </a:lnTo>
                <a:lnTo>
                  <a:pt x="853" y="516"/>
                </a:lnTo>
                <a:lnTo>
                  <a:pt x="852" y="527"/>
                </a:lnTo>
                <a:lnTo>
                  <a:pt x="851" y="538"/>
                </a:lnTo>
                <a:lnTo>
                  <a:pt x="852" y="549"/>
                </a:lnTo>
                <a:lnTo>
                  <a:pt x="853" y="560"/>
                </a:lnTo>
                <a:lnTo>
                  <a:pt x="855" y="570"/>
                </a:lnTo>
                <a:lnTo>
                  <a:pt x="859" y="579"/>
                </a:lnTo>
                <a:lnTo>
                  <a:pt x="863" y="588"/>
                </a:lnTo>
                <a:lnTo>
                  <a:pt x="867" y="597"/>
                </a:lnTo>
                <a:lnTo>
                  <a:pt x="873" y="604"/>
                </a:lnTo>
                <a:lnTo>
                  <a:pt x="879" y="612"/>
                </a:lnTo>
                <a:lnTo>
                  <a:pt x="886" y="618"/>
                </a:lnTo>
                <a:lnTo>
                  <a:pt x="890" y="621"/>
                </a:lnTo>
                <a:lnTo>
                  <a:pt x="893" y="624"/>
                </a:lnTo>
                <a:lnTo>
                  <a:pt x="901" y="628"/>
                </a:lnTo>
                <a:lnTo>
                  <a:pt x="910" y="633"/>
                </a:lnTo>
                <a:lnTo>
                  <a:pt x="919" y="636"/>
                </a:lnTo>
                <a:lnTo>
                  <a:pt x="928" y="638"/>
                </a:lnTo>
                <a:lnTo>
                  <a:pt x="938" y="640"/>
                </a:lnTo>
                <a:lnTo>
                  <a:pt x="948" y="640"/>
                </a:lnTo>
                <a:lnTo>
                  <a:pt x="958" y="639"/>
                </a:lnTo>
                <a:lnTo>
                  <a:pt x="968" y="638"/>
                </a:lnTo>
                <a:lnTo>
                  <a:pt x="973" y="636"/>
                </a:lnTo>
                <a:lnTo>
                  <a:pt x="978" y="635"/>
                </a:lnTo>
                <a:lnTo>
                  <a:pt x="987" y="631"/>
                </a:lnTo>
                <a:lnTo>
                  <a:pt x="991" y="628"/>
                </a:lnTo>
                <a:lnTo>
                  <a:pt x="995" y="626"/>
                </a:lnTo>
                <a:lnTo>
                  <a:pt x="1003" y="620"/>
                </a:lnTo>
                <a:lnTo>
                  <a:pt x="1010" y="614"/>
                </a:lnTo>
                <a:lnTo>
                  <a:pt x="1013" y="610"/>
                </a:lnTo>
                <a:lnTo>
                  <a:pt x="1016" y="606"/>
                </a:lnTo>
                <a:lnTo>
                  <a:pt x="1033" y="617"/>
                </a:lnTo>
                <a:lnTo>
                  <a:pt x="1029" y="621"/>
                </a:lnTo>
                <a:lnTo>
                  <a:pt x="1024" y="626"/>
                </a:lnTo>
                <a:lnTo>
                  <a:pt x="1016" y="634"/>
                </a:lnTo>
                <a:lnTo>
                  <a:pt x="1011" y="638"/>
                </a:lnTo>
                <a:lnTo>
                  <a:pt x="1006" y="641"/>
                </a:lnTo>
                <a:lnTo>
                  <a:pt x="996" y="647"/>
                </a:lnTo>
                <a:lnTo>
                  <a:pt x="991" y="649"/>
                </a:lnTo>
                <a:lnTo>
                  <a:pt x="985" y="652"/>
                </a:lnTo>
                <a:lnTo>
                  <a:pt x="980" y="654"/>
                </a:lnTo>
                <a:lnTo>
                  <a:pt x="974" y="655"/>
                </a:lnTo>
                <a:lnTo>
                  <a:pt x="968" y="656"/>
                </a:lnTo>
                <a:lnTo>
                  <a:pt x="961" y="657"/>
                </a:lnTo>
                <a:lnTo>
                  <a:pt x="948" y="658"/>
                </a:lnTo>
                <a:lnTo>
                  <a:pt x="936" y="658"/>
                </a:lnTo>
                <a:lnTo>
                  <a:pt x="930" y="657"/>
                </a:lnTo>
                <a:lnTo>
                  <a:pt x="924" y="656"/>
                </a:lnTo>
                <a:lnTo>
                  <a:pt x="913" y="653"/>
                </a:lnTo>
                <a:lnTo>
                  <a:pt x="907" y="651"/>
                </a:lnTo>
                <a:lnTo>
                  <a:pt x="902" y="649"/>
                </a:lnTo>
                <a:lnTo>
                  <a:pt x="891" y="645"/>
                </a:lnTo>
                <a:lnTo>
                  <a:pt x="882" y="639"/>
                </a:lnTo>
                <a:lnTo>
                  <a:pt x="873" y="632"/>
                </a:lnTo>
                <a:lnTo>
                  <a:pt x="869" y="629"/>
                </a:lnTo>
                <a:lnTo>
                  <a:pt x="864" y="625"/>
                </a:lnTo>
                <a:lnTo>
                  <a:pt x="857" y="617"/>
                </a:lnTo>
                <a:lnTo>
                  <a:pt x="849" y="607"/>
                </a:lnTo>
                <a:lnTo>
                  <a:pt x="843" y="598"/>
                </a:lnTo>
                <a:lnTo>
                  <a:pt x="838" y="587"/>
                </a:lnTo>
                <a:lnTo>
                  <a:pt x="835" y="576"/>
                </a:lnTo>
                <a:lnTo>
                  <a:pt x="833" y="570"/>
                </a:lnTo>
                <a:lnTo>
                  <a:pt x="832" y="564"/>
                </a:lnTo>
                <a:lnTo>
                  <a:pt x="830" y="551"/>
                </a:lnTo>
                <a:lnTo>
                  <a:pt x="830" y="545"/>
                </a:lnTo>
                <a:lnTo>
                  <a:pt x="829" y="538"/>
                </a:lnTo>
                <a:close/>
                <a:moveTo>
                  <a:pt x="1068" y="654"/>
                </a:moveTo>
                <a:lnTo>
                  <a:pt x="1068" y="422"/>
                </a:lnTo>
                <a:lnTo>
                  <a:pt x="1088" y="422"/>
                </a:lnTo>
                <a:lnTo>
                  <a:pt x="1088" y="636"/>
                </a:lnTo>
                <a:lnTo>
                  <a:pt x="1200" y="636"/>
                </a:lnTo>
                <a:lnTo>
                  <a:pt x="1200" y="654"/>
                </a:lnTo>
                <a:lnTo>
                  <a:pt x="1068" y="654"/>
                </a:lnTo>
                <a:close/>
                <a:moveTo>
                  <a:pt x="1239" y="654"/>
                </a:moveTo>
                <a:lnTo>
                  <a:pt x="1239" y="422"/>
                </a:lnTo>
                <a:lnTo>
                  <a:pt x="1386" y="422"/>
                </a:lnTo>
                <a:lnTo>
                  <a:pt x="1386" y="440"/>
                </a:lnTo>
                <a:lnTo>
                  <a:pt x="1259" y="440"/>
                </a:lnTo>
                <a:lnTo>
                  <a:pt x="1259" y="526"/>
                </a:lnTo>
                <a:lnTo>
                  <a:pt x="1384" y="526"/>
                </a:lnTo>
                <a:lnTo>
                  <a:pt x="1384" y="544"/>
                </a:lnTo>
                <a:lnTo>
                  <a:pt x="1259" y="544"/>
                </a:lnTo>
                <a:lnTo>
                  <a:pt x="1259" y="636"/>
                </a:lnTo>
                <a:lnTo>
                  <a:pt x="1386" y="636"/>
                </a:lnTo>
                <a:lnTo>
                  <a:pt x="1386" y="654"/>
                </a:lnTo>
                <a:lnTo>
                  <a:pt x="1239" y="654"/>
                </a:lnTo>
                <a:close/>
                <a:moveTo>
                  <a:pt x="1610" y="654"/>
                </a:moveTo>
                <a:lnTo>
                  <a:pt x="1587" y="597"/>
                </a:lnTo>
                <a:lnTo>
                  <a:pt x="1465" y="597"/>
                </a:lnTo>
                <a:lnTo>
                  <a:pt x="1442" y="654"/>
                </a:lnTo>
                <a:lnTo>
                  <a:pt x="1419" y="654"/>
                </a:lnTo>
                <a:lnTo>
                  <a:pt x="1514" y="422"/>
                </a:lnTo>
                <a:lnTo>
                  <a:pt x="1538" y="422"/>
                </a:lnTo>
                <a:lnTo>
                  <a:pt x="1633" y="654"/>
                </a:lnTo>
                <a:lnTo>
                  <a:pt x="1610" y="654"/>
                </a:lnTo>
                <a:close/>
                <a:moveTo>
                  <a:pt x="1526" y="443"/>
                </a:moveTo>
                <a:lnTo>
                  <a:pt x="1471" y="579"/>
                </a:lnTo>
                <a:lnTo>
                  <a:pt x="1581" y="579"/>
                </a:lnTo>
                <a:lnTo>
                  <a:pt x="1526" y="443"/>
                </a:lnTo>
                <a:close/>
                <a:moveTo>
                  <a:pt x="1836" y="654"/>
                </a:moveTo>
                <a:lnTo>
                  <a:pt x="1690" y="455"/>
                </a:lnTo>
                <a:lnTo>
                  <a:pt x="1690" y="654"/>
                </a:lnTo>
                <a:lnTo>
                  <a:pt x="1670" y="654"/>
                </a:lnTo>
                <a:lnTo>
                  <a:pt x="1670" y="422"/>
                </a:lnTo>
                <a:lnTo>
                  <a:pt x="1690" y="422"/>
                </a:lnTo>
                <a:lnTo>
                  <a:pt x="1835" y="619"/>
                </a:lnTo>
                <a:lnTo>
                  <a:pt x="1835" y="422"/>
                </a:lnTo>
                <a:lnTo>
                  <a:pt x="1855" y="422"/>
                </a:lnTo>
                <a:lnTo>
                  <a:pt x="1855" y="654"/>
                </a:lnTo>
                <a:lnTo>
                  <a:pt x="1836" y="654"/>
                </a:lnTo>
                <a:close/>
                <a:moveTo>
                  <a:pt x="1917" y="654"/>
                </a:moveTo>
                <a:lnTo>
                  <a:pt x="1917" y="422"/>
                </a:lnTo>
                <a:lnTo>
                  <a:pt x="2064" y="422"/>
                </a:lnTo>
                <a:lnTo>
                  <a:pt x="2064" y="440"/>
                </a:lnTo>
                <a:lnTo>
                  <a:pt x="1937" y="440"/>
                </a:lnTo>
                <a:lnTo>
                  <a:pt x="1937" y="526"/>
                </a:lnTo>
                <a:lnTo>
                  <a:pt x="2061" y="526"/>
                </a:lnTo>
                <a:lnTo>
                  <a:pt x="2061" y="544"/>
                </a:lnTo>
                <a:lnTo>
                  <a:pt x="1937" y="544"/>
                </a:lnTo>
                <a:lnTo>
                  <a:pt x="1937" y="636"/>
                </a:lnTo>
                <a:lnTo>
                  <a:pt x="2064" y="636"/>
                </a:lnTo>
                <a:lnTo>
                  <a:pt x="2064" y="654"/>
                </a:lnTo>
                <a:lnTo>
                  <a:pt x="1917" y="654"/>
                </a:lnTo>
                <a:close/>
                <a:moveTo>
                  <a:pt x="2248" y="654"/>
                </a:moveTo>
                <a:lnTo>
                  <a:pt x="2183" y="558"/>
                </a:lnTo>
                <a:lnTo>
                  <a:pt x="2132" y="558"/>
                </a:lnTo>
                <a:lnTo>
                  <a:pt x="2132" y="654"/>
                </a:lnTo>
                <a:lnTo>
                  <a:pt x="2112" y="654"/>
                </a:lnTo>
                <a:lnTo>
                  <a:pt x="2112" y="422"/>
                </a:lnTo>
                <a:lnTo>
                  <a:pt x="2199" y="422"/>
                </a:lnTo>
                <a:lnTo>
                  <a:pt x="2206" y="422"/>
                </a:lnTo>
                <a:lnTo>
                  <a:pt x="2213" y="423"/>
                </a:lnTo>
                <a:lnTo>
                  <a:pt x="2220" y="425"/>
                </a:lnTo>
                <a:lnTo>
                  <a:pt x="2227" y="427"/>
                </a:lnTo>
                <a:lnTo>
                  <a:pt x="2233" y="429"/>
                </a:lnTo>
                <a:lnTo>
                  <a:pt x="2239" y="432"/>
                </a:lnTo>
                <a:lnTo>
                  <a:pt x="2244" y="436"/>
                </a:lnTo>
                <a:lnTo>
                  <a:pt x="2249" y="440"/>
                </a:lnTo>
                <a:lnTo>
                  <a:pt x="2254" y="445"/>
                </a:lnTo>
                <a:lnTo>
                  <a:pt x="2258" y="450"/>
                </a:lnTo>
                <a:lnTo>
                  <a:pt x="2261" y="455"/>
                </a:lnTo>
                <a:lnTo>
                  <a:pt x="2264" y="461"/>
                </a:lnTo>
                <a:lnTo>
                  <a:pt x="2266" y="468"/>
                </a:lnTo>
                <a:lnTo>
                  <a:pt x="2268" y="475"/>
                </a:lnTo>
                <a:lnTo>
                  <a:pt x="2269" y="482"/>
                </a:lnTo>
                <a:lnTo>
                  <a:pt x="2269" y="490"/>
                </a:lnTo>
                <a:lnTo>
                  <a:pt x="2269" y="498"/>
                </a:lnTo>
                <a:lnTo>
                  <a:pt x="2268" y="505"/>
                </a:lnTo>
                <a:lnTo>
                  <a:pt x="2267" y="512"/>
                </a:lnTo>
                <a:lnTo>
                  <a:pt x="2264" y="518"/>
                </a:lnTo>
                <a:lnTo>
                  <a:pt x="2262" y="524"/>
                </a:lnTo>
                <a:lnTo>
                  <a:pt x="2258" y="529"/>
                </a:lnTo>
                <a:lnTo>
                  <a:pt x="2255" y="534"/>
                </a:lnTo>
                <a:lnTo>
                  <a:pt x="2250" y="539"/>
                </a:lnTo>
                <a:lnTo>
                  <a:pt x="2246" y="543"/>
                </a:lnTo>
                <a:lnTo>
                  <a:pt x="2241" y="546"/>
                </a:lnTo>
                <a:lnTo>
                  <a:pt x="2236" y="549"/>
                </a:lnTo>
                <a:lnTo>
                  <a:pt x="2230" y="552"/>
                </a:lnTo>
                <a:lnTo>
                  <a:pt x="2224" y="554"/>
                </a:lnTo>
                <a:lnTo>
                  <a:pt x="2218" y="555"/>
                </a:lnTo>
                <a:lnTo>
                  <a:pt x="2205" y="557"/>
                </a:lnTo>
                <a:lnTo>
                  <a:pt x="2272" y="654"/>
                </a:lnTo>
                <a:lnTo>
                  <a:pt x="2248" y="654"/>
                </a:lnTo>
                <a:close/>
                <a:moveTo>
                  <a:pt x="2249" y="490"/>
                </a:moveTo>
                <a:lnTo>
                  <a:pt x="2248" y="485"/>
                </a:lnTo>
                <a:lnTo>
                  <a:pt x="2248" y="479"/>
                </a:lnTo>
                <a:lnTo>
                  <a:pt x="2247" y="474"/>
                </a:lnTo>
                <a:lnTo>
                  <a:pt x="2245" y="470"/>
                </a:lnTo>
                <a:lnTo>
                  <a:pt x="2243" y="465"/>
                </a:lnTo>
                <a:lnTo>
                  <a:pt x="2241" y="461"/>
                </a:lnTo>
                <a:lnTo>
                  <a:pt x="2238" y="458"/>
                </a:lnTo>
                <a:lnTo>
                  <a:pt x="2235" y="454"/>
                </a:lnTo>
                <a:lnTo>
                  <a:pt x="2231" y="451"/>
                </a:lnTo>
                <a:lnTo>
                  <a:pt x="2227" y="448"/>
                </a:lnTo>
                <a:lnTo>
                  <a:pt x="2223" y="446"/>
                </a:lnTo>
                <a:lnTo>
                  <a:pt x="2218" y="444"/>
                </a:lnTo>
                <a:lnTo>
                  <a:pt x="2213" y="442"/>
                </a:lnTo>
                <a:lnTo>
                  <a:pt x="2208" y="441"/>
                </a:lnTo>
                <a:lnTo>
                  <a:pt x="2203" y="440"/>
                </a:lnTo>
                <a:lnTo>
                  <a:pt x="2197" y="440"/>
                </a:lnTo>
                <a:lnTo>
                  <a:pt x="2132" y="440"/>
                </a:lnTo>
                <a:lnTo>
                  <a:pt x="2132" y="540"/>
                </a:lnTo>
                <a:lnTo>
                  <a:pt x="2197" y="540"/>
                </a:lnTo>
                <a:lnTo>
                  <a:pt x="2203" y="540"/>
                </a:lnTo>
                <a:lnTo>
                  <a:pt x="2208" y="539"/>
                </a:lnTo>
                <a:lnTo>
                  <a:pt x="2213" y="538"/>
                </a:lnTo>
                <a:lnTo>
                  <a:pt x="2218" y="536"/>
                </a:lnTo>
                <a:lnTo>
                  <a:pt x="2223" y="534"/>
                </a:lnTo>
                <a:lnTo>
                  <a:pt x="2227" y="532"/>
                </a:lnTo>
                <a:lnTo>
                  <a:pt x="2231" y="529"/>
                </a:lnTo>
                <a:lnTo>
                  <a:pt x="2235" y="526"/>
                </a:lnTo>
                <a:lnTo>
                  <a:pt x="2238" y="522"/>
                </a:lnTo>
                <a:lnTo>
                  <a:pt x="2241" y="519"/>
                </a:lnTo>
                <a:lnTo>
                  <a:pt x="2243" y="514"/>
                </a:lnTo>
                <a:lnTo>
                  <a:pt x="2245" y="510"/>
                </a:lnTo>
                <a:lnTo>
                  <a:pt x="2246" y="508"/>
                </a:lnTo>
                <a:lnTo>
                  <a:pt x="2247" y="505"/>
                </a:lnTo>
                <a:lnTo>
                  <a:pt x="2248" y="500"/>
                </a:lnTo>
                <a:lnTo>
                  <a:pt x="2248" y="495"/>
                </a:lnTo>
                <a:lnTo>
                  <a:pt x="2249" y="490"/>
                </a:lnTo>
                <a:close/>
                <a:moveTo>
                  <a:pt x="2585" y="654"/>
                </a:moveTo>
                <a:lnTo>
                  <a:pt x="2562" y="597"/>
                </a:lnTo>
                <a:lnTo>
                  <a:pt x="2438" y="597"/>
                </a:lnTo>
                <a:lnTo>
                  <a:pt x="2415" y="654"/>
                </a:lnTo>
                <a:lnTo>
                  <a:pt x="2392" y="654"/>
                </a:lnTo>
                <a:lnTo>
                  <a:pt x="2487" y="422"/>
                </a:lnTo>
                <a:lnTo>
                  <a:pt x="2512" y="422"/>
                </a:lnTo>
                <a:lnTo>
                  <a:pt x="2608" y="654"/>
                </a:lnTo>
                <a:lnTo>
                  <a:pt x="2585" y="654"/>
                </a:lnTo>
                <a:close/>
                <a:moveTo>
                  <a:pt x="2500" y="443"/>
                </a:moveTo>
                <a:lnTo>
                  <a:pt x="2445" y="579"/>
                </a:lnTo>
                <a:lnTo>
                  <a:pt x="2555" y="579"/>
                </a:lnTo>
                <a:lnTo>
                  <a:pt x="2500" y="443"/>
                </a:lnTo>
                <a:close/>
                <a:moveTo>
                  <a:pt x="2810" y="654"/>
                </a:moveTo>
                <a:lnTo>
                  <a:pt x="2664" y="455"/>
                </a:lnTo>
                <a:lnTo>
                  <a:pt x="2664" y="654"/>
                </a:lnTo>
                <a:lnTo>
                  <a:pt x="2644" y="654"/>
                </a:lnTo>
                <a:lnTo>
                  <a:pt x="2644" y="422"/>
                </a:lnTo>
                <a:lnTo>
                  <a:pt x="2665" y="422"/>
                </a:lnTo>
                <a:lnTo>
                  <a:pt x="2810" y="619"/>
                </a:lnTo>
                <a:lnTo>
                  <a:pt x="2810" y="422"/>
                </a:lnTo>
                <a:lnTo>
                  <a:pt x="2830" y="422"/>
                </a:lnTo>
                <a:lnTo>
                  <a:pt x="2830" y="654"/>
                </a:lnTo>
                <a:lnTo>
                  <a:pt x="2810" y="654"/>
                </a:lnTo>
                <a:close/>
                <a:moveTo>
                  <a:pt x="2891" y="654"/>
                </a:moveTo>
                <a:lnTo>
                  <a:pt x="2891" y="422"/>
                </a:lnTo>
                <a:lnTo>
                  <a:pt x="2965" y="422"/>
                </a:lnTo>
                <a:lnTo>
                  <a:pt x="2978" y="423"/>
                </a:lnTo>
                <a:lnTo>
                  <a:pt x="2991" y="425"/>
                </a:lnTo>
                <a:lnTo>
                  <a:pt x="2997" y="426"/>
                </a:lnTo>
                <a:lnTo>
                  <a:pt x="3003" y="427"/>
                </a:lnTo>
                <a:lnTo>
                  <a:pt x="3014" y="431"/>
                </a:lnTo>
                <a:lnTo>
                  <a:pt x="3019" y="434"/>
                </a:lnTo>
                <a:lnTo>
                  <a:pt x="3024" y="436"/>
                </a:lnTo>
                <a:lnTo>
                  <a:pt x="3034" y="442"/>
                </a:lnTo>
                <a:lnTo>
                  <a:pt x="3038" y="445"/>
                </a:lnTo>
                <a:lnTo>
                  <a:pt x="3043" y="449"/>
                </a:lnTo>
                <a:lnTo>
                  <a:pt x="3051" y="456"/>
                </a:lnTo>
                <a:lnTo>
                  <a:pt x="3058" y="465"/>
                </a:lnTo>
                <a:lnTo>
                  <a:pt x="3061" y="469"/>
                </a:lnTo>
                <a:lnTo>
                  <a:pt x="3064" y="474"/>
                </a:lnTo>
                <a:lnTo>
                  <a:pt x="3070" y="483"/>
                </a:lnTo>
                <a:lnTo>
                  <a:pt x="3072" y="488"/>
                </a:lnTo>
                <a:lnTo>
                  <a:pt x="3074" y="493"/>
                </a:lnTo>
                <a:lnTo>
                  <a:pt x="3078" y="504"/>
                </a:lnTo>
                <a:lnTo>
                  <a:pt x="3080" y="515"/>
                </a:lnTo>
                <a:lnTo>
                  <a:pt x="3081" y="521"/>
                </a:lnTo>
                <a:lnTo>
                  <a:pt x="3082" y="526"/>
                </a:lnTo>
                <a:lnTo>
                  <a:pt x="3082" y="538"/>
                </a:lnTo>
                <a:lnTo>
                  <a:pt x="3082" y="550"/>
                </a:lnTo>
                <a:lnTo>
                  <a:pt x="3081" y="556"/>
                </a:lnTo>
                <a:lnTo>
                  <a:pt x="3080" y="562"/>
                </a:lnTo>
                <a:lnTo>
                  <a:pt x="3078" y="573"/>
                </a:lnTo>
                <a:lnTo>
                  <a:pt x="3074" y="583"/>
                </a:lnTo>
                <a:lnTo>
                  <a:pt x="3072" y="589"/>
                </a:lnTo>
                <a:lnTo>
                  <a:pt x="3070" y="594"/>
                </a:lnTo>
                <a:lnTo>
                  <a:pt x="3064" y="603"/>
                </a:lnTo>
                <a:lnTo>
                  <a:pt x="3058" y="612"/>
                </a:lnTo>
                <a:lnTo>
                  <a:pt x="3051" y="620"/>
                </a:lnTo>
                <a:lnTo>
                  <a:pt x="3043" y="628"/>
                </a:lnTo>
                <a:lnTo>
                  <a:pt x="3034" y="634"/>
                </a:lnTo>
                <a:lnTo>
                  <a:pt x="3024" y="640"/>
                </a:lnTo>
                <a:lnTo>
                  <a:pt x="3019" y="643"/>
                </a:lnTo>
                <a:lnTo>
                  <a:pt x="3014" y="645"/>
                </a:lnTo>
                <a:lnTo>
                  <a:pt x="3008" y="647"/>
                </a:lnTo>
                <a:lnTo>
                  <a:pt x="3003" y="649"/>
                </a:lnTo>
                <a:lnTo>
                  <a:pt x="2991" y="652"/>
                </a:lnTo>
                <a:lnTo>
                  <a:pt x="2978" y="653"/>
                </a:lnTo>
                <a:lnTo>
                  <a:pt x="2972" y="654"/>
                </a:lnTo>
                <a:lnTo>
                  <a:pt x="2965" y="654"/>
                </a:lnTo>
                <a:lnTo>
                  <a:pt x="2891" y="654"/>
                </a:lnTo>
                <a:close/>
                <a:moveTo>
                  <a:pt x="3061" y="538"/>
                </a:moveTo>
                <a:lnTo>
                  <a:pt x="3061" y="528"/>
                </a:lnTo>
                <a:lnTo>
                  <a:pt x="3060" y="518"/>
                </a:lnTo>
                <a:lnTo>
                  <a:pt x="3058" y="509"/>
                </a:lnTo>
                <a:lnTo>
                  <a:pt x="3055" y="500"/>
                </a:lnTo>
                <a:lnTo>
                  <a:pt x="3052" y="491"/>
                </a:lnTo>
                <a:lnTo>
                  <a:pt x="3047" y="483"/>
                </a:lnTo>
                <a:lnTo>
                  <a:pt x="3042" y="476"/>
                </a:lnTo>
                <a:lnTo>
                  <a:pt x="3036" y="469"/>
                </a:lnTo>
                <a:lnTo>
                  <a:pt x="3030" y="463"/>
                </a:lnTo>
                <a:lnTo>
                  <a:pt x="3023" y="457"/>
                </a:lnTo>
                <a:lnTo>
                  <a:pt x="3015" y="452"/>
                </a:lnTo>
                <a:lnTo>
                  <a:pt x="3011" y="450"/>
                </a:lnTo>
                <a:lnTo>
                  <a:pt x="3006" y="448"/>
                </a:lnTo>
                <a:lnTo>
                  <a:pt x="2997" y="445"/>
                </a:lnTo>
                <a:lnTo>
                  <a:pt x="2987" y="442"/>
                </a:lnTo>
                <a:lnTo>
                  <a:pt x="2976" y="441"/>
                </a:lnTo>
                <a:lnTo>
                  <a:pt x="2965" y="440"/>
                </a:lnTo>
                <a:lnTo>
                  <a:pt x="2911" y="440"/>
                </a:lnTo>
                <a:lnTo>
                  <a:pt x="2911" y="636"/>
                </a:lnTo>
                <a:lnTo>
                  <a:pt x="2965" y="636"/>
                </a:lnTo>
                <a:lnTo>
                  <a:pt x="2976" y="635"/>
                </a:lnTo>
                <a:lnTo>
                  <a:pt x="2982" y="635"/>
                </a:lnTo>
                <a:lnTo>
                  <a:pt x="2987" y="634"/>
                </a:lnTo>
                <a:lnTo>
                  <a:pt x="2997" y="632"/>
                </a:lnTo>
                <a:lnTo>
                  <a:pt x="3006" y="628"/>
                </a:lnTo>
                <a:lnTo>
                  <a:pt x="3015" y="624"/>
                </a:lnTo>
                <a:lnTo>
                  <a:pt x="3023" y="619"/>
                </a:lnTo>
                <a:lnTo>
                  <a:pt x="3030" y="614"/>
                </a:lnTo>
                <a:lnTo>
                  <a:pt x="3036" y="607"/>
                </a:lnTo>
                <a:lnTo>
                  <a:pt x="3042" y="600"/>
                </a:lnTo>
                <a:lnTo>
                  <a:pt x="3047" y="593"/>
                </a:lnTo>
                <a:lnTo>
                  <a:pt x="3051" y="585"/>
                </a:lnTo>
                <a:lnTo>
                  <a:pt x="3055" y="576"/>
                </a:lnTo>
                <a:lnTo>
                  <a:pt x="3058" y="567"/>
                </a:lnTo>
                <a:lnTo>
                  <a:pt x="3060" y="558"/>
                </a:lnTo>
                <a:lnTo>
                  <a:pt x="3061" y="548"/>
                </a:lnTo>
                <a:lnTo>
                  <a:pt x="3061" y="538"/>
                </a:lnTo>
                <a:close/>
                <a:moveTo>
                  <a:pt x="3216" y="621"/>
                </a:moveTo>
                <a:lnTo>
                  <a:pt x="3229" y="606"/>
                </a:lnTo>
                <a:lnTo>
                  <a:pt x="3232" y="610"/>
                </a:lnTo>
                <a:lnTo>
                  <a:pt x="3235" y="613"/>
                </a:lnTo>
                <a:lnTo>
                  <a:pt x="3238" y="616"/>
                </a:lnTo>
                <a:lnTo>
                  <a:pt x="3242" y="619"/>
                </a:lnTo>
                <a:lnTo>
                  <a:pt x="3249" y="624"/>
                </a:lnTo>
                <a:lnTo>
                  <a:pt x="3258" y="630"/>
                </a:lnTo>
                <a:lnTo>
                  <a:pt x="3268" y="634"/>
                </a:lnTo>
                <a:lnTo>
                  <a:pt x="3273" y="636"/>
                </a:lnTo>
                <a:lnTo>
                  <a:pt x="3278" y="637"/>
                </a:lnTo>
                <a:lnTo>
                  <a:pt x="3283" y="638"/>
                </a:lnTo>
                <a:lnTo>
                  <a:pt x="3289" y="639"/>
                </a:lnTo>
                <a:lnTo>
                  <a:pt x="3301" y="640"/>
                </a:lnTo>
                <a:lnTo>
                  <a:pt x="3310" y="640"/>
                </a:lnTo>
                <a:lnTo>
                  <a:pt x="3317" y="639"/>
                </a:lnTo>
                <a:lnTo>
                  <a:pt x="3324" y="637"/>
                </a:lnTo>
                <a:lnTo>
                  <a:pt x="3331" y="636"/>
                </a:lnTo>
                <a:lnTo>
                  <a:pt x="3336" y="633"/>
                </a:lnTo>
                <a:lnTo>
                  <a:pt x="3341" y="631"/>
                </a:lnTo>
                <a:lnTo>
                  <a:pt x="3346" y="628"/>
                </a:lnTo>
                <a:lnTo>
                  <a:pt x="3349" y="624"/>
                </a:lnTo>
                <a:lnTo>
                  <a:pt x="3353" y="621"/>
                </a:lnTo>
                <a:lnTo>
                  <a:pt x="3355" y="617"/>
                </a:lnTo>
                <a:lnTo>
                  <a:pt x="3358" y="613"/>
                </a:lnTo>
                <a:lnTo>
                  <a:pt x="3359" y="609"/>
                </a:lnTo>
                <a:lnTo>
                  <a:pt x="3361" y="602"/>
                </a:lnTo>
                <a:lnTo>
                  <a:pt x="3362" y="594"/>
                </a:lnTo>
                <a:lnTo>
                  <a:pt x="3362" y="588"/>
                </a:lnTo>
                <a:lnTo>
                  <a:pt x="3361" y="582"/>
                </a:lnTo>
                <a:lnTo>
                  <a:pt x="3359" y="577"/>
                </a:lnTo>
                <a:lnTo>
                  <a:pt x="3356" y="573"/>
                </a:lnTo>
                <a:lnTo>
                  <a:pt x="3353" y="569"/>
                </a:lnTo>
                <a:lnTo>
                  <a:pt x="3349" y="565"/>
                </a:lnTo>
                <a:lnTo>
                  <a:pt x="3345" y="562"/>
                </a:lnTo>
                <a:lnTo>
                  <a:pt x="3340" y="559"/>
                </a:lnTo>
                <a:lnTo>
                  <a:pt x="3335" y="556"/>
                </a:lnTo>
                <a:lnTo>
                  <a:pt x="3330" y="554"/>
                </a:lnTo>
                <a:lnTo>
                  <a:pt x="3318" y="549"/>
                </a:lnTo>
                <a:lnTo>
                  <a:pt x="3306" y="545"/>
                </a:lnTo>
                <a:lnTo>
                  <a:pt x="3293" y="542"/>
                </a:lnTo>
                <a:lnTo>
                  <a:pt x="3280" y="538"/>
                </a:lnTo>
                <a:lnTo>
                  <a:pt x="3267" y="534"/>
                </a:lnTo>
                <a:lnTo>
                  <a:pt x="3255" y="529"/>
                </a:lnTo>
                <a:lnTo>
                  <a:pt x="3250" y="526"/>
                </a:lnTo>
                <a:lnTo>
                  <a:pt x="3245" y="523"/>
                </a:lnTo>
                <a:lnTo>
                  <a:pt x="3240" y="519"/>
                </a:lnTo>
                <a:lnTo>
                  <a:pt x="3236" y="515"/>
                </a:lnTo>
                <a:lnTo>
                  <a:pt x="3232" y="510"/>
                </a:lnTo>
                <a:lnTo>
                  <a:pt x="3229" y="506"/>
                </a:lnTo>
                <a:lnTo>
                  <a:pt x="3227" y="500"/>
                </a:lnTo>
                <a:lnTo>
                  <a:pt x="3225" y="494"/>
                </a:lnTo>
                <a:lnTo>
                  <a:pt x="3223" y="487"/>
                </a:lnTo>
                <a:lnTo>
                  <a:pt x="3223" y="480"/>
                </a:lnTo>
                <a:lnTo>
                  <a:pt x="3223" y="473"/>
                </a:lnTo>
                <a:lnTo>
                  <a:pt x="3225" y="467"/>
                </a:lnTo>
                <a:lnTo>
                  <a:pt x="3226" y="460"/>
                </a:lnTo>
                <a:lnTo>
                  <a:pt x="3229" y="455"/>
                </a:lnTo>
                <a:lnTo>
                  <a:pt x="3232" y="449"/>
                </a:lnTo>
                <a:lnTo>
                  <a:pt x="3236" y="444"/>
                </a:lnTo>
                <a:lnTo>
                  <a:pt x="3238" y="442"/>
                </a:lnTo>
                <a:lnTo>
                  <a:pt x="3240" y="439"/>
                </a:lnTo>
                <a:lnTo>
                  <a:pt x="3245" y="435"/>
                </a:lnTo>
                <a:lnTo>
                  <a:pt x="3251" y="431"/>
                </a:lnTo>
                <a:lnTo>
                  <a:pt x="3257" y="428"/>
                </a:lnTo>
                <a:lnTo>
                  <a:pt x="3263" y="425"/>
                </a:lnTo>
                <a:lnTo>
                  <a:pt x="3270" y="423"/>
                </a:lnTo>
                <a:lnTo>
                  <a:pt x="3277" y="421"/>
                </a:lnTo>
                <a:lnTo>
                  <a:pt x="3284" y="419"/>
                </a:lnTo>
                <a:lnTo>
                  <a:pt x="3291" y="419"/>
                </a:lnTo>
                <a:lnTo>
                  <a:pt x="3299" y="418"/>
                </a:lnTo>
                <a:lnTo>
                  <a:pt x="3312" y="419"/>
                </a:lnTo>
                <a:lnTo>
                  <a:pt x="3318" y="420"/>
                </a:lnTo>
                <a:lnTo>
                  <a:pt x="3323" y="421"/>
                </a:lnTo>
                <a:lnTo>
                  <a:pt x="3334" y="423"/>
                </a:lnTo>
                <a:lnTo>
                  <a:pt x="3340" y="425"/>
                </a:lnTo>
                <a:lnTo>
                  <a:pt x="3345" y="427"/>
                </a:lnTo>
                <a:lnTo>
                  <a:pt x="3354" y="432"/>
                </a:lnTo>
                <a:lnTo>
                  <a:pt x="3363" y="437"/>
                </a:lnTo>
                <a:lnTo>
                  <a:pt x="3371" y="444"/>
                </a:lnTo>
                <a:lnTo>
                  <a:pt x="3378" y="451"/>
                </a:lnTo>
                <a:lnTo>
                  <a:pt x="3365" y="466"/>
                </a:lnTo>
                <a:lnTo>
                  <a:pt x="3358" y="459"/>
                </a:lnTo>
                <a:lnTo>
                  <a:pt x="3354" y="455"/>
                </a:lnTo>
                <a:lnTo>
                  <a:pt x="3351" y="453"/>
                </a:lnTo>
                <a:lnTo>
                  <a:pt x="3343" y="447"/>
                </a:lnTo>
                <a:lnTo>
                  <a:pt x="3335" y="443"/>
                </a:lnTo>
                <a:lnTo>
                  <a:pt x="3331" y="442"/>
                </a:lnTo>
                <a:lnTo>
                  <a:pt x="3326" y="440"/>
                </a:lnTo>
                <a:lnTo>
                  <a:pt x="3317" y="438"/>
                </a:lnTo>
                <a:lnTo>
                  <a:pt x="3308" y="437"/>
                </a:lnTo>
                <a:lnTo>
                  <a:pt x="3298" y="436"/>
                </a:lnTo>
                <a:lnTo>
                  <a:pt x="3287" y="437"/>
                </a:lnTo>
                <a:lnTo>
                  <a:pt x="3282" y="438"/>
                </a:lnTo>
                <a:lnTo>
                  <a:pt x="3277" y="440"/>
                </a:lnTo>
                <a:lnTo>
                  <a:pt x="3272" y="441"/>
                </a:lnTo>
                <a:lnTo>
                  <a:pt x="3267" y="443"/>
                </a:lnTo>
                <a:lnTo>
                  <a:pt x="3259" y="448"/>
                </a:lnTo>
                <a:lnTo>
                  <a:pt x="3256" y="451"/>
                </a:lnTo>
                <a:lnTo>
                  <a:pt x="3253" y="455"/>
                </a:lnTo>
                <a:lnTo>
                  <a:pt x="3250" y="458"/>
                </a:lnTo>
                <a:lnTo>
                  <a:pt x="3248" y="462"/>
                </a:lnTo>
                <a:lnTo>
                  <a:pt x="3246" y="466"/>
                </a:lnTo>
                <a:lnTo>
                  <a:pt x="3245" y="470"/>
                </a:lnTo>
                <a:lnTo>
                  <a:pt x="3244" y="475"/>
                </a:lnTo>
                <a:lnTo>
                  <a:pt x="3244" y="479"/>
                </a:lnTo>
                <a:lnTo>
                  <a:pt x="3244" y="484"/>
                </a:lnTo>
                <a:lnTo>
                  <a:pt x="3245" y="489"/>
                </a:lnTo>
                <a:lnTo>
                  <a:pt x="3247" y="494"/>
                </a:lnTo>
                <a:lnTo>
                  <a:pt x="3250" y="498"/>
                </a:lnTo>
                <a:lnTo>
                  <a:pt x="3253" y="501"/>
                </a:lnTo>
                <a:lnTo>
                  <a:pt x="3257" y="504"/>
                </a:lnTo>
                <a:lnTo>
                  <a:pt x="3266" y="510"/>
                </a:lnTo>
                <a:lnTo>
                  <a:pt x="3271" y="512"/>
                </a:lnTo>
                <a:lnTo>
                  <a:pt x="3276" y="514"/>
                </a:lnTo>
                <a:lnTo>
                  <a:pt x="3288" y="518"/>
                </a:lnTo>
                <a:lnTo>
                  <a:pt x="3313" y="526"/>
                </a:lnTo>
                <a:lnTo>
                  <a:pt x="3326" y="530"/>
                </a:lnTo>
                <a:lnTo>
                  <a:pt x="3339" y="534"/>
                </a:lnTo>
                <a:lnTo>
                  <a:pt x="3351" y="540"/>
                </a:lnTo>
                <a:lnTo>
                  <a:pt x="3356" y="543"/>
                </a:lnTo>
                <a:lnTo>
                  <a:pt x="3361" y="547"/>
                </a:lnTo>
                <a:lnTo>
                  <a:pt x="3366" y="551"/>
                </a:lnTo>
                <a:lnTo>
                  <a:pt x="3368" y="553"/>
                </a:lnTo>
                <a:lnTo>
                  <a:pt x="3370" y="555"/>
                </a:lnTo>
                <a:lnTo>
                  <a:pt x="3374" y="560"/>
                </a:lnTo>
                <a:lnTo>
                  <a:pt x="3377" y="565"/>
                </a:lnTo>
                <a:lnTo>
                  <a:pt x="3380" y="571"/>
                </a:lnTo>
                <a:lnTo>
                  <a:pt x="3381" y="578"/>
                </a:lnTo>
                <a:lnTo>
                  <a:pt x="3383" y="585"/>
                </a:lnTo>
                <a:lnTo>
                  <a:pt x="3383" y="592"/>
                </a:lnTo>
                <a:lnTo>
                  <a:pt x="3383" y="598"/>
                </a:lnTo>
                <a:lnTo>
                  <a:pt x="3382" y="604"/>
                </a:lnTo>
                <a:lnTo>
                  <a:pt x="3379" y="615"/>
                </a:lnTo>
                <a:lnTo>
                  <a:pt x="3376" y="621"/>
                </a:lnTo>
                <a:lnTo>
                  <a:pt x="3373" y="626"/>
                </a:lnTo>
                <a:lnTo>
                  <a:pt x="3370" y="632"/>
                </a:lnTo>
                <a:lnTo>
                  <a:pt x="3365" y="636"/>
                </a:lnTo>
                <a:lnTo>
                  <a:pt x="3360" y="641"/>
                </a:lnTo>
                <a:lnTo>
                  <a:pt x="3354" y="645"/>
                </a:lnTo>
                <a:lnTo>
                  <a:pt x="3347" y="649"/>
                </a:lnTo>
                <a:lnTo>
                  <a:pt x="3340" y="652"/>
                </a:lnTo>
                <a:lnTo>
                  <a:pt x="3331" y="655"/>
                </a:lnTo>
                <a:lnTo>
                  <a:pt x="3322" y="657"/>
                </a:lnTo>
                <a:lnTo>
                  <a:pt x="3312" y="658"/>
                </a:lnTo>
                <a:lnTo>
                  <a:pt x="3301" y="658"/>
                </a:lnTo>
                <a:lnTo>
                  <a:pt x="3287" y="657"/>
                </a:lnTo>
                <a:lnTo>
                  <a:pt x="3274" y="655"/>
                </a:lnTo>
                <a:lnTo>
                  <a:pt x="3262" y="652"/>
                </a:lnTo>
                <a:lnTo>
                  <a:pt x="3250" y="648"/>
                </a:lnTo>
                <a:lnTo>
                  <a:pt x="3240" y="642"/>
                </a:lnTo>
                <a:lnTo>
                  <a:pt x="3231" y="636"/>
                </a:lnTo>
                <a:lnTo>
                  <a:pt x="3227" y="633"/>
                </a:lnTo>
                <a:lnTo>
                  <a:pt x="3223" y="629"/>
                </a:lnTo>
                <a:lnTo>
                  <a:pt x="3216" y="621"/>
                </a:lnTo>
                <a:close/>
                <a:moveTo>
                  <a:pt x="3598" y="654"/>
                </a:moveTo>
                <a:lnTo>
                  <a:pt x="3575" y="597"/>
                </a:lnTo>
                <a:lnTo>
                  <a:pt x="3452" y="597"/>
                </a:lnTo>
                <a:lnTo>
                  <a:pt x="3430" y="654"/>
                </a:lnTo>
                <a:lnTo>
                  <a:pt x="3407" y="654"/>
                </a:lnTo>
                <a:lnTo>
                  <a:pt x="3501" y="422"/>
                </a:lnTo>
                <a:lnTo>
                  <a:pt x="3526" y="422"/>
                </a:lnTo>
                <a:lnTo>
                  <a:pt x="3621" y="654"/>
                </a:lnTo>
                <a:lnTo>
                  <a:pt x="3598" y="654"/>
                </a:lnTo>
                <a:close/>
                <a:moveTo>
                  <a:pt x="3514" y="443"/>
                </a:moveTo>
                <a:lnTo>
                  <a:pt x="3459" y="579"/>
                </a:lnTo>
                <a:lnTo>
                  <a:pt x="3569" y="579"/>
                </a:lnTo>
                <a:lnTo>
                  <a:pt x="3514" y="443"/>
                </a:lnTo>
                <a:close/>
                <a:moveTo>
                  <a:pt x="3658" y="654"/>
                </a:moveTo>
                <a:lnTo>
                  <a:pt x="3658" y="422"/>
                </a:lnTo>
                <a:lnTo>
                  <a:pt x="3805" y="422"/>
                </a:lnTo>
                <a:lnTo>
                  <a:pt x="3805" y="440"/>
                </a:lnTo>
                <a:lnTo>
                  <a:pt x="3678" y="440"/>
                </a:lnTo>
                <a:lnTo>
                  <a:pt x="3678" y="526"/>
                </a:lnTo>
                <a:lnTo>
                  <a:pt x="3802" y="526"/>
                </a:lnTo>
                <a:lnTo>
                  <a:pt x="3802" y="544"/>
                </a:lnTo>
                <a:lnTo>
                  <a:pt x="3678" y="544"/>
                </a:lnTo>
                <a:lnTo>
                  <a:pt x="3678" y="654"/>
                </a:lnTo>
                <a:lnTo>
                  <a:pt x="3658" y="654"/>
                </a:lnTo>
                <a:close/>
                <a:moveTo>
                  <a:pt x="3845" y="654"/>
                </a:moveTo>
                <a:lnTo>
                  <a:pt x="3845" y="422"/>
                </a:lnTo>
                <a:lnTo>
                  <a:pt x="3992" y="422"/>
                </a:lnTo>
                <a:lnTo>
                  <a:pt x="3992" y="440"/>
                </a:lnTo>
                <a:lnTo>
                  <a:pt x="3865" y="440"/>
                </a:lnTo>
                <a:lnTo>
                  <a:pt x="3865" y="526"/>
                </a:lnTo>
                <a:lnTo>
                  <a:pt x="3990" y="526"/>
                </a:lnTo>
                <a:lnTo>
                  <a:pt x="3990" y="544"/>
                </a:lnTo>
                <a:lnTo>
                  <a:pt x="3865" y="544"/>
                </a:lnTo>
                <a:lnTo>
                  <a:pt x="3865" y="636"/>
                </a:lnTo>
                <a:lnTo>
                  <a:pt x="3992" y="636"/>
                </a:lnTo>
                <a:lnTo>
                  <a:pt x="3992" y="654"/>
                </a:lnTo>
                <a:lnTo>
                  <a:pt x="3845" y="654"/>
                </a:lnTo>
                <a:close/>
                <a:moveTo>
                  <a:pt x="4177" y="654"/>
                </a:moveTo>
                <a:lnTo>
                  <a:pt x="4112" y="558"/>
                </a:lnTo>
                <a:lnTo>
                  <a:pt x="4061" y="558"/>
                </a:lnTo>
                <a:lnTo>
                  <a:pt x="4061" y="654"/>
                </a:lnTo>
                <a:lnTo>
                  <a:pt x="4041" y="654"/>
                </a:lnTo>
                <a:lnTo>
                  <a:pt x="4041" y="422"/>
                </a:lnTo>
                <a:lnTo>
                  <a:pt x="4127" y="422"/>
                </a:lnTo>
                <a:lnTo>
                  <a:pt x="4135" y="422"/>
                </a:lnTo>
                <a:lnTo>
                  <a:pt x="4142" y="423"/>
                </a:lnTo>
                <a:lnTo>
                  <a:pt x="4149" y="425"/>
                </a:lnTo>
                <a:lnTo>
                  <a:pt x="4155" y="427"/>
                </a:lnTo>
                <a:lnTo>
                  <a:pt x="4161" y="429"/>
                </a:lnTo>
                <a:lnTo>
                  <a:pt x="4167" y="432"/>
                </a:lnTo>
                <a:lnTo>
                  <a:pt x="4173" y="436"/>
                </a:lnTo>
                <a:lnTo>
                  <a:pt x="4178" y="440"/>
                </a:lnTo>
                <a:lnTo>
                  <a:pt x="4182" y="445"/>
                </a:lnTo>
                <a:lnTo>
                  <a:pt x="4186" y="450"/>
                </a:lnTo>
                <a:lnTo>
                  <a:pt x="4190" y="455"/>
                </a:lnTo>
                <a:lnTo>
                  <a:pt x="4193" y="461"/>
                </a:lnTo>
                <a:lnTo>
                  <a:pt x="4195" y="468"/>
                </a:lnTo>
                <a:lnTo>
                  <a:pt x="4197" y="475"/>
                </a:lnTo>
                <a:lnTo>
                  <a:pt x="4198" y="482"/>
                </a:lnTo>
                <a:lnTo>
                  <a:pt x="4198" y="490"/>
                </a:lnTo>
                <a:lnTo>
                  <a:pt x="4198" y="498"/>
                </a:lnTo>
                <a:lnTo>
                  <a:pt x="4197" y="505"/>
                </a:lnTo>
                <a:lnTo>
                  <a:pt x="4195" y="512"/>
                </a:lnTo>
                <a:lnTo>
                  <a:pt x="4193" y="518"/>
                </a:lnTo>
                <a:lnTo>
                  <a:pt x="4190" y="524"/>
                </a:lnTo>
                <a:lnTo>
                  <a:pt x="4187" y="529"/>
                </a:lnTo>
                <a:lnTo>
                  <a:pt x="4183" y="534"/>
                </a:lnTo>
                <a:lnTo>
                  <a:pt x="4179" y="539"/>
                </a:lnTo>
                <a:lnTo>
                  <a:pt x="4174" y="543"/>
                </a:lnTo>
                <a:lnTo>
                  <a:pt x="4169" y="546"/>
                </a:lnTo>
                <a:lnTo>
                  <a:pt x="4164" y="549"/>
                </a:lnTo>
                <a:lnTo>
                  <a:pt x="4158" y="552"/>
                </a:lnTo>
                <a:lnTo>
                  <a:pt x="4152" y="554"/>
                </a:lnTo>
                <a:lnTo>
                  <a:pt x="4146" y="555"/>
                </a:lnTo>
                <a:lnTo>
                  <a:pt x="4134" y="557"/>
                </a:lnTo>
                <a:lnTo>
                  <a:pt x="4201" y="654"/>
                </a:lnTo>
                <a:lnTo>
                  <a:pt x="4177" y="654"/>
                </a:lnTo>
                <a:close/>
                <a:moveTo>
                  <a:pt x="4177" y="490"/>
                </a:moveTo>
                <a:lnTo>
                  <a:pt x="4177" y="485"/>
                </a:lnTo>
                <a:lnTo>
                  <a:pt x="4176" y="479"/>
                </a:lnTo>
                <a:lnTo>
                  <a:pt x="4175" y="474"/>
                </a:lnTo>
                <a:lnTo>
                  <a:pt x="4173" y="470"/>
                </a:lnTo>
                <a:lnTo>
                  <a:pt x="4171" y="465"/>
                </a:lnTo>
                <a:lnTo>
                  <a:pt x="4169" y="461"/>
                </a:lnTo>
                <a:lnTo>
                  <a:pt x="4166" y="458"/>
                </a:lnTo>
                <a:lnTo>
                  <a:pt x="4163" y="454"/>
                </a:lnTo>
                <a:lnTo>
                  <a:pt x="4159" y="451"/>
                </a:lnTo>
                <a:lnTo>
                  <a:pt x="4155" y="448"/>
                </a:lnTo>
                <a:lnTo>
                  <a:pt x="4151" y="446"/>
                </a:lnTo>
                <a:lnTo>
                  <a:pt x="4147" y="444"/>
                </a:lnTo>
                <a:lnTo>
                  <a:pt x="4142" y="442"/>
                </a:lnTo>
                <a:lnTo>
                  <a:pt x="4137" y="441"/>
                </a:lnTo>
                <a:lnTo>
                  <a:pt x="4131" y="440"/>
                </a:lnTo>
                <a:lnTo>
                  <a:pt x="4126" y="440"/>
                </a:lnTo>
                <a:lnTo>
                  <a:pt x="4061" y="440"/>
                </a:lnTo>
                <a:lnTo>
                  <a:pt x="4061" y="540"/>
                </a:lnTo>
                <a:lnTo>
                  <a:pt x="4126" y="540"/>
                </a:lnTo>
                <a:lnTo>
                  <a:pt x="4131" y="540"/>
                </a:lnTo>
                <a:lnTo>
                  <a:pt x="4137" y="539"/>
                </a:lnTo>
                <a:lnTo>
                  <a:pt x="4142" y="538"/>
                </a:lnTo>
                <a:lnTo>
                  <a:pt x="4147" y="536"/>
                </a:lnTo>
                <a:lnTo>
                  <a:pt x="4151" y="534"/>
                </a:lnTo>
                <a:lnTo>
                  <a:pt x="4155" y="532"/>
                </a:lnTo>
                <a:lnTo>
                  <a:pt x="4159" y="529"/>
                </a:lnTo>
                <a:lnTo>
                  <a:pt x="4163" y="526"/>
                </a:lnTo>
                <a:lnTo>
                  <a:pt x="4166" y="522"/>
                </a:lnTo>
                <a:lnTo>
                  <a:pt x="4169" y="519"/>
                </a:lnTo>
                <a:lnTo>
                  <a:pt x="4171" y="514"/>
                </a:lnTo>
                <a:lnTo>
                  <a:pt x="4173" y="510"/>
                </a:lnTo>
                <a:lnTo>
                  <a:pt x="4174" y="508"/>
                </a:lnTo>
                <a:lnTo>
                  <a:pt x="4175" y="505"/>
                </a:lnTo>
                <a:lnTo>
                  <a:pt x="4176" y="500"/>
                </a:lnTo>
                <a:lnTo>
                  <a:pt x="4177" y="495"/>
                </a:lnTo>
                <a:lnTo>
                  <a:pt x="4177" y="4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0" name="Graphic 9">
            <a:extLst>
              <a:ext uri="{FF2B5EF4-FFF2-40B4-BE49-F238E27FC236}">
                <a16:creationId xmlns:a16="http://schemas.microsoft.com/office/drawing/2014/main" id="{BBC94DDB-7E46-4A55-981D-7799585058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27973757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I Slogan Fire">
    <p:bg>
      <p:bgPr>
        <a:solidFill>
          <a:schemeClr val="accent4"/>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E3906D05-AEEA-468A-BCA9-CCEA53C0A703}"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0" name="Freeform 5">
            <a:extLst>
              <a:ext uri="{FF2B5EF4-FFF2-40B4-BE49-F238E27FC236}">
                <a16:creationId xmlns:a16="http://schemas.microsoft.com/office/drawing/2014/main" id="{95E95751-6670-4AB2-8CE3-5CD14665D5EA}"/>
              </a:ext>
            </a:extLst>
          </p:cNvPr>
          <p:cNvSpPr>
            <a:spLocks noChangeAspect="1" noEditPoints="1"/>
          </p:cNvSpPr>
          <p:nvPr userDrawn="1"/>
        </p:nvSpPr>
        <p:spPr bwMode="auto">
          <a:xfrm>
            <a:off x="2063552" y="2204864"/>
            <a:ext cx="8064896" cy="1735371"/>
          </a:xfrm>
          <a:custGeom>
            <a:avLst/>
            <a:gdLst>
              <a:gd name="T0" fmla="*/ 813 w 7222"/>
              <a:gd name="T1" fmla="*/ 1485 h 1554"/>
              <a:gd name="T2" fmla="*/ 967 w 7222"/>
              <a:gd name="T3" fmla="*/ 1450 h 1554"/>
              <a:gd name="T4" fmla="*/ 1356 w 7222"/>
              <a:gd name="T5" fmla="*/ 1548 h 1554"/>
              <a:gd name="T6" fmla="*/ 2030 w 7222"/>
              <a:gd name="T7" fmla="*/ 1548 h 1554"/>
              <a:gd name="T8" fmla="*/ 1970 w 7222"/>
              <a:gd name="T9" fmla="*/ 1439 h 1554"/>
              <a:gd name="T10" fmla="*/ 2145 w 7222"/>
              <a:gd name="T11" fmla="*/ 1507 h 1554"/>
              <a:gd name="T12" fmla="*/ 2165 w 7222"/>
              <a:gd name="T13" fmla="*/ 1532 h 1554"/>
              <a:gd name="T14" fmla="*/ 2524 w 7222"/>
              <a:gd name="T15" fmla="*/ 1196 h 1554"/>
              <a:gd name="T16" fmla="*/ 2527 w 7222"/>
              <a:gd name="T17" fmla="*/ 1376 h 1554"/>
              <a:gd name="T18" fmla="*/ 2540 w 7222"/>
              <a:gd name="T19" fmla="*/ 1287 h 1554"/>
              <a:gd name="T20" fmla="*/ 2790 w 7222"/>
              <a:gd name="T21" fmla="*/ 1512 h 1554"/>
              <a:gd name="T22" fmla="*/ 3631 w 7222"/>
              <a:gd name="T23" fmla="*/ 1180 h 1554"/>
              <a:gd name="T24" fmla="*/ 4030 w 7222"/>
              <a:gd name="T25" fmla="*/ 1496 h 1554"/>
              <a:gd name="T26" fmla="*/ 4249 w 7222"/>
              <a:gd name="T27" fmla="*/ 1493 h 1554"/>
              <a:gd name="T28" fmla="*/ 4090 w 7222"/>
              <a:gd name="T29" fmla="*/ 1347 h 1554"/>
              <a:gd name="T30" fmla="*/ 4116 w 7222"/>
              <a:gd name="T31" fmla="*/ 1181 h 1554"/>
              <a:gd name="T32" fmla="*/ 4232 w 7222"/>
              <a:gd name="T33" fmla="*/ 1220 h 1554"/>
              <a:gd name="T34" fmla="*/ 4076 w 7222"/>
              <a:gd name="T35" fmla="*/ 1277 h 1554"/>
              <a:gd name="T36" fmla="*/ 4282 w 7222"/>
              <a:gd name="T37" fmla="*/ 1400 h 1554"/>
              <a:gd name="T38" fmla="*/ 4177 w 7222"/>
              <a:gd name="T39" fmla="*/ 1554 h 1554"/>
              <a:gd name="T40" fmla="*/ 5001 w 7222"/>
              <a:gd name="T41" fmla="*/ 1180 h 1554"/>
              <a:gd name="T42" fmla="*/ 5817 w 7222"/>
              <a:gd name="T43" fmla="*/ 1428 h 1554"/>
              <a:gd name="T44" fmla="*/ 6354 w 7222"/>
              <a:gd name="T45" fmla="*/ 1519 h 1554"/>
              <a:gd name="T46" fmla="*/ 6377 w 7222"/>
              <a:gd name="T47" fmla="*/ 1552 h 1554"/>
              <a:gd name="T48" fmla="*/ 492 w 7222"/>
              <a:gd name="T49" fmla="*/ 877 h 1554"/>
              <a:gd name="T50" fmla="*/ 1518 w 7222"/>
              <a:gd name="T51" fmla="*/ 996 h 1554"/>
              <a:gd name="T52" fmla="*/ 2086 w 7222"/>
              <a:gd name="T53" fmla="*/ 877 h 1554"/>
              <a:gd name="T54" fmla="*/ 2460 w 7222"/>
              <a:gd name="T55" fmla="*/ 964 h 1554"/>
              <a:gd name="T56" fmla="*/ 2608 w 7222"/>
              <a:gd name="T57" fmla="*/ 886 h 1554"/>
              <a:gd name="T58" fmla="*/ 2393 w 7222"/>
              <a:gd name="T59" fmla="*/ 746 h 1554"/>
              <a:gd name="T60" fmla="*/ 2549 w 7222"/>
              <a:gd name="T61" fmla="*/ 626 h 1554"/>
              <a:gd name="T62" fmla="*/ 2524 w 7222"/>
              <a:gd name="T63" fmla="*/ 651 h 1554"/>
              <a:gd name="T64" fmla="*/ 2457 w 7222"/>
              <a:gd name="T65" fmla="*/ 767 h 1554"/>
              <a:gd name="T66" fmla="*/ 2643 w 7222"/>
              <a:gd name="T67" fmla="*/ 911 h 1554"/>
              <a:gd name="T68" fmla="*/ 2973 w 7222"/>
              <a:gd name="T69" fmla="*/ 657 h 1554"/>
              <a:gd name="T70" fmla="*/ 3738 w 7222"/>
              <a:gd name="T71" fmla="*/ 647 h 1554"/>
              <a:gd name="T72" fmla="*/ 3719 w 7222"/>
              <a:gd name="T73" fmla="*/ 835 h 1554"/>
              <a:gd name="T74" fmla="*/ 3749 w 7222"/>
              <a:gd name="T75" fmla="*/ 727 h 1554"/>
              <a:gd name="T76" fmla="*/ 3947 w 7222"/>
              <a:gd name="T77" fmla="*/ 995 h 1554"/>
              <a:gd name="T78" fmla="*/ 3895 w 7222"/>
              <a:gd name="T79" fmla="*/ 893 h 1554"/>
              <a:gd name="T80" fmla="*/ 4074 w 7222"/>
              <a:gd name="T81" fmla="*/ 953 h 1554"/>
              <a:gd name="T82" fmla="*/ 4084 w 7222"/>
              <a:gd name="T83" fmla="*/ 983 h 1554"/>
              <a:gd name="T84" fmla="*/ 4621 w 7222"/>
              <a:gd name="T85" fmla="*/ 657 h 1554"/>
              <a:gd name="T86" fmla="*/ 5453 w 7222"/>
              <a:gd name="T87" fmla="*/ 628 h 1554"/>
              <a:gd name="T88" fmla="*/ 6146 w 7222"/>
              <a:gd name="T89" fmla="*/ 996 h 1554"/>
              <a:gd name="T90" fmla="*/ 6928 w 7222"/>
              <a:gd name="T91" fmla="*/ 628 h 1554"/>
              <a:gd name="T92" fmla="*/ 936 w 7222"/>
              <a:gd name="T93" fmla="*/ 438 h 1554"/>
              <a:gd name="T94" fmla="*/ 1034 w 7222"/>
              <a:gd name="T95" fmla="*/ 421 h 1554"/>
              <a:gd name="T96" fmla="*/ 1064 w 7222"/>
              <a:gd name="T97" fmla="*/ 290 h 1554"/>
              <a:gd name="T98" fmla="*/ 899 w 7222"/>
              <a:gd name="T99" fmla="*/ 119 h 1554"/>
              <a:gd name="T100" fmla="*/ 1118 w 7222"/>
              <a:gd name="T101" fmla="*/ 111 h 1554"/>
              <a:gd name="T102" fmla="*/ 942 w 7222"/>
              <a:gd name="T103" fmla="*/ 118 h 1554"/>
              <a:gd name="T104" fmla="*/ 1076 w 7222"/>
              <a:gd name="T105" fmla="*/ 258 h 1554"/>
              <a:gd name="T106" fmla="*/ 1099 w 7222"/>
              <a:gd name="T107" fmla="*/ 426 h 1554"/>
              <a:gd name="T108" fmla="*/ 1491 w 7222"/>
              <a:gd name="T109" fmla="*/ 110 h 1554"/>
              <a:gd name="T110" fmla="*/ 2310 w 7222"/>
              <a:gd name="T111" fmla="*/ 77 h 1554"/>
              <a:gd name="T112" fmla="*/ 2895 w 7222"/>
              <a:gd name="T113" fmla="*/ 110 h 1554"/>
              <a:gd name="T114" fmla="*/ 3623 w 7222"/>
              <a:gd name="T115" fmla="*/ 77 h 1554"/>
              <a:gd name="T116" fmla="*/ 4625 w 7222"/>
              <a:gd name="T117" fmla="*/ 444 h 1554"/>
              <a:gd name="T118" fmla="*/ 5408 w 7222"/>
              <a:gd name="T119" fmla="*/ 444 h 1554"/>
              <a:gd name="T120" fmla="*/ 6341 w 7222"/>
              <a:gd name="T121" fmla="*/ 35 h 1554"/>
              <a:gd name="T122" fmla="*/ 6345 w 7222"/>
              <a:gd name="T123" fmla="*/ 13 h 1554"/>
              <a:gd name="T124" fmla="*/ 6210 w 7222"/>
              <a:gd name="T125" fmla="*/ 0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2" h="1554">
                <a:moveTo>
                  <a:pt x="6593" y="444"/>
                </a:moveTo>
                <a:lnTo>
                  <a:pt x="6561" y="444"/>
                </a:lnTo>
                <a:lnTo>
                  <a:pt x="6561" y="105"/>
                </a:lnTo>
                <a:lnTo>
                  <a:pt x="6441" y="105"/>
                </a:lnTo>
                <a:lnTo>
                  <a:pt x="6441" y="77"/>
                </a:lnTo>
                <a:lnTo>
                  <a:pt x="6713" y="77"/>
                </a:lnTo>
                <a:lnTo>
                  <a:pt x="6713" y="105"/>
                </a:lnTo>
                <a:lnTo>
                  <a:pt x="6593" y="105"/>
                </a:lnTo>
                <a:lnTo>
                  <a:pt x="6593" y="444"/>
                </a:lnTo>
                <a:close/>
                <a:moveTo>
                  <a:pt x="888" y="1554"/>
                </a:moveTo>
                <a:lnTo>
                  <a:pt x="873" y="1553"/>
                </a:lnTo>
                <a:lnTo>
                  <a:pt x="867" y="1553"/>
                </a:lnTo>
                <a:lnTo>
                  <a:pt x="860" y="1551"/>
                </a:lnTo>
                <a:lnTo>
                  <a:pt x="853" y="1550"/>
                </a:lnTo>
                <a:lnTo>
                  <a:pt x="847" y="1548"/>
                </a:lnTo>
                <a:lnTo>
                  <a:pt x="841" y="1546"/>
                </a:lnTo>
                <a:lnTo>
                  <a:pt x="835" y="1543"/>
                </a:lnTo>
                <a:lnTo>
                  <a:pt x="829" y="1540"/>
                </a:lnTo>
                <a:lnTo>
                  <a:pt x="824" y="1537"/>
                </a:lnTo>
                <a:lnTo>
                  <a:pt x="818" y="1533"/>
                </a:lnTo>
                <a:lnTo>
                  <a:pt x="813" y="1529"/>
                </a:lnTo>
                <a:lnTo>
                  <a:pt x="808" y="1525"/>
                </a:lnTo>
                <a:lnTo>
                  <a:pt x="803" y="1520"/>
                </a:lnTo>
                <a:lnTo>
                  <a:pt x="798" y="1515"/>
                </a:lnTo>
                <a:lnTo>
                  <a:pt x="794" y="1509"/>
                </a:lnTo>
                <a:lnTo>
                  <a:pt x="813" y="1485"/>
                </a:lnTo>
                <a:lnTo>
                  <a:pt x="819" y="1493"/>
                </a:lnTo>
                <a:lnTo>
                  <a:pt x="827" y="1500"/>
                </a:lnTo>
                <a:lnTo>
                  <a:pt x="834" y="1507"/>
                </a:lnTo>
                <a:lnTo>
                  <a:pt x="843" y="1513"/>
                </a:lnTo>
                <a:lnTo>
                  <a:pt x="848" y="1516"/>
                </a:lnTo>
                <a:lnTo>
                  <a:pt x="852" y="1519"/>
                </a:lnTo>
                <a:lnTo>
                  <a:pt x="857" y="1521"/>
                </a:lnTo>
                <a:lnTo>
                  <a:pt x="863" y="1522"/>
                </a:lnTo>
                <a:lnTo>
                  <a:pt x="868" y="1524"/>
                </a:lnTo>
                <a:lnTo>
                  <a:pt x="874" y="1525"/>
                </a:lnTo>
                <a:lnTo>
                  <a:pt x="886" y="1526"/>
                </a:lnTo>
                <a:lnTo>
                  <a:pt x="896" y="1525"/>
                </a:lnTo>
                <a:lnTo>
                  <a:pt x="904" y="1524"/>
                </a:lnTo>
                <a:lnTo>
                  <a:pt x="912" y="1522"/>
                </a:lnTo>
                <a:lnTo>
                  <a:pt x="920" y="1519"/>
                </a:lnTo>
                <a:lnTo>
                  <a:pt x="927" y="1516"/>
                </a:lnTo>
                <a:lnTo>
                  <a:pt x="934" y="1512"/>
                </a:lnTo>
                <a:lnTo>
                  <a:pt x="940" y="1507"/>
                </a:lnTo>
                <a:lnTo>
                  <a:pt x="946" y="1502"/>
                </a:lnTo>
                <a:lnTo>
                  <a:pt x="951" y="1496"/>
                </a:lnTo>
                <a:lnTo>
                  <a:pt x="955" y="1490"/>
                </a:lnTo>
                <a:lnTo>
                  <a:pt x="959" y="1483"/>
                </a:lnTo>
                <a:lnTo>
                  <a:pt x="962" y="1475"/>
                </a:lnTo>
                <a:lnTo>
                  <a:pt x="965" y="1467"/>
                </a:lnTo>
                <a:lnTo>
                  <a:pt x="966" y="1459"/>
                </a:lnTo>
                <a:lnTo>
                  <a:pt x="967" y="1450"/>
                </a:lnTo>
                <a:lnTo>
                  <a:pt x="968" y="1441"/>
                </a:lnTo>
                <a:lnTo>
                  <a:pt x="968" y="1180"/>
                </a:lnTo>
                <a:lnTo>
                  <a:pt x="999" y="1180"/>
                </a:lnTo>
                <a:lnTo>
                  <a:pt x="999" y="1441"/>
                </a:lnTo>
                <a:lnTo>
                  <a:pt x="999" y="1448"/>
                </a:lnTo>
                <a:lnTo>
                  <a:pt x="998" y="1455"/>
                </a:lnTo>
                <a:lnTo>
                  <a:pt x="997" y="1468"/>
                </a:lnTo>
                <a:lnTo>
                  <a:pt x="996" y="1474"/>
                </a:lnTo>
                <a:lnTo>
                  <a:pt x="994" y="1480"/>
                </a:lnTo>
                <a:lnTo>
                  <a:pt x="990" y="1491"/>
                </a:lnTo>
                <a:lnTo>
                  <a:pt x="986" y="1501"/>
                </a:lnTo>
                <a:lnTo>
                  <a:pt x="980" y="1511"/>
                </a:lnTo>
                <a:lnTo>
                  <a:pt x="977" y="1515"/>
                </a:lnTo>
                <a:lnTo>
                  <a:pt x="974" y="1519"/>
                </a:lnTo>
                <a:lnTo>
                  <a:pt x="970" y="1523"/>
                </a:lnTo>
                <a:lnTo>
                  <a:pt x="967" y="1526"/>
                </a:lnTo>
                <a:lnTo>
                  <a:pt x="958" y="1533"/>
                </a:lnTo>
                <a:lnTo>
                  <a:pt x="950" y="1539"/>
                </a:lnTo>
                <a:lnTo>
                  <a:pt x="941" y="1543"/>
                </a:lnTo>
                <a:lnTo>
                  <a:pt x="931" y="1547"/>
                </a:lnTo>
                <a:lnTo>
                  <a:pt x="921" y="1550"/>
                </a:lnTo>
                <a:lnTo>
                  <a:pt x="911" y="1552"/>
                </a:lnTo>
                <a:lnTo>
                  <a:pt x="899" y="1554"/>
                </a:lnTo>
                <a:lnTo>
                  <a:pt x="888" y="1554"/>
                </a:lnTo>
                <a:close/>
                <a:moveTo>
                  <a:pt x="1392" y="1548"/>
                </a:moveTo>
                <a:lnTo>
                  <a:pt x="1356" y="1548"/>
                </a:lnTo>
                <a:lnTo>
                  <a:pt x="1320" y="1457"/>
                </a:lnTo>
                <a:lnTo>
                  <a:pt x="1125" y="1457"/>
                </a:lnTo>
                <a:lnTo>
                  <a:pt x="1089" y="1548"/>
                </a:lnTo>
                <a:lnTo>
                  <a:pt x="1052" y="1548"/>
                </a:lnTo>
                <a:lnTo>
                  <a:pt x="1203" y="1180"/>
                </a:lnTo>
                <a:lnTo>
                  <a:pt x="1242" y="1180"/>
                </a:lnTo>
                <a:lnTo>
                  <a:pt x="1392" y="1548"/>
                </a:lnTo>
                <a:close/>
                <a:moveTo>
                  <a:pt x="1309" y="1428"/>
                </a:moveTo>
                <a:lnTo>
                  <a:pt x="1223" y="1213"/>
                </a:lnTo>
                <a:lnTo>
                  <a:pt x="1135" y="1428"/>
                </a:lnTo>
                <a:lnTo>
                  <a:pt x="1309" y="1428"/>
                </a:lnTo>
                <a:close/>
                <a:moveTo>
                  <a:pt x="1737" y="1548"/>
                </a:moveTo>
                <a:lnTo>
                  <a:pt x="1705" y="1548"/>
                </a:lnTo>
                <a:lnTo>
                  <a:pt x="1705" y="1208"/>
                </a:lnTo>
                <a:lnTo>
                  <a:pt x="1585" y="1208"/>
                </a:lnTo>
                <a:lnTo>
                  <a:pt x="1585" y="1180"/>
                </a:lnTo>
                <a:lnTo>
                  <a:pt x="1858" y="1180"/>
                </a:lnTo>
                <a:lnTo>
                  <a:pt x="1858" y="1208"/>
                </a:lnTo>
                <a:lnTo>
                  <a:pt x="1737" y="1208"/>
                </a:lnTo>
                <a:lnTo>
                  <a:pt x="1737" y="1548"/>
                </a:lnTo>
                <a:close/>
                <a:moveTo>
                  <a:pt x="2078" y="1554"/>
                </a:moveTo>
                <a:lnTo>
                  <a:pt x="2069" y="1554"/>
                </a:lnTo>
                <a:lnTo>
                  <a:pt x="2061" y="1553"/>
                </a:lnTo>
                <a:lnTo>
                  <a:pt x="2045" y="1551"/>
                </a:lnTo>
                <a:lnTo>
                  <a:pt x="2037" y="1550"/>
                </a:lnTo>
                <a:lnTo>
                  <a:pt x="2030" y="1548"/>
                </a:lnTo>
                <a:lnTo>
                  <a:pt x="2023" y="1546"/>
                </a:lnTo>
                <a:lnTo>
                  <a:pt x="2016" y="1544"/>
                </a:lnTo>
                <a:lnTo>
                  <a:pt x="2003" y="1538"/>
                </a:lnTo>
                <a:lnTo>
                  <a:pt x="1997" y="1535"/>
                </a:lnTo>
                <a:lnTo>
                  <a:pt x="1991" y="1531"/>
                </a:lnTo>
                <a:lnTo>
                  <a:pt x="1981" y="1523"/>
                </a:lnTo>
                <a:lnTo>
                  <a:pt x="1976" y="1519"/>
                </a:lnTo>
                <a:lnTo>
                  <a:pt x="1971" y="1514"/>
                </a:lnTo>
                <a:lnTo>
                  <a:pt x="1963" y="1504"/>
                </a:lnTo>
                <a:lnTo>
                  <a:pt x="1959" y="1498"/>
                </a:lnTo>
                <a:lnTo>
                  <a:pt x="1955" y="1493"/>
                </a:lnTo>
                <a:lnTo>
                  <a:pt x="1949" y="1481"/>
                </a:lnTo>
                <a:lnTo>
                  <a:pt x="1946" y="1474"/>
                </a:lnTo>
                <a:lnTo>
                  <a:pt x="1944" y="1468"/>
                </a:lnTo>
                <a:lnTo>
                  <a:pt x="1940" y="1454"/>
                </a:lnTo>
                <a:lnTo>
                  <a:pt x="1938" y="1446"/>
                </a:lnTo>
                <a:lnTo>
                  <a:pt x="1937" y="1439"/>
                </a:lnTo>
                <a:lnTo>
                  <a:pt x="1935" y="1423"/>
                </a:lnTo>
                <a:lnTo>
                  <a:pt x="1935" y="1415"/>
                </a:lnTo>
                <a:lnTo>
                  <a:pt x="1935" y="1406"/>
                </a:lnTo>
                <a:lnTo>
                  <a:pt x="1935" y="1180"/>
                </a:lnTo>
                <a:lnTo>
                  <a:pt x="1967" y="1180"/>
                </a:lnTo>
                <a:lnTo>
                  <a:pt x="1967" y="1406"/>
                </a:lnTo>
                <a:lnTo>
                  <a:pt x="1967" y="1420"/>
                </a:lnTo>
                <a:lnTo>
                  <a:pt x="1969" y="1432"/>
                </a:lnTo>
                <a:lnTo>
                  <a:pt x="1970" y="1439"/>
                </a:lnTo>
                <a:lnTo>
                  <a:pt x="1971" y="1445"/>
                </a:lnTo>
                <a:lnTo>
                  <a:pt x="1974" y="1456"/>
                </a:lnTo>
                <a:lnTo>
                  <a:pt x="1978" y="1467"/>
                </a:lnTo>
                <a:lnTo>
                  <a:pt x="1980" y="1472"/>
                </a:lnTo>
                <a:lnTo>
                  <a:pt x="1983" y="1476"/>
                </a:lnTo>
                <a:lnTo>
                  <a:pt x="1989" y="1485"/>
                </a:lnTo>
                <a:lnTo>
                  <a:pt x="1992" y="1490"/>
                </a:lnTo>
                <a:lnTo>
                  <a:pt x="1995" y="1494"/>
                </a:lnTo>
                <a:lnTo>
                  <a:pt x="1999" y="1497"/>
                </a:lnTo>
                <a:lnTo>
                  <a:pt x="2003" y="1501"/>
                </a:lnTo>
                <a:lnTo>
                  <a:pt x="2011" y="1507"/>
                </a:lnTo>
                <a:lnTo>
                  <a:pt x="2020" y="1513"/>
                </a:lnTo>
                <a:lnTo>
                  <a:pt x="2025" y="1515"/>
                </a:lnTo>
                <a:lnTo>
                  <a:pt x="2030" y="1517"/>
                </a:lnTo>
                <a:lnTo>
                  <a:pt x="2041" y="1521"/>
                </a:lnTo>
                <a:lnTo>
                  <a:pt x="2053" y="1523"/>
                </a:lnTo>
                <a:lnTo>
                  <a:pt x="2059" y="1524"/>
                </a:lnTo>
                <a:lnTo>
                  <a:pt x="2065" y="1525"/>
                </a:lnTo>
                <a:lnTo>
                  <a:pt x="2078" y="1526"/>
                </a:lnTo>
                <a:lnTo>
                  <a:pt x="2091" y="1525"/>
                </a:lnTo>
                <a:lnTo>
                  <a:pt x="2104" y="1523"/>
                </a:lnTo>
                <a:lnTo>
                  <a:pt x="2115" y="1521"/>
                </a:lnTo>
                <a:lnTo>
                  <a:pt x="2126" y="1517"/>
                </a:lnTo>
                <a:lnTo>
                  <a:pt x="2131" y="1515"/>
                </a:lnTo>
                <a:lnTo>
                  <a:pt x="2136" y="1513"/>
                </a:lnTo>
                <a:lnTo>
                  <a:pt x="2145" y="1507"/>
                </a:lnTo>
                <a:lnTo>
                  <a:pt x="2149" y="1504"/>
                </a:lnTo>
                <a:lnTo>
                  <a:pt x="2154" y="1501"/>
                </a:lnTo>
                <a:lnTo>
                  <a:pt x="2157" y="1497"/>
                </a:lnTo>
                <a:lnTo>
                  <a:pt x="2161" y="1494"/>
                </a:lnTo>
                <a:lnTo>
                  <a:pt x="2168" y="1485"/>
                </a:lnTo>
                <a:lnTo>
                  <a:pt x="2173" y="1476"/>
                </a:lnTo>
                <a:lnTo>
                  <a:pt x="2178" y="1467"/>
                </a:lnTo>
                <a:lnTo>
                  <a:pt x="2182" y="1456"/>
                </a:lnTo>
                <a:lnTo>
                  <a:pt x="2186" y="1445"/>
                </a:lnTo>
                <a:lnTo>
                  <a:pt x="2187" y="1439"/>
                </a:lnTo>
                <a:lnTo>
                  <a:pt x="2188" y="1432"/>
                </a:lnTo>
                <a:lnTo>
                  <a:pt x="2189" y="1420"/>
                </a:lnTo>
                <a:lnTo>
                  <a:pt x="2190" y="1406"/>
                </a:lnTo>
                <a:lnTo>
                  <a:pt x="2190" y="1180"/>
                </a:lnTo>
                <a:lnTo>
                  <a:pt x="2222" y="1180"/>
                </a:lnTo>
                <a:lnTo>
                  <a:pt x="2222" y="1406"/>
                </a:lnTo>
                <a:lnTo>
                  <a:pt x="2221" y="1423"/>
                </a:lnTo>
                <a:lnTo>
                  <a:pt x="2219" y="1439"/>
                </a:lnTo>
                <a:lnTo>
                  <a:pt x="2216" y="1454"/>
                </a:lnTo>
                <a:lnTo>
                  <a:pt x="2213" y="1468"/>
                </a:lnTo>
                <a:lnTo>
                  <a:pt x="2207" y="1481"/>
                </a:lnTo>
                <a:lnTo>
                  <a:pt x="2201" y="1493"/>
                </a:lnTo>
                <a:lnTo>
                  <a:pt x="2194" y="1504"/>
                </a:lnTo>
                <a:lnTo>
                  <a:pt x="2185" y="1514"/>
                </a:lnTo>
                <a:lnTo>
                  <a:pt x="2176" y="1524"/>
                </a:lnTo>
                <a:lnTo>
                  <a:pt x="2165" y="1532"/>
                </a:lnTo>
                <a:lnTo>
                  <a:pt x="2160" y="1535"/>
                </a:lnTo>
                <a:lnTo>
                  <a:pt x="2153" y="1538"/>
                </a:lnTo>
                <a:lnTo>
                  <a:pt x="2147" y="1541"/>
                </a:lnTo>
                <a:lnTo>
                  <a:pt x="2141" y="1544"/>
                </a:lnTo>
                <a:lnTo>
                  <a:pt x="2134" y="1546"/>
                </a:lnTo>
                <a:lnTo>
                  <a:pt x="2127" y="1548"/>
                </a:lnTo>
                <a:lnTo>
                  <a:pt x="2112" y="1551"/>
                </a:lnTo>
                <a:lnTo>
                  <a:pt x="2095" y="1553"/>
                </a:lnTo>
                <a:lnTo>
                  <a:pt x="2087" y="1554"/>
                </a:lnTo>
                <a:lnTo>
                  <a:pt x="2078" y="1554"/>
                </a:lnTo>
                <a:close/>
                <a:moveTo>
                  <a:pt x="2578" y="1548"/>
                </a:moveTo>
                <a:lnTo>
                  <a:pt x="2540" y="1548"/>
                </a:lnTo>
                <a:lnTo>
                  <a:pt x="2436" y="1395"/>
                </a:lnTo>
                <a:lnTo>
                  <a:pt x="2355" y="1395"/>
                </a:lnTo>
                <a:lnTo>
                  <a:pt x="2355" y="1548"/>
                </a:lnTo>
                <a:lnTo>
                  <a:pt x="2324" y="1548"/>
                </a:lnTo>
                <a:lnTo>
                  <a:pt x="2324" y="1180"/>
                </a:lnTo>
                <a:lnTo>
                  <a:pt x="2461" y="1180"/>
                </a:lnTo>
                <a:lnTo>
                  <a:pt x="2473" y="1180"/>
                </a:lnTo>
                <a:lnTo>
                  <a:pt x="2479" y="1181"/>
                </a:lnTo>
                <a:lnTo>
                  <a:pt x="2484" y="1182"/>
                </a:lnTo>
                <a:lnTo>
                  <a:pt x="2490" y="1183"/>
                </a:lnTo>
                <a:lnTo>
                  <a:pt x="2495" y="1184"/>
                </a:lnTo>
                <a:lnTo>
                  <a:pt x="2506" y="1187"/>
                </a:lnTo>
                <a:lnTo>
                  <a:pt x="2515" y="1191"/>
                </a:lnTo>
                <a:lnTo>
                  <a:pt x="2524" y="1196"/>
                </a:lnTo>
                <a:lnTo>
                  <a:pt x="2533" y="1202"/>
                </a:lnTo>
                <a:lnTo>
                  <a:pt x="2541" y="1208"/>
                </a:lnTo>
                <a:lnTo>
                  <a:pt x="2545" y="1212"/>
                </a:lnTo>
                <a:lnTo>
                  <a:pt x="2548" y="1216"/>
                </a:lnTo>
                <a:lnTo>
                  <a:pt x="2552" y="1220"/>
                </a:lnTo>
                <a:lnTo>
                  <a:pt x="2555" y="1224"/>
                </a:lnTo>
                <a:lnTo>
                  <a:pt x="2560" y="1232"/>
                </a:lnTo>
                <a:lnTo>
                  <a:pt x="2562" y="1237"/>
                </a:lnTo>
                <a:lnTo>
                  <a:pt x="2565" y="1242"/>
                </a:lnTo>
                <a:lnTo>
                  <a:pt x="2568" y="1252"/>
                </a:lnTo>
                <a:lnTo>
                  <a:pt x="2570" y="1258"/>
                </a:lnTo>
                <a:lnTo>
                  <a:pt x="2571" y="1263"/>
                </a:lnTo>
                <a:lnTo>
                  <a:pt x="2572" y="1275"/>
                </a:lnTo>
                <a:lnTo>
                  <a:pt x="2573" y="1287"/>
                </a:lnTo>
                <a:lnTo>
                  <a:pt x="2573" y="1293"/>
                </a:lnTo>
                <a:lnTo>
                  <a:pt x="2572" y="1299"/>
                </a:lnTo>
                <a:lnTo>
                  <a:pt x="2571" y="1311"/>
                </a:lnTo>
                <a:lnTo>
                  <a:pt x="2568" y="1322"/>
                </a:lnTo>
                <a:lnTo>
                  <a:pt x="2565" y="1332"/>
                </a:lnTo>
                <a:lnTo>
                  <a:pt x="2561" y="1341"/>
                </a:lnTo>
                <a:lnTo>
                  <a:pt x="2556" y="1349"/>
                </a:lnTo>
                <a:lnTo>
                  <a:pt x="2553" y="1353"/>
                </a:lnTo>
                <a:lnTo>
                  <a:pt x="2550" y="1357"/>
                </a:lnTo>
                <a:lnTo>
                  <a:pt x="2543" y="1364"/>
                </a:lnTo>
                <a:lnTo>
                  <a:pt x="2535" y="1371"/>
                </a:lnTo>
                <a:lnTo>
                  <a:pt x="2527" y="1376"/>
                </a:lnTo>
                <a:lnTo>
                  <a:pt x="2519" y="1381"/>
                </a:lnTo>
                <a:lnTo>
                  <a:pt x="2510" y="1385"/>
                </a:lnTo>
                <a:lnTo>
                  <a:pt x="2501" y="1388"/>
                </a:lnTo>
                <a:lnTo>
                  <a:pt x="2492" y="1391"/>
                </a:lnTo>
                <a:lnTo>
                  <a:pt x="2482" y="1392"/>
                </a:lnTo>
                <a:lnTo>
                  <a:pt x="2471" y="1393"/>
                </a:lnTo>
                <a:lnTo>
                  <a:pt x="2578" y="1548"/>
                </a:lnTo>
                <a:close/>
                <a:moveTo>
                  <a:pt x="2459" y="1367"/>
                </a:moveTo>
                <a:lnTo>
                  <a:pt x="2468" y="1366"/>
                </a:lnTo>
                <a:lnTo>
                  <a:pt x="2476" y="1365"/>
                </a:lnTo>
                <a:lnTo>
                  <a:pt x="2484" y="1363"/>
                </a:lnTo>
                <a:lnTo>
                  <a:pt x="2492" y="1361"/>
                </a:lnTo>
                <a:lnTo>
                  <a:pt x="2499" y="1358"/>
                </a:lnTo>
                <a:lnTo>
                  <a:pt x="2506" y="1354"/>
                </a:lnTo>
                <a:lnTo>
                  <a:pt x="2509" y="1352"/>
                </a:lnTo>
                <a:lnTo>
                  <a:pt x="2512" y="1349"/>
                </a:lnTo>
                <a:lnTo>
                  <a:pt x="2518" y="1344"/>
                </a:lnTo>
                <a:lnTo>
                  <a:pt x="2523" y="1339"/>
                </a:lnTo>
                <a:lnTo>
                  <a:pt x="2527" y="1333"/>
                </a:lnTo>
                <a:lnTo>
                  <a:pt x="2529" y="1329"/>
                </a:lnTo>
                <a:lnTo>
                  <a:pt x="2531" y="1326"/>
                </a:lnTo>
                <a:lnTo>
                  <a:pt x="2534" y="1319"/>
                </a:lnTo>
                <a:lnTo>
                  <a:pt x="2537" y="1312"/>
                </a:lnTo>
                <a:lnTo>
                  <a:pt x="2539" y="1304"/>
                </a:lnTo>
                <a:lnTo>
                  <a:pt x="2540" y="1296"/>
                </a:lnTo>
                <a:lnTo>
                  <a:pt x="2540" y="1287"/>
                </a:lnTo>
                <a:lnTo>
                  <a:pt x="2540" y="1279"/>
                </a:lnTo>
                <a:lnTo>
                  <a:pt x="2539" y="1270"/>
                </a:lnTo>
                <a:lnTo>
                  <a:pt x="2537" y="1263"/>
                </a:lnTo>
                <a:lnTo>
                  <a:pt x="2534" y="1255"/>
                </a:lnTo>
                <a:lnTo>
                  <a:pt x="2531" y="1248"/>
                </a:lnTo>
                <a:lnTo>
                  <a:pt x="2527" y="1242"/>
                </a:lnTo>
                <a:lnTo>
                  <a:pt x="2523" y="1236"/>
                </a:lnTo>
                <a:lnTo>
                  <a:pt x="2520" y="1233"/>
                </a:lnTo>
                <a:lnTo>
                  <a:pt x="2518" y="1230"/>
                </a:lnTo>
                <a:lnTo>
                  <a:pt x="2512" y="1225"/>
                </a:lnTo>
                <a:lnTo>
                  <a:pt x="2506" y="1221"/>
                </a:lnTo>
                <a:lnTo>
                  <a:pt x="2499" y="1217"/>
                </a:lnTo>
                <a:lnTo>
                  <a:pt x="2496" y="1216"/>
                </a:lnTo>
                <a:lnTo>
                  <a:pt x="2492" y="1214"/>
                </a:lnTo>
                <a:lnTo>
                  <a:pt x="2484" y="1212"/>
                </a:lnTo>
                <a:lnTo>
                  <a:pt x="2476" y="1210"/>
                </a:lnTo>
                <a:lnTo>
                  <a:pt x="2468" y="1209"/>
                </a:lnTo>
                <a:lnTo>
                  <a:pt x="2459" y="1208"/>
                </a:lnTo>
                <a:lnTo>
                  <a:pt x="2355" y="1208"/>
                </a:lnTo>
                <a:lnTo>
                  <a:pt x="2355" y="1367"/>
                </a:lnTo>
                <a:lnTo>
                  <a:pt x="2459" y="1367"/>
                </a:lnTo>
                <a:close/>
                <a:moveTo>
                  <a:pt x="2809" y="1548"/>
                </a:moveTo>
                <a:lnTo>
                  <a:pt x="2770" y="1548"/>
                </a:lnTo>
                <a:lnTo>
                  <a:pt x="2619" y="1180"/>
                </a:lnTo>
                <a:lnTo>
                  <a:pt x="2656" y="1180"/>
                </a:lnTo>
                <a:lnTo>
                  <a:pt x="2790" y="1512"/>
                </a:lnTo>
                <a:lnTo>
                  <a:pt x="2923" y="1180"/>
                </a:lnTo>
                <a:lnTo>
                  <a:pt x="2960" y="1180"/>
                </a:lnTo>
                <a:lnTo>
                  <a:pt x="2809" y="1548"/>
                </a:lnTo>
                <a:close/>
                <a:moveTo>
                  <a:pt x="3296" y="1548"/>
                </a:moveTo>
                <a:lnTo>
                  <a:pt x="3259" y="1548"/>
                </a:lnTo>
                <a:lnTo>
                  <a:pt x="3223" y="1457"/>
                </a:lnTo>
                <a:lnTo>
                  <a:pt x="3028" y="1457"/>
                </a:lnTo>
                <a:lnTo>
                  <a:pt x="2992" y="1548"/>
                </a:lnTo>
                <a:lnTo>
                  <a:pt x="2956" y="1548"/>
                </a:lnTo>
                <a:lnTo>
                  <a:pt x="3106" y="1180"/>
                </a:lnTo>
                <a:lnTo>
                  <a:pt x="3145" y="1180"/>
                </a:lnTo>
                <a:lnTo>
                  <a:pt x="3296" y="1548"/>
                </a:lnTo>
                <a:close/>
                <a:moveTo>
                  <a:pt x="3213" y="1428"/>
                </a:moveTo>
                <a:lnTo>
                  <a:pt x="3126" y="1213"/>
                </a:lnTo>
                <a:lnTo>
                  <a:pt x="3039" y="1428"/>
                </a:lnTo>
                <a:lnTo>
                  <a:pt x="3213" y="1428"/>
                </a:lnTo>
                <a:close/>
                <a:moveTo>
                  <a:pt x="3563" y="1548"/>
                </a:moveTo>
                <a:lnTo>
                  <a:pt x="3353" y="1548"/>
                </a:lnTo>
                <a:lnTo>
                  <a:pt x="3353" y="1180"/>
                </a:lnTo>
                <a:lnTo>
                  <a:pt x="3385" y="1180"/>
                </a:lnTo>
                <a:lnTo>
                  <a:pt x="3385" y="1519"/>
                </a:lnTo>
                <a:lnTo>
                  <a:pt x="3563" y="1519"/>
                </a:lnTo>
                <a:lnTo>
                  <a:pt x="3563" y="1548"/>
                </a:lnTo>
                <a:close/>
                <a:moveTo>
                  <a:pt x="3841" y="1548"/>
                </a:moveTo>
                <a:lnTo>
                  <a:pt x="3631" y="1548"/>
                </a:lnTo>
                <a:lnTo>
                  <a:pt x="3631" y="1180"/>
                </a:lnTo>
                <a:lnTo>
                  <a:pt x="3663" y="1180"/>
                </a:lnTo>
                <a:lnTo>
                  <a:pt x="3663" y="1519"/>
                </a:lnTo>
                <a:lnTo>
                  <a:pt x="3841" y="1519"/>
                </a:lnTo>
                <a:lnTo>
                  <a:pt x="3841" y="1548"/>
                </a:lnTo>
                <a:close/>
                <a:moveTo>
                  <a:pt x="3948" y="1548"/>
                </a:moveTo>
                <a:lnTo>
                  <a:pt x="3917" y="1548"/>
                </a:lnTo>
                <a:lnTo>
                  <a:pt x="3917" y="1180"/>
                </a:lnTo>
                <a:lnTo>
                  <a:pt x="3948" y="1180"/>
                </a:lnTo>
                <a:lnTo>
                  <a:pt x="3948" y="1548"/>
                </a:lnTo>
                <a:close/>
                <a:moveTo>
                  <a:pt x="4165" y="1554"/>
                </a:moveTo>
                <a:lnTo>
                  <a:pt x="4154" y="1554"/>
                </a:lnTo>
                <a:lnTo>
                  <a:pt x="4143" y="1553"/>
                </a:lnTo>
                <a:lnTo>
                  <a:pt x="4132" y="1552"/>
                </a:lnTo>
                <a:lnTo>
                  <a:pt x="4122" y="1550"/>
                </a:lnTo>
                <a:lnTo>
                  <a:pt x="4113" y="1547"/>
                </a:lnTo>
                <a:lnTo>
                  <a:pt x="4103" y="1545"/>
                </a:lnTo>
                <a:lnTo>
                  <a:pt x="4094" y="1541"/>
                </a:lnTo>
                <a:lnTo>
                  <a:pt x="4085" y="1538"/>
                </a:lnTo>
                <a:lnTo>
                  <a:pt x="4077" y="1533"/>
                </a:lnTo>
                <a:lnTo>
                  <a:pt x="4069" y="1529"/>
                </a:lnTo>
                <a:lnTo>
                  <a:pt x="4062" y="1524"/>
                </a:lnTo>
                <a:lnTo>
                  <a:pt x="4055" y="1519"/>
                </a:lnTo>
                <a:lnTo>
                  <a:pt x="4048" y="1514"/>
                </a:lnTo>
                <a:lnTo>
                  <a:pt x="4042" y="1508"/>
                </a:lnTo>
                <a:lnTo>
                  <a:pt x="4036" y="1502"/>
                </a:lnTo>
                <a:lnTo>
                  <a:pt x="4030" y="1496"/>
                </a:lnTo>
                <a:lnTo>
                  <a:pt x="4051" y="1472"/>
                </a:lnTo>
                <a:lnTo>
                  <a:pt x="4060" y="1482"/>
                </a:lnTo>
                <a:lnTo>
                  <a:pt x="4066" y="1487"/>
                </a:lnTo>
                <a:lnTo>
                  <a:pt x="4071" y="1492"/>
                </a:lnTo>
                <a:lnTo>
                  <a:pt x="4084" y="1501"/>
                </a:lnTo>
                <a:lnTo>
                  <a:pt x="4097" y="1509"/>
                </a:lnTo>
                <a:lnTo>
                  <a:pt x="4105" y="1513"/>
                </a:lnTo>
                <a:lnTo>
                  <a:pt x="4113" y="1516"/>
                </a:lnTo>
                <a:lnTo>
                  <a:pt x="4121" y="1519"/>
                </a:lnTo>
                <a:lnTo>
                  <a:pt x="4129" y="1521"/>
                </a:lnTo>
                <a:lnTo>
                  <a:pt x="4138" y="1523"/>
                </a:lnTo>
                <a:lnTo>
                  <a:pt x="4147" y="1524"/>
                </a:lnTo>
                <a:lnTo>
                  <a:pt x="4156" y="1525"/>
                </a:lnTo>
                <a:lnTo>
                  <a:pt x="4166" y="1526"/>
                </a:lnTo>
                <a:lnTo>
                  <a:pt x="4175" y="1525"/>
                </a:lnTo>
                <a:lnTo>
                  <a:pt x="4184" y="1525"/>
                </a:lnTo>
                <a:lnTo>
                  <a:pt x="4192" y="1524"/>
                </a:lnTo>
                <a:lnTo>
                  <a:pt x="4199" y="1522"/>
                </a:lnTo>
                <a:lnTo>
                  <a:pt x="4206" y="1521"/>
                </a:lnTo>
                <a:lnTo>
                  <a:pt x="4213" y="1519"/>
                </a:lnTo>
                <a:lnTo>
                  <a:pt x="4219" y="1516"/>
                </a:lnTo>
                <a:lnTo>
                  <a:pt x="4224" y="1513"/>
                </a:lnTo>
                <a:lnTo>
                  <a:pt x="4234" y="1507"/>
                </a:lnTo>
                <a:lnTo>
                  <a:pt x="4243" y="1501"/>
                </a:lnTo>
                <a:lnTo>
                  <a:pt x="4246" y="1497"/>
                </a:lnTo>
                <a:lnTo>
                  <a:pt x="4249" y="1493"/>
                </a:lnTo>
                <a:lnTo>
                  <a:pt x="4252" y="1489"/>
                </a:lnTo>
                <a:lnTo>
                  <a:pt x="4254" y="1485"/>
                </a:lnTo>
                <a:lnTo>
                  <a:pt x="4258" y="1477"/>
                </a:lnTo>
                <a:lnTo>
                  <a:pt x="4261" y="1468"/>
                </a:lnTo>
                <a:lnTo>
                  <a:pt x="4262" y="1460"/>
                </a:lnTo>
                <a:lnTo>
                  <a:pt x="4263" y="1452"/>
                </a:lnTo>
                <a:lnTo>
                  <a:pt x="4262" y="1444"/>
                </a:lnTo>
                <a:lnTo>
                  <a:pt x="4261" y="1437"/>
                </a:lnTo>
                <a:lnTo>
                  <a:pt x="4259" y="1431"/>
                </a:lnTo>
                <a:lnTo>
                  <a:pt x="4256" y="1424"/>
                </a:lnTo>
                <a:lnTo>
                  <a:pt x="4253" y="1419"/>
                </a:lnTo>
                <a:lnTo>
                  <a:pt x="4249" y="1413"/>
                </a:lnTo>
                <a:lnTo>
                  <a:pt x="4245" y="1408"/>
                </a:lnTo>
                <a:lnTo>
                  <a:pt x="4242" y="1406"/>
                </a:lnTo>
                <a:lnTo>
                  <a:pt x="4240" y="1404"/>
                </a:lnTo>
                <a:lnTo>
                  <a:pt x="4228" y="1397"/>
                </a:lnTo>
                <a:lnTo>
                  <a:pt x="4222" y="1393"/>
                </a:lnTo>
                <a:lnTo>
                  <a:pt x="4215" y="1390"/>
                </a:lnTo>
                <a:lnTo>
                  <a:pt x="4201" y="1384"/>
                </a:lnTo>
                <a:lnTo>
                  <a:pt x="4185" y="1379"/>
                </a:lnTo>
                <a:lnTo>
                  <a:pt x="4152" y="1370"/>
                </a:lnTo>
                <a:lnTo>
                  <a:pt x="4120" y="1360"/>
                </a:lnTo>
                <a:lnTo>
                  <a:pt x="4112" y="1357"/>
                </a:lnTo>
                <a:lnTo>
                  <a:pt x="4104" y="1354"/>
                </a:lnTo>
                <a:lnTo>
                  <a:pt x="4097" y="1351"/>
                </a:lnTo>
                <a:lnTo>
                  <a:pt x="4090" y="1347"/>
                </a:lnTo>
                <a:lnTo>
                  <a:pt x="4083" y="1343"/>
                </a:lnTo>
                <a:lnTo>
                  <a:pt x="4077" y="1339"/>
                </a:lnTo>
                <a:lnTo>
                  <a:pt x="4065" y="1329"/>
                </a:lnTo>
                <a:lnTo>
                  <a:pt x="4060" y="1324"/>
                </a:lnTo>
                <a:lnTo>
                  <a:pt x="4055" y="1318"/>
                </a:lnTo>
                <a:lnTo>
                  <a:pt x="4051" y="1312"/>
                </a:lnTo>
                <a:lnTo>
                  <a:pt x="4048" y="1305"/>
                </a:lnTo>
                <a:lnTo>
                  <a:pt x="4046" y="1298"/>
                </a:lnTo>
                <a:lnTo>
                  <a:pt x="4044" y="1290"/>
                </a:lnTo>
                <a:lnTo>
                  <a:pt x="4043" y="1281"/>
                </a:lnTo>
                <a:lnTo>
                  <a:pt x="4042" y="1272"/>
                </a:lnTo>
                <a:lnTo>
                  <a:pt x="4043" y="1261"/>
                </a:lnTo>
                <a:lnTo>
                  <a:pt x="4045" y="1250"/>
                </a:lnTo>
                <a:lnTo>
                  <a:pt x="4046" y="1245"/>
                </a:lnTo>
                <a:lnTo>
                  <a:pt x="4048" y="1240"/>
                </a:lnTo>
                <a:lnTo>
                  <a:pt x="4052" y="1231"/>
                </a:lnTo>
                <a:lnTo>
                  <a:pt x="4056" y="1222"/>
                </a:lnTo>
                <a:lnTo>
                  <a:pt x="4059" y="1218"/>
                </a:lnTo>
                <a:lnTo>
                  <a:pt x="4062" y="1214"/>
                </a:lnTo>
                <a:lnTo>
                  <a:pt x="4069" y="1207"/>
                </a:lnTo>
                <a:lnTo>
                  <a:pt x="4077" y="1200"/>
                </a:lnTo>
                <a:lnTo>
                  <a:pt x="4082" y="1197"/>
                </a:lnTo>
                <a:lnTo>
                  <a:pt x="4086" y="1194"/>
                </a:lnTo>
                <a:lnTo>
                  <a:pt x="4095" y="1189"/>
                </a:lnTo>
                <a:lnTo>
                  <a:pt x="4105" y="1184"/>
                </a:lnTo>
                <a:lnTo>
                  <a:pt x="4116" y="1181"/>
                </a:lnTo>
                <a:lnTo>
                  <a:pt x="4127" y="1178"/>
                </a:lnTo>
                <a:lnTo>
                  <a:pt x="4138" y="1175"/>
                </a:lnTo>
                <a:lnTo>
                  <a:pt x="4150" y="1174"/>
                </a:lnTo>
                <a:lnTo>
                  <a:pt x="4163" y="1174"/>
                </a:lnTo>
                <a:lnTo>
                  <a:pt x="4173" y="1174"/>
                </a:lnTo>
                <a:lnTo>
                  <a:pt x="4183" y="1175"/>
                </a:lnTo>
                <a:lnTo>
                  <a:pt x="4192" y="1176"/>
                </a:lnTo>
                <a:lnTo>
                  <a:pt x="4201" y="1177"/>
                </a:lnTo>
                <a:lnTo>
                  <a:pt x="4210" y="1179"/>
                </a:lnTo>
                <a:lnTo>
                  <a:pt x="4219" y="1181"/>
                </a:lnTo>
                <a:lnTo>
                  <a:pt x="4227" y="1184"/>
                </a:lnTo>
                <a:lnTo>
                  <a:pt x="4235" y="1187"/>
                </a:lnTo>
                <a:lnTo>
                  <a:pt x="4243" y="1191"/>
                </a:lnTo>
                <a:lnTo>
                  <a:pt x="4250" y="1195"/>
                </a:lnTo>
                <a:lnTo>
                  <a:pt x="4264" y="1204"/>
                </a:lnTo>
                <a:lnTo>
                  <a:pt x="4270" y="1209"/>
                </a:lnTo>
                <a:lnTo>
                  <a:pt x="4276" y="1214"/>
                </a:lnTo>
                <a:lnTo>
                  <a:pt x="4282" y="1219"/>
                </a:lnTo>
                <a:lnTo>
                  <a:pt x="4287" y="1225"/>
                </a:lnTo>
                <a:lnTo>
                  <a:pt x="4266" y="1249"/>
                </a:lnTo>
                <a:lnTo>
                  <a:pt x="4261" y="1243"/>
                </a:lnTo>
                <a:lnTo>
                  <a:pt x="4256" y="1237"/>
                </a:lnTo>
                <a:lnTo>
                  <a:pt x="4250" y="1232"/>
                </a:lnTo>
                <a:lnTo>
                  <a:pt x="4245" y="1228"/>
                </a:lnTo>
                <a:lnTo>
                  <a:pt x="4239" y="1224"/>
                </a:lnTo>
                <a:lnTo>
                  <a:pt x="4232" y="1220"/>
                </a:lnTo>
                <a:lnTo>
                  <a:pt x="4226" y="1216"/>
                </a:lnTo>
                <a:lnTo>
                  <a:pt x="4219" y="1213"/>
                </a:lnTo>
                <a:lnTo>
                  <a:pt x="4213" y="1211"/>
                </a:lnTo>
                <a:lnTo>
                  <a:pt x="4206" y="1208"/>
                </a:lnTo>
                <a:lnTo>
                  <a:pt x="4199" y="1207"/>
                </a:lnTo>
                <a:lnTo>
                  <a:pt x="4191" y="1205"/>
                </a:lnTo>
                <a:lnTo>
                  <a:pt x="4184" y="1204"/>
                </a:lnTo>
                <a:lnTo>
                  <a:pt x="4176" y="1203"/>
                </a:lnTo>
                <a:lnTo>
                  <a:pt x="4161" y="1202"/>
                </a:lnTo>
                <a:lnTo>
                  <a:pt x="4152" y="1203"/>
                </a:lnTo>
                <a:lnTo>
                  <a:pt x="4143" y="1204"/>
                </a:lnTo>
                <a:lnTo>
                  <a:pt x="4135" y="1205"/>
                </a:lnTo>
                <a:lnTo>
                  <a:pt x="4127" y="1207"/>
                </a:lnTo>
                <a:lnTo>
                  <a:pt x="4119" y="1210"/>
                </a:lnTo>
                <a:lnTo>
                  <a:pt x="4112" y="1213"/>
                </a:lnTo>
                <a:lnTo>
                  <a:pt x="4106" y="1217"/>
                </a:lnTo>
                <a:lnTo>
                  <a:pt x="4100" y="1221"/>
                </a:lnTo>
                <a:lnTo>
                  <a:pt x="4094" y="1226"/>
                </a:lnTo>
                <a:lnTo>
                  <a:pt x="4089" y="1231"/>
                </a:lnTo>
                <a:lnTo>
                  <a:pt x="4085" y="1237"/>
                </a:lnTo>
                <a:lnTo>
                  <a:pt x="4082" y="1243"/>
                </a:lnTo>
                <a:lnTo>
                  <a:pt x="4079" y="1249"/>
                </a:lnTo>
                <a:lnTo>
                  <a:pt x="4077" y="1256"/>
                </a:lnTo>
                <a:lnTo>
                  <a:pt x="4076" y="1263"/>
                </a:lnTo>
                <a:lnTo>
                  <a:pt x="4075" y="1270"/>
                </a:lnTo>
                <a:lnTo>
                  <a:pt x="4076" y="1277"/>
                </a:lnTo>
                <a:lnTo>
                  <a:pt x="4077" y="1283"/>
                </a:lnTo>
                <a:lnTo>
                  <a:pt x="4079" y="1289"/>
                </a:lnTo>
                <a:lnTo>
                  <a:pt x="4081" y="1294"/>
                </a:lnTo>
                <a:lnTo>
                  <a:pt x="4084" y="1299"/>
                </a:lnTo>
                <a:lnTo>
                  <a:pt x="4088" y="1304"/>
                </a:lnTo>
                <a:lnTo>
                  <a:pt x="4093" y="1308"/>
                </a:lnTo>
                <a:lnTo>
                  <a:pt x="4098" y="1312"/>
                </a:lnTo>
                <a:lnTo>
                  <a:pt x="4110" y="1319"/>
                </a:lnTo>
                <a:lnTo>
                  <a:pt x="4116" y="1322"/>
                </a:lnTo>
                <a:lnTo>
                  <a:pt x="4123" y="1325"/>
                </a:lnTo>
                <a:lnTo>
                  <a:pt x="4130" y="1327"/>
                </a:lnTo>
                <a:lnTo>
                  <a:pt x="4137" y="1330"/>
                </a:lnTo>
                <a:lnTo>
                  <a:pt x="4153" y="1335"/>
                </a:lnTo>
                <a:lnTo>
                  <a:pt x="4185" y="1344"/>
                </a:lnTo>
                <a:lnTo>
                  <a:pt x="4218" y="1354"/>
                </a:lnTo>
                <a:lnTo>
                  <a:pt x="4226" y="1357"/>
                </a:lnTo>
                <a:lnTo>
                  <a:pt x="4234" y="1361"/>
                </a:lnTo>
                <a:lnTo>
                  <a:pt x="4237" y="1363"/>
                </a:lnTo>
                <a:lnTo>
                  <a:pt x="4241" y="1364"/>
                </a:lnTo>
                <a:lnTo>
                  <a:pt x="4248" y="1368"/>
                </a:lnTo>
                <a:lnTo>
                  <a:pt x="4255" y="1373"/>
                </a:lnTo>
                <a:lnTo>
                  <a:pt x="4261" y="1377"/>
                </a:lnTo>
                <a:lnTo>
                  <a:pt x="4267" y="1382"/>
                </a:lnTo>
                <a:lnTo>
                  <a:pt x="4273" y="1388"/>
                </a:lnTo>
                <a:lnTo>
                  <a:pt x="4278" y="1393"/>
                </a:lnTo>
                <a:lnTo>
                  <a:pt x="4282" y="1400"/>
                </a:lnTo>
                <a:lnTo>
                  <a:pt x="4284" y="1403"/>
                </a:lnTo>
                <a:lnTo>
                  <a:pt x="4286" y="1407"/>
                </a:lnTo>
                <a:lnTo>
                  <a:pt x="4289" y="1414"/>
                </a:lnTo>
                <a:lnTo>
                  <a:pt x="4292" y="1422"/>
                </a:lnTo>
                <a:lnTo>
                  <a:pt x="4294" y="1431"/>
                </a:lnTo>
                <a:lnTo>
                  <a:pt x="4295" y="1440"/>
                </a:lnTo>
                <a:lnTo>
                  <a:pt x="4296" y="1450"/>
                </a:lnTo>
                <a:lnTo>
                  <a:pt x="4295" y="1462"/>
                </a:lnTo>
                <a:lnTo>
                  <a:pt x="4293" y="1474"/>
                </a:lnTo>
                <a:lnTo>
                  <a:pt x="4289" y="1486"/>
                </a:lnTo>
                <a:lnTo>
                  <a:pt x="4284" y="1498"/>
                </a:lnTo>
                <a:lnTo>
                  <a:pt x="4281" y="1504"/>
                </a:lnTo>
                <a:lnTo>
                  <a:pt x="4277" y="1509"/>
                </a:lnTo>
                <a:lnTo>
                  <a:pt x="4272" y="1515"/>
                </a:lnTo>
                <a:lnTo>
                  <a:pt x="4268" y="1520"/>
                </a:lnTo>
                <a:lnTo>
                  <a:pt x="4262" y="1525"/>
                </a:lnTo>
                <a:lnTo>
                  <a:pt x="4256" y="1529"/>
                </a:lnTo>
                <a:lnTo>
                  <a:pt x="4250" y="1534"/>
                </a:lnTo>
                <a:lnTo>
                  <a:pt x="4243" y="1538"/>
                </a:lnTo>
                <a:lnTo>
                  <a:pt x="4236" y="1541"/>
                </a:lnTo>
                <a:lnTo>
                  <a:pt x="4227" y="1545"/>
                </a:lnTo>
                <a:lnTo>
                  <a:pt x="4219" y="1547"/>
                </a:lnTo>
                <a:lnTo>
                  <a:pt x="4209" y="1550"/>
                </a:lnTo>
                <a:lnTo>
                  <a:pt x="4199" y="1552"/>
                </a:lnTo>
                <a:lnTo>
                  <a:pt x="4188" y="1553"/>
                </a:lnTo>
                <a:lnTo>
                  <a:pt x="4177" y="1554"/>
                </a:lnTo>
                <a:lnTo>
                  <a:pt x="4165" y="1554"/>
                </a:lnTo>
                <a:close/>
                <a:moveTo>
                  <a:pt x="4615" y="1548"/>
                </a:moveTo>
                <a:lnTo>
                  <a:pt x="4382" y="1548"/>
                </a:lnTo>
                <a:lnTo>
                  <a:pt x="4382" y="1180"/>
                </a:lnTo>
                <a:lnTo>
                  <a:pt x="4615" y="1180"/>
                </a:lnTo>
                <a:lnTo>
                  <a:pt x="4615" y="1208"/>
                </a:lnTo>
                <a:lnTo>
                  <a:pt x="4413" y="1208"/>
                </a:lnTo>
                <a:lnTo>
                  <a:pt x="4413" y="1345"/>
                </a:lnTo>
                <a:lnTo>
                  <a:pt x="4611" y="1345"/>
                </a:lnTo>
                <a:lnTo>
                  <a:pt x="4611" y="1373"/>
                </a:lnTo>
                <a:lnTo>
                  <a:pt x="4413" y="1373"/>
                </a:lnTo>
                <a:lnTo>
                  <a:pt x="4413" y="1519"/>
                </a:lnTo>
                <a:lnTo>
                  <a:pt x="4615" y="1519"/>
                </a:lnTo>
                <a:lnTo>
                  <a:pt x="4615" y="1548"/>
                </a:lnTo>
                <a:close/>
                <a:moveTo>
                  <a:pt x="5048" y="1548"/>
                </a:moveTo>
                <a:lnTo>
                  <a:pt x="5016" y="1548"/>
                </a:lnTo>
                <a:lnTo>
                  <a:pt x="5016" y="1219"/>
                </a:lnTo>
                <a:lnTo>
                  <a:pt x="4882" y="1548"/>
                </a:lnTo>
                <a:lnTo>
                  <a:pt x="4870" y="1548"/>
                </a:lnTo>
                <a:lnTo>
                  <a:pt x="4736" y="1219"/>
                </a:lnTo>
                <a:lnTo>
                  <a:pt x="4736" y="1548"/>
                </a:lnTo>
                <a:lnTo>
                  <a:pt x="4704" y="1548"/>
                </a:lnTo>
                <a:lnTo>
                  <a:pt x="4704" y="1180"/>
                </a:lnTo>
                <a:lnTo>
                  <a:pt x="4751" y="1180"/>
                </a:lnTo>
                <a:lnTo>
                  <a:pt x="4876" y="1486"/>
                </a:lnTo>
                <a:lnTo>
                  <a:pt x="5001" y="1180"/>
                </a:lnTo>
                <a:lnTo>
                  <a:pt x="5048" y="1180"/>
                </a:lnTo>
                <a:lnTo>
                  <a:pt x="5048" y="1548"/>
                </a:lnTo>
                <a:close/>
                <a:moveTo>
                  <a:pt x="5495" y="1548"/>
                </a:moveTo>
                <a:lnTo>
                  <a:pt x="5464" y="1548"/>
                </a:lnTo>
                <a:lnTo>
                  <a:pt x="5464" y="1219"/>
                </a:lnTo>
                <a:lnTo>
                  <a:pt x="5328" y="1548"/>
                </a:lnTo>
                <a:lnTo>
                  <a:pt x="5316" y="1548"/>
                </a:lnTo>
                <a:lnTo>
                  <a:pt x="5182" y="1219"/>
                </a:lnTo>
                <a:lnTo>
                  <a:pt x="5182" y="1548"/>
                </a:lnTo>
                <a:lnTo>
                  <a:pt x="5150" y="1548"/>
                </a:lnTo>
                <a:lnTo>
                  <a:pt x="5150" y="1180"/>
                </a:lnTo>
                <a:lnTo>
                  <a:pt x="5197" y="1180"/>
                </a:lnTo>
                <a:lnTo>
                  <a:pt x="5322" y="1486"/>
                </a:lnTo>
                <a:lnTo>
                  <a:pt x="5448" y="1180"/>
                </a:lnTo>
                <a:lnTo>
                  <a:pt x="5495" y="1180"/>
                </a:lnTo>
                <a:lnTo>
                  <a:pt x="5495" y="1548"/>
                </a:lnTo>
                <a:close/>
                <a:moveTo>
                  <a:pt x="5900" y="1548"/>
                </a:moveTo>
                <a:lnTo>
                  <a:pt x="5864" y="1548"/>
                </a:lnTo>
                <a:lnTo>
                  <a:pt x="5828" y="1457"/>
                </a:lnTo>
                <a:lnTo>
                  <a:pt x="5633" y="1457"/>
                </a:lnTo>
                <a:lnTo>
                  <a:pt x="5596" y="1548"/>
                </a:lnTo>
                <a:lnTo>
                  <a:pt x="5560" y="1548"/>
                </a:lnTo>
                <a:lnTo>
                  <a:pt x="5711" y="1180"/>
                </a:lnTo>
                <a:lnTo>
                  <a:pt x="5750" y="1180"/>
                </a:lnTo>
                <a:lnTo>
                  <a:pt x="5900" y="1548"/>
                </a:lnTo>
                <a:close/>
                <a:moveTo>
                  <a:pt x="5817" y="1428"/>
                </a:moveTo>
                <a:lnTo>
                  <a:pt x="5730" y="1213"/>
                </a:lnTo>
                <a:lnTo>
                  <a:pt x="5643" y="1428"/>
                </a:lnTo>
                <a:lnTo>
                  <a:pt x="5817" y="1428"/>
                </a:lnTo>
                <a:close/>
                <a:moveTo>
                  <a:pt x="6259" y="1548"/>
                </a:moveTo>
                <a:lnTo>
                  <a:pt x="6228" y="1548"/>
                </a:lnTo>
                <a:lnTo>
                  <a:pt x="5997" y="1232"/>
                </a:lnTo>
                <a:lnTo>
                  <a:pt x="5997" y="1548"/>
                </a:lnTo>
                <a:lnTo>
                  <a:pt x="5965" y="1548"/>
                </a:lnTo>
                <a:lnTo>
                  <a:pt x="5965" y="1180"/>
                </a:lnTo>
                <a:lnTo>
                  <a:pt x="5997" y="1180"/>
                </a:lnTo>
                <a:lnTo>
                  <a:pt x="6228" y="1491"/>
                </a:lnTo>
                <a:lnTo>
                  <a:pt x="6228" y="1180"/>
                </a:lnTo>
                <a:lnTo>
                  <a:pt x="6259" y="1180"/>
                </a:lnTo>
                <a:lnTo>
                  <a:pt x="6259" y="1548"/>
                </a:lnTo>
                <a:close/>
                <a:moveTo>
                  <a:pt x="6377" y="1552"/>
                </a:moveTo>
                <a:lnTo>
                  <a:pt x="6372" y="1552"/>
                </a:lnTo>
                <a:lnTo>
                  <a:pt x="6367" y="1551"/>
                </a:lnTo>
                <a:lnTo>
                  <a:pt x="6363" y="1548"/>
                </a:lnTo>
                <a:lnTo>
                  <a:pt x="6359" y="1545"/>
                </a:lnTo>
                <a:lnTo>
                  <a:pt x="6356" y="1542"/>
                </a:lnTo>
                <a:lnTo>
                  <a:pt x="6354" y="1538"/>
                </a:lnTo>
                <a:lnTo>
                  <a:pt x="6352" y="1533"/>
                </a:lnTo>
                <a:lnTo>
                  <a:pt x="6352" y="1528"/>
                </a:lnTo>
                <a:lnTo>
                  <a:pt x="6352" y="1524"/>
                </a:lnTo>
                <a:lnTo>
                  <a:pt x="6353" y="1521"/>
                </a:lnTo>
                <a:lnTo>
                  <a:pt x="6354" y="1519"/>
                </a:lnTo>
                <a:lnTo>
                  <a:pt x="6355" y="1517"/>
                </a:lnTo>
                <a:lnTo>
                  <a:pt x="6356" y="1515"/>
                </a:lnTo>
                <a:lnTo>
                  <a:pt x="6359" y="1512"/>
                </a:lnTo>
                <a:lnTo>
                  <a:pt x="6363" y="1509"/>
                </a:lnTo>
                <a:lnTo>
                  <a:pt x="6367" y="1506"/>
                </a:lnTo>
                <a:lnTo>
                  <a:pt x="6372" y="1505"/>
                </a:lnTo>
                <a:lnTo>
                  <a:pt x="6377" y="1505"/>
                </a:lnTo>
                <a:lnTo>
                  <a:pt x="6382" y="1505"/>
                </a:lnTo>
                <a:lnTo>
                  <a:pt x="6386" y="1506"/>
                </a:lnTo>
                <a:lnTo>
                  <a:pt x="6388" y="1507"/>
                </a:lnTo>
                <a:lnTo>
                  <a:pt x="6390" y="1509"/>
                </a:lnTo>
                <a:lnTo>
                  <a:pt x="6394" y="1512"/>
                </a:lnTo>
                <a:lnTo>
                  <a:pt x="6397" y="1515"/>
                </a:lnTo>
                <a:lnTo>
                  <a:pt x="6399" y="1519"/>
                </a:lnTo>
                <a:lnTo>
                  <a:pt x="6400" y="1524"/>
                </a:lnTo>
                <a:lnTo>
                  <a:pt x="6401" y="1528"/>
                </a:lnTo>
                <a:lnTo>
                  <a:pt x="6400" y="1533"/>
                </a:lnTo>
                <a:lnTo>
                  <a:pt x="6399" y="1538"/>
                </a:lnTo>
                <a:lnTo>
                  <a:pt x="6398" y="1540"/>
                </a:lnTo>
                <a:lnTo>
                  <a:pt x="6397" y="1542"/>
                </a:lnTo>
                <a:lnTo>
                  <a:pt x="6394" y="1545"/>
                </a:lnTo>
                <a:lnTo>
                  <a:pt x="6392" y="1547"/>
                </a:lnTo>
                <a:lnTo>
                  <a:pt x="6390" y="1548"/>
                </a:lnTo>
                <a:lnTo>
                  <a:pt x="6386" y="1551"/>
                </a:lnTo>
                <a:lnTo>
                  <a:pt x="6382" y="1552"/>
                </a:lnTo>
                <a:lnTo>
                  <a:pt x="6377" y="1552"/>
                </a:lnTo>
                <a:close/>
                <a:moveTo>
                  <a:pt x="344" y="996"/>
                </a:moveTo>
                <a:lnTo>
                  <a:pt x="312" y="996"/>
                </a:lnTo>
                <a:lnTo>
                  <a:pt x="312" y="668"/>
                </a:lnTo>
                <a:lnTo>
                  <a:pt x="178" y="996"/>
                </a:lnTo>
                <a:lnTo>
                  <a:pt x="166" y="996"/>
                </a:lnTo>
                <a:lnTo>
                  <a:pt x="31" y="668"/>
                </a:lnTo>
                <a:lnTo>
                  <a:pt x="31" y="996"/>
                </a:lnTo>
                <a:lnTo>
                  <a:pt x="0" y="996"/>
                </a:lnTo>
                <a:lnTo>
                  <a:pt x="0" y="628"/>
                </a:lnTo>
                <a:lnTo>
                  <a:pt x="47" y="628"/>
                </a:lnTo>
                <a:lnTo>
                  <a:pt x="172" y="934"/>
                </a:lnTo>
                <a:lnTo>
                  <a:pt x="297" y="628"/>
                </a:lnTo>
                <a:lnTo>
                  <a:pt x="344" y="628"/>
                </a:lnTo>
                <a:lnTo>
                  <a:pt x="344" y="996"/>
                </a:lnTo>
                <a:close/>
                <a:moveTo>
                  <a:pt x="749" y="996"/>
                </a:moveTo>
                <a:lnTo>
                  <a:pt x="713" y="996"/>
                </a:lnTo>
                <a:lnTo>
                  <a:pt x="676" y="906"/>
                </a:lnTo>
                <a:lnTo>
                  <a:pt x="482" y="906"/>
                </a:lnTo>
                <a:lnTo>
                  <a:pt x="445" y="996"/>
                </a:lnTo>
                <a:lnTo>
                  <a:pt x="409" y="996"/>
                </a:lnTo>
                <a:lnTo>
                  <a:pt x="559" y="628"/>
                </a:lnTo>
                <a:lnTo>
                  <a:pt x="599" y="628"/>
                </a:lnTo>
                <a:lnTo>
                  <a:pt x="749" y="996"/>
                </a:lnTo>
                <a:close/>
                <a:moveTo>
                  <a:pt x="666" y="877"/>
                </a:moveTo>
                <a:lnTo>
                  <a:pt x="579" y="662"/>
                </a:lnTo>
                <a:lnTo>
                  <a:pt x="492" y="877"/>
                </a:lnTo>
                <a:lnTo>
                  <a:pt x="666" y="877"/>
                </a:lnTo>
                <a:close/>
                <a:moveTo>
                  <a:pt x="1117" y="996"/>
                </a:moveTo>
                <a:lnTo>
                  <a:pt x="1080" y="996"/>
                </a:lnTo>
                <a:lnTo>
                  <a:pt x="1044" y="906"/>
                </a:lnTo>
                <a:lnTo>
                  <a:pt x="849" y="906"/>
                </a:lnTo>
                <a:lnTo>
                  <a:pt x="813" y="996"/>
                </a:lnTo>
                <a:lnTo>
                  <a:pt x="776" y="996"/>
                </a:lnTo>
                <a:lnTo>
                  <a:pt x="927" y="628"/>
                </a:lnTo>
                <a:lnTo>
                  <a:pt x="966" y="628"/>
                </a:lnTo>
                <a:lnTo>
                  <a:pt x="1117" y="996"/>
                </a:lnTo>
                <a:close/>
                <a:moveTo>
                  <a:pt x="1033" y="877"/>
                </a:moveTo>
                <a:lnTo>
                  <a:pt x="947" y="662"/>
                </a:lnTo>
                <a:lnTo>
                  <a:pt x="860" y="877"/>
                </a:lnTo>
                <a:lnTo>
                  <a:pt x="1033" y="877"/>
                </a:lnTo>
                <a:close/>
                <a:moveTo>
                  <a:pt x="1213" y="996"/>
                </a:moveTo>
                <a:lnTo>
                  <a:pt x="1182" y="996"/>
                </a:lnTo>
                <a:lnTo>
                  <a:pt x="1182" y="628"/>
                </a:lnTo>
                <a:lnTo>
                  <a:pt x="1213" y="628"/>
                </a:lnTo>
                <a:lnTo>
                  <a:pt x="1213" y="996"/>
                </a:lnTo>
                <a:close/>
                <a:moveTo>
                  <a:pt x="1518" y="996"/>
                </a:moveTo>
                <a:lnTo>
                  <a:pt x="1308" y="996"/>
                </a:lnTo>
                <a:lnTo>
                  <a:pt x="1308" y="628"/>
                </a:lnTo>
                <a:lnTo>
                  <a:pt x="1340" y="628"/>
                </a:lnTo>
                <a:lnTo>
                  <a:pt x="1340" y="967"/>
                </a:lnTo>
                <a:lnTo>
                  <a:pt x="1518" y="967"/>
                </a:lnTo>
                <a:lnTo>
                  <a:pt x="1518" y="996"/>
                </a:lnTo>
                <a:close/>
                <a:moveTo>
                  <a:pt x="1939" y="996"/>
                </a:moveTo>
                <a:lnTo>
                  <a:pt x="1907" y="996"/>
                </a:lnTo>
                <a:lnTo>
                  <a:pt x="1907" y="668"/>
                </a:lnTo>
                <a:lnTo>
                  <a:pt x="1772" y="996"/>
                </a:lnTo>
                <a:lnTo>
                  <a:pt x="1759" y="996"/>
                </a:lnTo>
                <a:lnTo>
                  <a:pt x="1625" y="668"/>
                </a:lnTo>
                <a:lnTo>
                  <a:pt x="1625" y="996"/>
                </a:lnTo>
                <a:lnTo>
                  <a:pt x="1594" y="996"/>
                </a:lnTo>
                <a:lnTo>
                  <a:pt x="1594" y="628"/>
                </a:lnTo>
                <a:lnTo>
                  <a:pt x="1640" y="628"/>
                </a:lnTo>
                <a:lnTo>
                  <a:pt x="1766" y="934"/>
                </a:lnTo>
                <a:lnTo>
                  <a:pt x="1891" y="628"/>
                </a:lnTo>
                <a:lnTo>
                  <a:pt x="1939" y="628"/>
                </a:lnTo>
                <a:lnTo>
                  <a:pt x="1939" y="996"/>
                </a:lnTo>
                <a:close/>
                <a:moveTo>
                  <a:pt x="2343" y="996"/>
                </a:moveTo>
                <a:lnTo>
                  <a:pt x="2307" y="996"/>
                </a:lnTo>
                <a:lnTo>
                  <a:pt x="2271" y="906"/>
                </a:lnTo>
                <a:lnTo>
                  <a:pt x="2076" y="906"/>
                </a:lnTo>
                <a:lnTo>
                  <a:pt x="2040" y="996"/>
                </a:lnTo>
                <a:lnTo>
                  <a:pt x="2003" y="996"/>
                </a:lnTo>
                <a:lnTo>
                  <a:pt x="2154" y="628"/>
                </a:lnTo>
                <a:lnTo>
                  <a:pt x="2193" y="628"/>
                </a:lnTo>
                <a:lnTo>
                  <a:pt x="2343" y="996"/>
                </a:lnTo>
                <a:close/>
                <a:moveTo>
                  <a:pt x="2260" y="877"/>
                </a:moveTo>
                <a:lnTo>
                  <a:pt x="2174" y="662"/>
                </a:lnTo>
                <a:lnTo>
                  <a:pt x="2086" y="877"/>
                </a:lnTo>
                <a:lnTo>
                  <a:pt x="2260" y="877"/>
                </a:lnTo>
                <a:close/>
                <a:moveTo>
                  <a:pt x="2513" y="1003"/>
                </a:moveTo>
                <a:lnTo>
                  <a:pt x="2501" y="1002"/>
                </a:lnTo>
                <a:lnTo>
                  <a:pt x="2490" y="1001"/>
                </a:lnTo>
                <a:lnTo>
                  <a:pt x="2480" y="1000"/>
                </a:lnTo>
                <a:lnTo>
                  <a:pt x="2470" y="998"/>
                </a:lnTo>
                <a:lnTo>
                  <a:pt x="2460" y="996"/>
                </a:lnTo>
                <a:lnTo>
                  <a:pt x="2451" y="993"/>
                </a:lnTo>
                <a:lnTo>
                  <a:pt x="2442" y="990"/>
                </a:lnTo>
                <a:lnTo>
                  <a:pt x="2433" y="986"/>
                </a:lnTo>
                <a:lnTo>
                  <a:pt x="2425" y="982"/>
                </a:lnTo>
                <a:lnTo>
                  <a:pt x="2417" y="977"/>
                </a:lnTo>
                <a:lnTo>
                  <a:pt x="2409" y="973"/>
                </a:lnTo>
                <a:lnTo>
                  <a:pt x="2402" y="968"/>
                </a:lnTo>
                <a:lnTo>
                  <a:pt x="2396" y="962"/>
                </a:lnTo>
                <a:lnTo>
                  <a:pt x="2389" y="956"/>
                </a:lnTo>
                <a:lnTo>
                  <a:pt x="2383" y="950"/>
                </a:lnTo>
                <a:lnTo>
                  <a:pt x="2378" y="944"/>
                </a:lnTo>
                <a:lnTo>
                  <a:pt x="2398" y="920"/>
                </a:lnTo>
                <a:lnTo>
                  <a:pt x="2408" y="931"/>
                </a:lnTo>
                <a:lnTo>
                  <a:pt x="2413" y="936"/>
                </a:lnTo>
                <a:lnTo>
                  <a:pt x="2419" y="940"/>
                </a:lnTo>
                <a:lnTo>
                  <a:pt x="2431" y="949"/>
                </a:lnTo>
                <a:lnTo>
                  <a:pt x="2445" y="957"/>
                </a:lnTo>
                <a:lnTo>
                  <a:pt x="2452" y="961"/>
                </a:lnTo>
                <a:lnTo>
                  <a:pt x="2460" y="964"/>
                </a:lnTo>
                <a:lnTo>
                  <a:pt x="2468" y="967"/>
                </a:lnTo>
                <a:lnTo>
                  <a:pt x="2477" y="969"/>
                </a:lnTo>
                <a:lnTo>
                  <a:pt x="2485" y="971"/>
                </a:lnTo>
                <a:lnTo>
                  <a:pt x="2494" y="973"/>
                </a:lnTo>
                <a:lnTo>
                  <a:pt x="2504" y="974"/>
                </a:lnTo>
                <a:lnTo>
                  <a:pt x="2514" y="974"/>
                </a:lnTo>
                <a:lnTo>
                  <a:pt x="2523" y="974"/>
                </a:lnTo>
                <a:lnTo>
                  <a:pt x="2531" y="973"/>
                </a:lnTo>
                <a:lnTo>
                  <a:pt x="2539" y="972"/>
                </a:lnTo>
                <a:lnTo>
                  <a:pt x="2547" y="971"/>
                </a:lnTo>
                <a:lnTo>
                  <a:pt x="2554" y="969"/>
                </a:lnTo>
                <a:lnTo>
                  <a:pt x="2560" y="967"/>
                </a:lnTo>
                <a:lnTo>
                  <a:pt x="2566" y="965"/>
                </a:lnTo>
                <a:lnTo>
                  <a:pt x="2572" y="962"/>
                </a:lnTo>
                <a:lnTo>
                  <a:pt x="2582" y="956"/>
                </a:lnTo>
                <a:lnTo>
                  <a:pt x="2590" y="949"/>
                </a:lnTo>
                <a:lnTo>
                  <a:pt x="2594" y="945"/>
                </a:lnTo>
                <a:lnTo>
                  <a:pt x="2597" y="942"/>
                </a:lnTo>
                <a:lnTo>
                  <a:pt x="2599" y="938"/>
                </a:lnTo>
                <a:lnTo>
                  <a:pt x="2602" y="934"/>
                </a:lnTo>
                <a:lnTo>
                  <a:pt x="2606" y="925"/>
                </a:lnTo>
                <a:lnTo>
                  <a:pt x="2608" y="917"/>
                </a:lnTo>
                <a:lnTo>
                  <a:pt x="2610" y="909"/>
                </a:lnTo>
                <a:lnTo>
                  <a:pt x="2610" y="901"/>
                </a:lnTo>
                <a:lnTo>
                  <a:pt x="2610" y="893"/>
                </a:lnTo>
                <a:lnTo>
                  <a:pt x="2608" y="886"/>
                </a:lnTo>
                <a:lnTo>
                  <a:pt x="2607" y="879"/>
                </a:lnTo>
                <a:lnTo>
                  <a:pt x="2604" y="873"/>
                </a:lnTo>
                <a:lnTo>
                  <a:pt x="2601" y="867"/>
                </a:lnTo>
                <a:lnTo>
                  <a:pt x="2597" y="862"/>
                </a:lnTo>
                <a:lnTo>
                  <a:pt x="2592" y="857"/>
                </a:lnTo>
                <a:lnTo>
                  <a:pt x="2590" y="855"/>
                </a:lnTo>
                <a:lnTo>
                  <a:pt x="2587" y="853"/>
                </a:lnTo>
                <a:lnTo>
                  <a:pt x="2576" y="845"/>
                </a:lnTo>
                <a:lnTo>
                  <a:pt x="2569" y="842"/>
                </a:lnTo>
                <a:lnTo>
                  <a:pt x="2563" y="838"/>
                </a:lnTo>
                <a:lnTo>
                  <a:pt x="2548" y="832"/>
                </a:lnTo>
                <a:lnTo>
                  <a:pt x="2533" y="827"/>
                </a:lnTo>
                <a:lnTo>
                  <a:pt x="2500" y="818"/>
                </a:lnTo>
                <a:lnTo>
                  <a:pt x="2467" y="808"/>
                </a:lnTo>
                <a:lnTo>
                  <a:pt x="2459" y="805"/>
                </a:lnTo>
                <a:lnTo>
                  <a:pt x="2452" y="802"/>
                </a:lnTo>
                <a:lnTo>
                  <a:pt x="2444" y="799"/>
                </a:lnTo>
                <a:lnTo>
                  <a:pt x="2437" y="795"/>
                </a:lnTo>
                <a:lnTo>
                  <a:pt x="2431" y="792"/>
                </a:lnTo>
                <a:lnTo>
                  <a:pt x="2424" y="787"/>
                </a:lnTo>
                <a:lnTo>
                  <a:pt x="2413" y="778"/>
                </a:lnTo>
                <a:lnTo>
                  <a:pt x="2407" y="773"/>
                </a:lnTo>
                <a:lnTo>
                  <a:pt x="2403" y="767"/>
                </a:lnTo>
                <a:lnTo>
                  <a:pt x="2399" y="761"/>
                </a:lnTo>
                <a:lnTo>
                  <a:pt x="2396" y="754"/>
                </a:lnTo>
                <a:lnTo>
                  <a:pt x="2393" y="746"/>
                </a:lnTo>
                <a:lnTo>
                  <a:pt x="2391" y="738"/>
                </a:lnTo>
                <a:lnTo>
                  <a:pt x="2390" y="729"/>
                </a:lnTo>
                <a:lnTo>
                  <a:pt x="2390" y="720"/>
                </a:lnTo>
                <a:lnTo>
                  <a:pt x="2390" y="709"/>
                </a:lnTo>
                <a:lnTo>
                  <a:pt x="2392" y="699"/>
                </a:lnTo>
                <a:lnTo>
                  <a:pt x="2394" y="694"/>
                </a:lnTo>
                <a:lnTo>
                  <a:pt x="2395" y="689"/>
                </a:lnTo>
                <a:lnTo>
                  <a:pt x="2399" y="680"/>
                </a:lnTo>
                <a:lnTo>
                  <a:pt x="2404" y="671"/>
                </a:lnTo>
                <a:lnTo>
                  <a:pt x="2407" y="667"/>
                </a:lnTo>
                <a:lnTo>
                  <a:pt x="2410" y="663"/>
                </a:lnTo>
                <a:lnTo>
                  <a:pt x="2417" y="655"/>
                </a:lnTo>
                <a:lnTo>
                  <a:pt x="2425" y="649"/>
                </a:lnTo>
                <a:lnTo>
                  <a:pt x="2429" y="645"/>
                </a:lnTo>
                <a:lnTo>
                  <a:pt x="2434" y="642"/>
                </a:lnTo>
                <a:lnTo>
                  <a:pt x="2443" y="637"/>
                </a:lnTo>
                <a:lnTo>
                  <a:pt x="2453" y="633"/>
                </a:lnTo>
                <a:lnTo>
                  <a:pt x="2463" y="629"/>
                </a:lnTo>
                <a:lnTo>
                  <a:pt x="2474" y="626"/>
                </a:lnTo>
                <a:lnTo>
                  <a:pt x="2486" y="624"/>
                </a:lnTo>
                <a:lnTo>
                  <a:pt x="2498" y="623"/>
                </a:lnTo>
                <a:lnTo>
                  <a:pt x="2510" y="622"/>
                </a:lnTo>
                <a:lnTo>
                  <a:pt x="2520" y="622"/>
                </a:lnTo>
                <a:lnTo>
                  <a:pt x="2530" y="623"/>
                </a:lnTo>
                <a:lnTo>
                  <a:pt x="2540" y="624"/>
                </a:lnTo>
                <a:lnTo>
                  <a:pt x="2549" y="626"/>
                </a:lnTo>
                <a:lnTo>
                  <a:pt x="2558" y="628"/>
                </a:lnTo>
                <a:lnTo>
                  <a:pt x="2566" y="630"/>
                </a:lnTo>
                <a:lnTo>
                  <a:pt x="2575" y="633"/>
                </a:lnTo>
                <a:lnTo>
                  <a:pt x="2583" y="636"/>
                </a:lnTo>
                <a:lnTo>
                  <a:pt x="2590" y="639"/>
                </a:lnTo>
                <a:lnTo>
                  <a:pt x="2598" y="643"/>
                </a:lnTo>
                <a:lnTo>
                  <a:pt x="2611" y="652"/>
                </a:lnTo>
                <a:lnTo>
                  <a:pt x="2618" y="657"/>
                </a:lnTo>
                <a:lnTo>
                  <a:pt x="2624" y="662"/>
                </a:lnTo>
                <a:lnTo>
                  <a:pt x="2630" y="668"/>
                </a:lnTo>
                <a:lnTo>
                  <a:pt x="2635" y="674"/>
                </a:lnTo>
                <a:lnTo>
                  <a:pt x="2614" y="697"/>
                </a:lnTo>
                <a:lnTo>
                  <a:pt x="2609" y="691"/>
                </a:lnTo>
                <a:lnTo>
                  <a:pt x="2604" y="686"/>
                </a:lnTo>
                <a:lnTo>
                  <a:pt x="2598" y="681"/>
                </a:lnTo>
                <a:lnTo>
                  <a:pt x="2592" y="676"/>
                </a:lnTo>
                <a:lnTo>
                  <a:pt x="2586" y="672"/>
                </a:lnTo>
                <a:lnTo>
                  <a:pt x="2580" y="668"/>
                </a:lnTo>
                <a:lnTo>
                  <a:pt x="2574" y="665"/>
                </a:lnTo>
                <a:lnTo>
                  <a:pt x="2567" y="662"/>
                </a:lnTo>
                <a:lnTo>
                  <a:pt x="2560" y="659"/>
                </a:lnTo>
                <a:lnTo>
                  <a:pt x="2553" y="657"/>
                </a:lnTo>
                <a:lnTo>
                  <a:pt x="2546" y="655"/>
                </a:lnTo>
                <a:lnTo>
                  <a:pt x="2539" y="653"/>
                </a:lnTo>
                <a:lnTo>
                  <a:pt x="2532" y="652"/>
                </a:lnTo>
                <a:lnTo>
                  <a:pt x="2524" y="651"/>
                </a:lnTo>
                <a:lnTo>
                  <a:pt x="2509" y="651"/>
                </a:lnTo>
                <a:lnTo>
                  <a:pt x="2499" y="651"/>
                </a:lnTo>
                <a:lnTo>
                  <a:pt x="2491" y="652"/>
                </a:lnTo>
                <a:lnTo>
                  <a:pt x="2482" y="654"/>
                </a:lnTo>
                <a:lnTo>
                  <a:pt x="2474" y="656"/>
                </a:lnTo>
                <a:lnTo>
                  <a:pt x="2467" y="658"/>
                </a:lnTo>
                <a:lnTo>
                  <a:pt x="2460" y="662"/>
                </a:lnTo>
                <a:lnTo>
                  <a:pt x="2453" y="665"/>
                </a:lnTo>
                <a:lnTo>
                  <a:pt x="2447" y="670"/>
                </a:lnTo>
                <a:lnTo>
                  <a:pt x="2442" y="675"/>
                </a:lnTo>
                <a:lnTo>
                  <a:pt x="2437" y="680"/>
                </a:lnTo>
                <a:lnTo>
                  <a:pt x="2433" y="685"/>
                </a:lnTo>
                <a:lnTo>
                  <a:pt x="2429" y="691"/>
                </a:lnTo>
                <a:lnTo>
                  <a:pt x="2426" y="697"/>
                </a:lnTo>
                <a:lnTo>
                  <a:pt x="2424" y="704"/>
                </a:lnTo>
                <a:lnTo>
                  <a:pt x="2423" y="711"/>
                </a:lnTo>
                <a:lnTo>
                  <a:pt x="2423" y="719"/>
                </a:lnTo>
                <a:lnTo>
                  <a:pt x="2423" y="725"/>
                </a:lnTo>
                <a:lnTo>
                  <a:pt x="2424" y="732"/>
                </a:lnTo>
                <a:lnTo>
                  <a:pt x="2426" y="737"/>
                </a:lnTo>
                <a:lnTo>
                  <a:pt x="2429" y="743"/>
                </a:lnTo>
                <a:lnTo>
                  <a:pt x="2432" y="748"/>
                </a:lnTo>
                <a:lnTo>
                  <a:pt x="2436" y="752"/>
                </a:lnTo>
                <a:lnTo>
                  <a:pt x="2440" y="757"/>
                </a:lnTo>
                <a:lnTo>
                  <a:pt x="2446" y="760"/>
                </a:lnTo>
                <a:lnTo>
                  <a:pt x="2457" y="767"/>
                </a:lnTo>
                <a:lnTo>
                  <a:pt x="2464" y="770"/>
                </a:lnTo>
                <a:lnTo>
                  <a:pt x="2470" y="773"/>
                </a:lnTo>
                <a:lnTo>
                  <a:pt x="2477" y="776"/>
                </a:lnTo>
                <a:lnTo>
                  <a:pt x="2485" y="778"/>
                </a:lnTo>
                <a:lnTo>
                  <a:pt x="2500" y="783"/>
                </a:lnTo>
                <a:lnTo>
                  <a:pt x="2533" y="792"/>
                </a:lnTo>
                <a:lnTo>
                  <a:pt x="2566" y="803"/>
                </a:lnTo>
                <a:lnTo>
                  <a:pt x="2574" y="806"/>
                </a:lnTo>
                <a:lnTo>
                  <a:pt x="2581" y="809"/>
                </a:lnTo>
                <a:lnTo>
                  <a:pt x="2585" y="811"/>
                </a:lnTo>
                <a:lnTo>
                  <a:pt x="2589" y="813"/>
                </a:lnTo>
                <a:lnTo>
                  <a:pt x="2596" y="817"/>
                </a:lnTo>
                <a:lnTo>
                  <a:pt x="2602" y="821"/>
                </a:lnTo>
                <a:lnTo>
                  <a:pt x="2609" y="826"/>
                </a:lnTo>
                <a:lnTo>
                  <a:pt x="2615" y="831"/>
                </a:lnTo>
                <a:lnTo>
                  <a:pt x="2620" y="836"/>
                </a:lnTo>
                <a:lnTo>
                  <a:pt x="2625" y="842"/>
                </a:lnTo>
                <a:lnTo>
                  <a:pt x="2630" y="848"/>
                </a:lnTo>
                <a:lnTo>
                  <a:pt x="2632" y="851"/>
                </a:lnTo>
                <a:lnTo>
                  <a:pt x="2634" y="855"/>
                </a:lnTo>
                <a:lnTo>
                  <a:pt x="2637" y="863"/>
                </a:lnTo>
                <a:lnTo>
                  <a:pt x="2640" y="871"/>
                </a:lnTo>
                <a:lnTo>
                  <a:pt x="2641" y="879"/>
                </a:lnTo>
                <a:lnTo>
                  <a:pt x="2643" y="889"/>
                </a:lnTo>
                <a:lnTo>
                  <a:pt x="2643" y="898"/>
                </a:lnTo>
                <a:lnTo>
                  <a:pt x="2643" y="911"/>
                </a:lnTo>
                <a:lnTo>
                  <a:pt x="2640" y="923"/>
                </a:lnTo>
                <a:lnTo>
                  <a:pt x="2637" y="935"/>
                </a:lnTo>
                <a:lnTo>
                  <a:pt x="2631" y="946"/>
                </a:lnTo>
                <a:lnTo>
                  <a:pt x="2628" y="952"/>
                </a:lnTo>
                <a:lnTo>
                  <a:pt x="2624" y="958"/>
                </a:lnTo>
                <a:lnTo>
                  <a:pt x="2620" y="963"/>
                </a:lnTo>
                <a:lnTo>
                  <a:pt x="2615" y="968"/>
                </a:lnTo>
                <a:lnTo>
                  <a:pt x="2610" y="973"/>
                </a:lnTo>
                <a:lnTo>
                  <a:pt x="2604" y="978"/>
                </a:lnTo>
                <a:lnTo>
                  <a:pt x="2597" y="982"/>
                </a:lnTo>
                <a:lnTo>
                  <a:pt x="2591" y="986"/>
                </a:lnTo>
                <a:lnTo>
                  <a:pt x="2583" y="990"/>
                </a:lnTo>
                <a:lnTo>
                  <a:pt x="2575" y="993"/>
                </a:lnTo>
                <a:lnTo>
                  <a:pt x="2566" y="996"/>
                </a:lnTo>
                <a:lnTo>
                  <a:pt x="2557" y="998"/>
                </a:lnTo>
                <a:lnTo>
                  <a:pt x="2547" y="1000"/>
                </a:lnTo>
                <a:lnTo>
                  <a:pt x="2536" y="1001"/>
                </a:lnTo>
                <a:lnTo>
                  <a:pt x="2525" y="1002"/>
                </a:lnTo>
                <a:lnTo>
                  <a:pt x="2513" y="1003"/>
                </a:lnTo>
                <a:close/>
                <a:moveTo>
                  <a:pt x="2853" y="996"/>
                </a:moveTo>
                <a:lnTo>
                  <a:pt x="2821" y="996"/>
                </a:lnTo>
                <a:lnTo>
                  <a:pt x="2821" y="657"/>
                </a:lnTo>
                <a:lnTo>
                  <a:pt x="2701" y="657"/>
                </a:lnTo>
                <a:lnTo>
                  <a:pt x="2701" y="628"/>
                </a:lnTo>
                <a:lnTo>
                  <a:pt x="2973" y="628"/>
                </a:lnTo>
                <a:lnTo>
                  <a:pt x="2973" y="657"/>
                </a:lnTo>
                <a:lnTo>
                  <a:pt x="2853" y="657"/>
                </a:lnTo>
                <a:lnTo>
                  <a:pt x="2853" y="996"/>
                </a:lnTo>
                <a:close/>
                <a:moveTo>
                  <a:pt x="3315" y="996"/>
                </a:moveTo>
                <a:lnTo>
                  <a:pt x="3278" y="996"/>
                </a:lnTo>
                <a:lnTo>
                  <a:pt x="3242" y="906"/>
                </a:lnTo>
                <a:lnTo>
                  <a:pt x="3047" y="906"/>
                </a:lnTo>
                <a:lnTo>
                  <a:pt x="3011" y="996"/>
                </a:lnTo>
                <a:lnTo>
                  <a:pt x="2974" y="996"/>
                </a:lnTo>
                <a:lnTo>
                  <a:pt x="3125" y="628"/>
                </a:lnTo>
                <a:lnTo>
                  <a:pt x="3164" y="628"/>
                </a:lnTo>
                <a:lnTo>
                  <a:pt x="3315" y="996"/>
                </a:lnTo>
                <a:close/>
                <a:moveTo>
                  <a:pt x="3231" y="877"/>
                </a:moveTo>
                <a:lnTo>
                  <a:pt x="3145" y="662"/>
                </a:lnTo>
                <a:lnTo>
                  <a:pt x="3058" y="877"/>
                </a:lnTo>
                <a:lnTo>
                  <a:pt x="3231" y="877"/>
                </a:lnTo>
                <a:close/>
                <a:moveTo>
                  <a:pt x="3565" y="996"/>
                </a:moveTo>
                <a:lnTo>
                  <a:pt x="3534" y="996"/>
                </a:lnTo>
                <a:lnTo>
                  <a:pt x="3534" y="628"/>
                </a:lnTo>
                <a:lnTo>
                  <a:pt x="3672" y="628"/>
                </a:lnTo>
                <a:lnTo>
                  <a:pt x="3685" y="629"/>
                </a:lnTo>
                <a:lnTo>
                  <a:pt x="3697" y="631"/>
                </a:lnTo>
                <a:lnTo>
                  <a:pt x="3708" y="633"/>
                </a:lnTo>
                <a:lnTo>
                  <a:pt x="3719" y="637"/>
                </a:lnTo>
                <a:lnTo>
                  <a:pt x="3724" y="639"/>
                </a:lnTo>
                <a:lnTo>
                  <a:pt x="3729" y="641"/>
                </a:lnTo>
                <a:lnTo>
                  <a:pt x="3738" y="647"/>
                </a:lnTo>
                <a:lnTo>
                  <a:pt x="3742" y="650"/>
                </a:lnTo>
                <a:lnTo>
                  <a:pt x="3746" y="653"/>
                </a:lnTo>
                <a:lnTo>
                  <a:pt x="3750" y="656"/>
                </a:lnTo>
                <a:lnTo>
                  <a:pt x="3754" y="660"/>
                </a:lnTo>
                <a:lnTo>
                  <a:pt x="3757" y="664"/>
                </a:lnTo>
                <a:lnTo>
                  <a:pt x="3760" y="668"/>
                </a:lnTo>
                <a:lnTo>
                  <a:pt x="3766" y="676"/>
                </a:lnTo>
                <a:lnTo>
                  <a:pt x="3771" y="685"/>
                </a:lnTo>
                <a:lnTo>
                  <a:pt x="3775" y="694"/>
                </a:lnTo>
                <a:lnTo>
                  <a:pt x="3778" y="704"/>
                </a:lnTo>
                <a:lnTo>
                  <a:pt x="3781" y="714"/>
                </a:lnTo>
                <a:lnTo>
                  <a:pt x="3782" y="725"/>
                </a:lnTo>
                <a:lnTo>
                  <a:pt x="3783" y="736"/>
                </a:lnTo>
                <a:lnTo>
                  <a:pt x="3782" y="747"/>
                </a:lnTo>
                <a:lnTo>
                  <a:pt x="3781" y="757"/>
                </a:lnTo>
                <a:lnTo>
                  <a:pt x="3780" y="762"/>
                </a:lnTo>
                <a:lnTo>
                  <a:pt x="3778" y="767"/>
                </a:lnTo>
                <a:lnTo>
                  <a:pt x="3775" y="777"/>
                </a:lnTo>
                <a:lnTo>
                  <a:pt x="3771" y="786"/>
                </a:lnTo>
                <a:lnTo>
                  <a:pt x="3766" y="795"/>
                </a:lnTo>
                <a:lnTo>
                  <a:pt x="3760" y="803"/>
                </a:lnTo>
                <a:lnTo>
                  <a:pt x="3753" y="811"/>
                </a:lnTo>
                <a:lnTo>
                  <a:pt x="3746" y="818"/>
                </a:lnTo>
                <a:lnTo>
                  <a:pt x="3737" y="825"/>
                </a:lnTo>
                <a:lnTo>
                  <a:pt x="3728" y="830"/>
                </a:lnTo>
                <a:lnTo>
                  <a:pt x="3719" y="835"/>
                </a:lnTo>
                <a:lnTo>
                  <a:pt x="3708" y="838"/>
                </a:lnTo>
                <a:lnTo>
                  <a:pt x="3702" y="840"/>
                </a:lnTo>
                <a:lnTo>
                  <a:pt x="3697" y="841"/>
                </a:lnTo>
                <a:lnTo>
                  <a:pt x="3685" y="842"/>
                </a:lnTo>
                <a:lnTo>
                  <a:pt x="3672" y="843"/>
                </a:lnTo>
                <a:lnTo>
                  <a:pt x="3565" y="843"/>
                </a:lnTo>
                <a:lnTo>
                  <a:pt x="3565" y="996"/>
                </a:lnTo>
                <a:close/>
                <a:moveTo>
                  <a:pt x="3668" y="815"/>
                </a:moveTo>
                <a:lnTo>
                  <a:pt x="3677" y="814"/>
                </a:lnTo>
                <a:lnTo>
                  <a:pt x="3686" y="813"/>
                </a:lnTo>
                <a:lnTo>
                  <a:pt x="3694" y="811"/>
                </a:lnTo>
                <a:lnTo>
                  <a:pt x="3702" y="809"/>
                </a:lnTo>
                <a:lnTo>
                  <a:pt x="3709" y="806"/>
                </a:lnTo>
                <a:lnTo>
                  <a:pt x="3716" y="802"/>
                </a:lnTo>
                <a:lnTo>
                  <a:pt x="3719" y="800"/>
                </a:lnTo>
                <a:lnTo>
                  <a:pt x="3722" y="797"/>
                </a:lnTo>
                <a:lnTo>
                  <a:pt x="3727" y="792"/>
                </a:lnTo>
                <a:lnTo>
                  <a:pt x="3732" y="787"/>
                </a:lnTo>
                <a:lnTo>
                  <a:pt x="3737" y="781"/>
                </a:lnTo>
                <a:lnTo>
                  <a:pt x="3741" y="774"/>
                </a:lnTo>
                <a:lnTo>
                  <a:pt x="3744" y="767"/>
                </a:lnTo>
                <a:lnTo>
                  <a:pt x="3746" y="760"/>
                </a:lnTo>
                <a:lnTo>
                  <a:pt x="3748" y="752"/>
                </a:lnTo>
                <a:lnTo>
                  <a:pt x="3749" y="744"/>
                </a:lnTo>
                <a:lnTo>
                  <a:pt x="3750" y="736"/>
                </a:lnTo>
                <a:lnTo>
                  <a:pt x="3749" y="727"/>
                </a:lnTo>
                <a:lnTo>
                  <a:pt x="3748" y="719"/>
                </a:lnTo>
                <a:lnTo>
                  <a:pt x="3746" y="711"/>
                </a:lnTo>
                <a:lnTo>
                  <a:pt x="3744" y="704"/>
                </a:lnTo>
                <a:lnTo>
                  <a:pt x="3741" y="697"/>
                </a:lnTo>
                <a:lnTo>
                  <a:pt x="3737" y="690"/>
                </a:lnTo>
                <a:lnTo>
                  <a:pt x="3732" y="684"/>
                </a:lnTo>
                <a:lnTo>
                  <a:pt x="3727" y="679"/>
                </a:lnTo>
                <a:lnTo>
                  <a:pt x="3722" y="674"/>
                </a:lnTo>
                <a:lnTo>
                  <a:pt x="3716" y="669"/>
                </a:lnTo>
                <a:lnTo>
                  <a:pt x="3709" y="666"/>
                </a:lnTo>
                <a:lnTo>
                  <a:pt x="3705" y="664"/>
                </a:lnTo>
                <a:lnTo>
                  <a:pt x="3702" y="663"/>
                </a:lnTo>
                <a:lnTo>
                  <a:pt x="3694" y="660"/>
                </a:lnTo>
                <a:lnTo>
                  <a:pt x="3686" y="658"/>
                </a:lnTo>
                <a:lnTo>
                  <a:pt x="3677" y="657"/>
                </a:lnTo>
                <a:lnTo>
                  <a:pt x="3668" y="657"/>
                </a:lnTo>
                <a:lnTo>
                  <a:pt x="3565" y="657"/>
                </a:lnTo>
                <a:lnTo>
                  <a:pt x="3565" y="815"/>
                </a:lnTo>
                <a:lnTo>
                  <a:pt x="3668" y="815"/>
                </a:lnTo>
                <a:close/>
                <a:moveTo>
                  <a:pt x="4003" y="1003"/>
                </a:moveTo>
                <a:lnTo>
                  <a:pt x="3994" y="1002"/>
                </a:lnTo>
                <a:lnTo>
                  <a:pt x="3986" y="1002"/>
                </a:lnTo>
                <a:lnTo>
                  <a:pt x="3970" y="1000"/>
                </a:lnTo>
                <a:lnTo>
                  <a:pt x="3962" y="998"/>
                </a:lnTo>
                <a:lnTo>
                  <a:pt x="3955" y="997"/>
                </a:lnTo>
                <a:lnTo>
                  <a:pt x="3947" y="995"/>
                </a:lnTo>
                <a:lnTo>
                  <a:pt x="3941" y="992"/>
                </a:lnTo>
                <a:lnTo>
                  <a:pt x="3928" y="987"/>
                </a:lnTo>
                <a:lnTo>
                  <a:pt x="3922" y="983"/>
                </a:lnTo>
                <a:lnTo>
                  <a:pt x="3916" y="980"/>
                </a:lnTo>
                <a:lnTo>
                  <a:pt x="3905" y="972"/>
                </a:lnTo>
                <a:lnTo>
                  <a:pt x="3900" y="967"/>
                </a:lnTo>
                <a:lnTo>
                  <a:pt x="3896" y="963"/>
                </a:lnTo>
                <a:lnTo>
                  <a:pt x="3887" y="952"/>
                </a:lnTo>
                <a:lnTo>
                  <a:pt x="3883" y="947"/>
                </a:lnTo>
                <a:lnTo>
                  <a:pt x="3880" y="941"/>
                </a:lnTo>
                <a:lnTo>
                  <a:pt x="3874" y="929"/>
                </a:lnTo>
                <a:lnTo>
                  <a:pt x="3871" y="923"/>
                </a:lnTo>
                <a:lnTo>
                  <a:pt x="3869" y="916"/>
                </a:lnTo>
                <a:lnTo>
                  <a:pt x="3865" y="902"/>
                </a:lnTo>
                <a:lnTo>
                  <a:pt x="3863" y="895"/>
                </a:lnTo>
                <a:lnTo>
                  <a:pt x="3862" y="887"/>
                </a:lnTo>
                <a:lnTo>
                  <a:pt x="3860" y="872"/>
                </a:lnTo>
                <a:lnTo>
                  <a:pt x="3860" y="863"/>
                </a:lnTo>
                <a:lnTo>
                  <a:pt x="3859" y="855"/>
                </a:lnTo>
                <a:lnTo>
                  <a:pt x="3859" y="628"/>
                </a:lnTo>
                <a:lnTo>
                  <a:pt x="3891" y="628"/>
                </a:lnTo>
                <a:lnTo>
                  <a:pt x="3891" y="854"/>
                </a:lnTo>
                <a:lnTo>
                  <a:pt x="3892" y="868"/>
                </a:lnTo>
                <a:lnTo>
                  <a:pt x="3893" y="881"/>
                </a:lnTo>
                <a:lnTo>
                  <a:pt x="3894" y="887"/>
                </a:lnTo>
                <a:lnTo>
                  <a:pt x="3895" y="893"/>
                </a:lnTo>
                <a:lnTo>
                  <a:pt x="3899" y="904"/>
                </a:lnTo>
                <a:lnTo>
                  <a:pt x="3903" y="915"/>
                </a:lnTo>
                <a:lnTo>
                  <a:pt x="3905" y="920"/>
                </a:lnTo>
                <a:lnTo>
                  <a:pt x="3908" y="925"/>
                </a:lnTo>
                <a:lnTo>
                  <a:pt x="3913" y="934"/>
                </a:lnTo>
                <a:lnTo>
                  <a:pt x="3917" y="938"/>
                </a:lnTo>
                <a:lnTo>
                  <a:pt x="3920" y="942"/>
                </a:lnTo>
                <a:lnTo>
                  <a:pt x="3924" y="946"/>
                </a:lnTo>
                <a:lnTo>
                  <a:pt x="3927" y="949"/>
                </a:lnTo>
                <a:lnTo>
                  <a:pt x="3936" y="956"/>
                </a:lnTo>
                <a:lnTo>
                  <a:pt x="3945" y="961"/>
                </a:lnTo>
                <a:lnTo>
                  <a:pt x="3950" y="964"/>
                </a:lnTo>
                <a:lnTo>
                  <a:pt x="3955" y="966"/>
                </a:lnTo>
                <a:lnTo>
                  <a:pt x="3966" y="969"/>
                </a:lnTo>
                <a:lnTo>
                  <a:pt x="3977" y="972"/>
                </a:lnTo>
                <a:lnTo>
                  <a:pt x="3983" y="973"/>
                </a:lnTo>
                <a:lnTo>
                  <a:pt x="3990" y="973"/>
                </a:lnTo>
                <a:lnTo>
                  <a:pt x="4003" y="974"/>
                </a:lnTo>
                <a:lnTo>
                  <a:pt x="4016" y="973"/>
                </a:lnTo>
                <a:lnTo>
                  <a:pt x="4028" y="972"/>
                </a:lnTo>
                <a:lnTo>
                  <a:pt x="4040" y="969"/>
                </a:lnTo>
                <a:lnTo>
                  <a:pt x="4051" y="966"/>
                </a:lnTo>
                <a:lnTo>
                  <a:pt x="4056" y="964"/>
                </a:lnTo>
                <a:lnTo>
                  <a:pt x="4061" y="961"/>
                </a:lnTo>
                <a:lnTo>
                  <a:pt x="4070" y="956"/>
                </a:lnTo>
                <a:lnTo>
                  <a:pt x="4074" y="953"/>
                </a:lnTo>
                <a:lnTo>
                  <a:pt x="4078" y="949"/>
                </a:lnTo>
                <a:lnTo>
                  <a:pt x="4082" y="946"/>
                </a:lnTo>
                <a:lnTo>
                  <a:pt x="4086" y="942"/>
                </a:lnTo>
                <a:lnTo>
                  <a:pt x="4092" y="934"/>
                </a:lnTo>
                <a:lnTo>
                  <a:pt x="4098" y="925"/>
                </a:lnTo>
                <a:lnTo>
                  <a:pt x="4103" y="915"/>
                </a:lnTo>
                <a:lnTo>
                  <a:pt x="4107" y="904"/>
                </a:lnTo>
                <a:lnTo>
                  <a:pt x="4110" y="893"/>
                </a:lnTo>
                <a:lnTo>
                  <a:pt x="4111" y="887"/>
                </a:lnTo>
                <a:lnTo>
                  <a:pt x="4112" y="881"/>
                </a:lnTo>
                <a:lnTo>
                  <a:pt x="4114" y="868"/>
                </a:lnTo>
                <a:lnTo>
                  <a:pt x="4114" y="854"/>
                </a:lnTo>
                <a:lnTo>
                  <a:pt x="4114" y="628"/>
                </a:lnTo>
                <a:lnTo>
                  <a:pt x="4146" y="628"/>
                </a:lnTo>
                <a:lnTo>
                  <a:pt x="4146" y="855"/>
                </a:lnTo>
                <a:lnTo>
                  <a:pt x="4146" y="872"/>
                </a:lnTo>
                <a:lnTo>
                  <a:pt x="4144" y="887"/>
                </a:lnTo>
                <a:lnTo>
                  <a:pt x="4141" y="902"/>
                </a:lnTo>
                <a:lnTo>
                  <a:pt x="4137" y="916"/>
                </a:lnTo>
                <a:lnTo>
                  <a:pt x="4132" y="929"/>
                </a:lnTo>
                <a:lnTo>
                  <a:pt x="4126" y="941"/>
                </a:lnTo>
                <a:lnTo>
                  <a:pt x="4119" y="953"/>
                </a:lnTo>
                <a:lnTo>
                  <a:pt x="4110" y="963"/>
                </a:lnTo>
                <a:lnTo>
                  <a:pt x="4100" y="972"/>
                </a:lnTo>
                <a:lnTo>
                  <a:pt x="4090" y="980"/>
                </a:lnTo>
                <a:lnTo>
                  <a:pt x="4084" y="983"/>
                </a:lnTo>
                <a:lnTo>
                  <a:pt x="4078" y="987"/>
                </a:lnTo>
                <a:lnTo>
                  <a:pt x="4072" y="990"/>
                </a:lnTo>
                <a:lnTo>
                  <a:pt x="4065" y="992"/>
                </a:lnTo>
                <a:lnTo>
                  <a:pt x="4058" y="995"/>
                </a:lnTo>
                <a:lnTo>
                  <a:pt x="4051" y="997"/>
                </a:lnTo>
                <a:lnTo>
                  <a:pt x="4036" y="1000"/>
                </a:lnTo>
                <a:lnTo>
                  <a:pt x="4020" y="1002"/>
                </a:lnTo>
                <a:lnTo>
                  <a:pt x="4012" y="1002"/>
                </a:lnTo>
                <a:lnTo>
                  <a:pt x="4003" y="1003"/>
                </a:lnTo>
                <a:close/>
                <a:moveTo>
                  <a:pt x="4545" y="996"/>
                </a:moveTo>
                <a:lnTo>
                  <a:pt x="4513" y="996"/>
                </a:lnTo>
                <a:lnTo>
                  <a:pt x="4513" y="821"/>
                </a:lnTo>
                <a:lnTo>
                  <a:pt x="4280" y="821"/>
                </a:lnTo>
                <a:lnTo>
                  <a:pt x="4280" y="996"/>
                </a:lnTo>
                <a:lnTo>
                  <a:pt x="4249" y="996"/>
                </a:lnTo>
                <a:lnTo>
                  <a:pt x="4249" y="628"/>
                </a:lnTo>
                <a:lnTo>
                  <a:pt x="4280" y="628"/>
                </a:lnTo>
                <a:lnTo>
                  <a:pt x="4280" y="793"/>
                </a:lnTo>
                <a:lnTo>
                  <a:pt x="4513" y="793"/>
                </a:lnTo>
                <a:lnTo>
                  <a:pt x="4513" y="628"/>
                </a:lnTo>
                <a:lnTo>
                  <a:pt x="4545" y="628"/>
                </a:lnTo>
                <a:lnTo>
                  <a:pt x="4545" y="996"/>
                </a:lnTo>
                <a:close/>
                <a:moveTo>
                  <a:pt x="4773" y="996"/>
                </a:moveTo>
                <a:lnTo>
                  <a:pt x="4741" y="996"/>
                </a:lnTo>
                <a:lnTo>
                  <a:pt x="4741" y="657"/>
                </a:lnTo>
                <a:lnTo>
                  <a:pt x="4621" y="657"/>
                </a:lnTo>
                <a:lnTo>
                  <a:pt x="4621" y="628"/>
                </a:lnTo>
                <a:lnTo>
                  <a:pt x="4893" y="628"/>
                </a:lnTo>
                <a:lnTo>
                  <a:pt x="4893" y="657"/>
                </a:lnTo>
                <a:lnTo>
                  <a:pt x="4773" y="657"/>
                </a:lnTo>
                <a:lnTo>
                  <a:pt x="4773" y="996"/>
                </a:lnTo>
                <a:close/>
                <a:moveTo>
                  <a:pt x="5235" y="996"/>
                </a:moveTo>
                <a:lnTo>
                  <a:pt x="5199" y="996"/>
                </a:lnTo>
                <a:lnTo>
                  <a:pt x="5162" y="906"/>
                </a:lnTo>
                <a:lnTo>
                  <a:pt x="4967" y="906"/>
                </a:lnTo>
                <a:lnTo>
                  <a:pt x="4931" y="996"/>
                </a:lnTo>
                <a:lnTo>
                  <a:pt x="4895" y="996"/>
                </a:lnTo>
                <a:lnTo>
                  <a:pt x="5045" y="628"/>
                </a:lnTo>
                <a:lnTo>
                  <a:pt x="5084" y="628"/>
                </a:lnTo>
                <a:lnTo>
                  <a:pt x="5235" y="996"/>
                </a:lnTo>
                <a:close/>
                <a:moveTo>
                  <a:pt x="5152" y="877"/>
                </a:moveTo>
                <a:lnTo>
                  <a:pt x="5065" y="662"/>
                </a:lnTo>
                <a:lnTo>
                  <a:pt x="4978" y="877"/>
                </a:lnTo>
                <a:lnTo>
                  <a:pt x="5152" y="877"/>
                </a:lnTo>
                <a:close/>
                <a:moveTo>
                  <a:pt x="5604" y="996"/>
                </a:moveTo>
                <a:lnTo>
                  <a:pt x="5567" y="996"/>
                </a:lnTo>
                <a:lnTo>
                  <a:pt x="5531" y="906"/>
                </a:lnTo>
                <a:lnTo>
                  <a:pt x="5335" y="906"/>
                </a:lnTo>
                <a:lnTo>
                  <a:pt x="5299" y="996"/>
                </a:lnTo>
                <a:lnTo>
                  <a:pt x="5262" y="996"/>
                </a:lnTo>
                <a:lnTo>
                  <a:pt x="5414" y="628"/>
                </a:lnTo>
                <a:lnTo>
                  <a:pt x="5453" y="628"/>
                </a:lnTo>
                <a:lnTo>
                  <a:pt x="5604" y="996"/>
                </a:lnTo>
                <a:close/>
                <a:moveTo>
                  <a:pt x="5520" y="877"/>
                </a:moveTo>
                <a:lnTo>
                  <a:pt x="5434" y="662"/>
                </a:lnTo>
                <a:lnTo>
                  <a:pt x="5346" y="877"/>
                </a:lnTo>
                <a:lnTo>
                  <a:pt x="5520" y="877"/>
                </a:lnTo>
                <a:close/>
                <a:moveTo>
                  <a:pt x="6012" y="996"/>
                </a:moveTo>
                <a:lnTo>
                  <a:pt x="5981" y="996"/>
                </a:lnTo>
                <a:lnTo>
                  <a:pt x="5981" y="668"/>
                </a:lnTo>
                <a:lnTo>
                  <a:pt x="5846" y="996"/>
                </a:lnTo>
                <a:lnTo>
                  <a:pt x="5834" y="996"/>
                </a:lnTo>
                <a:lnTo>
                  <a:pt x="5700" y="668"/>
                </a:lnTo>
                <a:lnTo>
                  <a:pt x="5700" y="996"/>
                </a:lnTo>
                <a:lnTo>
                  <a:pt x="5668" y="996"/>
                </a:lnTo>
                <a:lnTo>
                  <a:pt x="5668" y="628"/>
                </a:lnTo>
                <a:lnTo>
                  <a:pt x="5715" y="628"/>
                </a:lnTo>
                <a:lnTo>
                  <a:pt x="5840" y="934"/>
                </a:lnTo>
                <a:lnTo>
                  <a:pt x="5965" y="628"/>
                </a:lnTo>
                <a:lnTo>
                  <a:pt x="6012" y="628"/>
                </a:lnTo>
                <a:lnTo>
                  <a:pt x="6012" y="996"/>
                </a:lnTo>
                <a:close/>
                <a:moveTo>
                  <a:pt x="6459" y="996"/>
                </a:moveTo>
                <a:lnTo>
                  <a:pt x="6427" y="996"/>
                </a:lnTo>
                <a:lnTo>
                  <a:pt x="6427" y="668"/>
                </a:lnTo>
                <a:lnTo>
                  <a:pt x="6293" y="996"/>
                </a:lnTo>
                <a:lnTo>
                  <a:pt x="6281" y="996"/>
                </a:lnTo>
                <a:lnTo>
                  <a:pt x="6146" y="668"/>
                </a:lnTo>
                <a:lnTo>
                  <a:pt x="6146" y="996"/>
                </a:lnTo>
                <a:lnTo>
                  <a:pt x="6115" y="996"/>
                </a:lnTo>
                <a:lnTo>
                  <a:pt x="6115" y="628"/>
                </a:lnTo>
                <a:lnTo>
                  <a:pt x="6161" y="628"/>
                </a:lnTo>
                <a:lnTo>
                  <a:pt x="6287" y="934"/>
                </a:lnTo>
                <a:lnTo>
                  <a:pt x="6411" y="628"/>
                </a:lnTo>
                <a:lnTo>
                  <a:pt x="6459" y="628"/>
                </a:lnTo>
                <a:lnTo>
                  <a:pt x="6459" y="996"/>
                </a:lnTo>
                <a:close/>
                <a:moveTo>
                  <a:pt x="6864" y="996"/>
                </a:moveTo>
                <a:lnTo>
                  <a:pt x="6827" y="996"/>
                </a:lnTo>
                <a:lnTo>
                  <a:pt x="6791" y="906"/>
                </a:lnTo>
                <a:lnTo>
                  <a:pt x="6596" y="906"/>
                </a:lnTo>
                <a:lnTo>
                  <a:pt x="6560" y="996"/>
                </a:lnTo>
                <a:lnTo>
                  <a:pt x="6523" y="996"/>
                </a:lnTo>
                <a:lnTo>
                  <a:pt x="6674" y="628"/>
                </a:lnTo>
                <a:lnTo>
                  <a:pt x="6713" y="628"/>
                </a:lnTo>
                <a:lnTo>
                  <a:pt x="6864" y="996"/>
                </a:lnTo>
                <a:close/>
                <a:moveTo>
                  <a:pt x="6780" y="877"/>
                </a:moveTo>
                <a:lnTo>
                  <a:pt x="6694" y="662"/>
                </a:lnTo>
                <a:lnTo>
                  <a:pt x="6607" y="877"/>
                </a:lnTo>
                <a:lnTo>
                  <a:pt x="6780" y="877"/>
                </a:lnTo>
                <a:close/>
                <a:moveTo>
                  <a:pt x="7222" y="996"/>
                </a:moveTo>
                <a:lnTo>
                  <a:pt x="7191" y="996"/>
                </a:lnTo>
                <a:lnTo>
                  <a:pt x="6960" y="680"/>
                </a:lnTo>
                <a:lnTo>
                  <a:pt x="6960" y="996"/>
                </a:lnTo>
                <a:lnTo>
                  <a:pt x="6928" y="996"/>
                </a:lnTo>
                <a:lnTo>
                  <a:pt x="6928" y="628"/>
                </a:lnTo>
                <a:lnTo>
                  <a:pt x="6960" y="628"/>
                </a:lnTo>
                <a:lnTo>
                  <a:pt x="7191" y="940"/>
                </a:lnTo>
                <a:lnTo>
                  <a:pt x="7191" y="628"/>
                </a:lnTo>
                <a:lnTo>
                  <a:pt x="7222" y="628"/>
                </a:lnTo>
                <a:lnTo>
                  <a:pt x="7222" y="996"/>
                </a:lnTo>
                <a:close/>
                <a:moveTo>
                  <a:pt x="838" y="444"/>
                </a:moveTo>
                <a:lnTo>
                  <a:pt x="802" y="444"/>
                </a:lnTo>
                <a:lnTo>
                  <a:pt x="765" y="354"/>
                </a:lnTo>
                <a:lnTo>
                  <a:pt x="571" y="354"/>
                </a:lnTo>
                <a:lnTo>
                  <a:pt x="534" y="444"/>
                </a:lnTo>
                <a:lnTo>
                  <a:pt x="498" y="444"/>
                </a:lnTo>
                <a:lnTo>
                  <a:pt x="648" y="77"/>
                </a:lnTo>
                <a:lnTo>
                  <a:pt x="688" y="77"/>
                </a:lnTo>
                <a:lnTo>
                  <a:pt x="838" y="444"/>
                </a:lnTo>
                <a:close/>
                <a:moveTo>
                  <a:pt x="755" y="325"/>
                </a:moveTo>
                <a:lnTo>
                  <a:pt x="668" y="110"/>
                </a:lnTo>
                <a:lnTo>
                  <a:pt x="581" y="325"/>
                </a:lnTo>
                <a:lnTo>
                  <a:pt x="755" y="325"/>
                </a:lnTo>
                <a:close/>
                <a:moveTo>
                  <a:pt x="1007" y="451"/>
                </a:moveTo>
                <a:lnTo>
                  <a:pt x="996" y="451"/>
                </a:lnTo>
                <a:lnTo>
                  <a:pt x="985" y="450"/>
                </a:lnTo>
                <a:lnTo>
                  <a:pt x="975" y="448"/>
                </a:lnTo>
                <a:lnTo>
                  <a:pt x="965" y="447"/>
                </a:lnTo>
                <a:lnTo>
                  <a:pt x="955" y="444"/>
                </a:lnTo>
                <a:lnTo>
                  <a:pt x="945" y="442"/>
                </a:lnTo>
                <a:lnTo>
                  <a:pt x="936" y="438"/>
                </a:lnTo>
                <a:lnTo>
                  <a:pt x="928" y="434"/>
                </a:lnTo>
                <a:lnTo>
                  <a:pt x="919" y="430"/>
                </a:lnTo>
                <a:lnTo>
                  <a:pt x="912" y="426"/>
                </a:lnTo>
                <a:lnTo>
                  <a:pt x="904" y="421"/>
                </a:lnTo>
                <a:lnTo>
                  <a:pt x="897" y="416"/>
                </a:lnTo>
                <a:lnTo>
                  <a:pt x="890" y="411"/>
                </a:lnTo>
                <a:lnTo>
                  <a:pt x="884" y="405"/>
                </a:lnTo>
                <a:lnTo>
                  <a:pt x="878" y="399"/>
                </a:lnTo>
                <a:lnTo>
                  <a:pt x="873" y="393"/>
                </a:lnTo>
                <a:lnTo>
                  <a:pt x="893" y="369"/>
                </a:lnTo>
                <a:lnTo>
                  <a:pt x="903" y="379"/>
                </a:lnTo>
                <a:lnTo>
                  <a:pt x="908" y="384"/>
                </a:lnTo>
                <a:lnTo>
                  <a:pt x="914" y="389"/>
                </a:lnTo>
                <a:lnTo>
                  <a:pt x="926" y="398"/>
                </a:lnTo>
                <a:lnTo>
                  <a:pt x="940" y="406"/>
                </a:lnTo>
                <a:lnTo>
                  <a:pt x="947" y="410"/>
                </a:lnTo>
                <a:lnTo>
                  <a:pt x="955" y="413"/>
                </a:lnTo>
                <a:lnTo>
                  <a:pt x="963" y="416"/>
                </a:lnTo>
                <a:lnTo>
                  <a:pt x="971" y="418"/>
                </a:lnTo>
                <a:lnTo>
                  <a:pt x="980" y="420"/>
                </a:lnTo>
                <a:lnTo>
                  <a:pt x="989" y="421"/>
                </a:lnTo>
                <a:lnTo>
                  <a:pt x="999" y="422"/>
                </a:lnTo>
                <a:lnTo>
                  <a:pt x="1008" y="422"/>
                </a:lnTo>
                <a:lnTo>
                  <a:pt x="1017" y="422"/>
                </a:lnTo>
                <a:lnTo>
                  <a:pt x="1026" y="422"/>
                </a:lnTo>
                <a:lnTo>
                  <a:pt x="1034" y="421"/>
                </a:lnTo>
                <a:lnTo>
                  <a:pt x="1041" y="419"/>
                </a:lnTo>
                <a:lnTo>
                  <a:pt x="1049" y="418"/>
                </a:lnTo>
                <a:lnTo>
                  <a:pt x="1055" y="415"/>
                </a:lnTo>
                <a:lnTo>
                  <a:pt x="1061" y="413"/>
                </a:lnTo>
                <a:lnTo>
                  <a:pt x="1067" y="410"/>
                </a:lnTo>
                <a:lnTo>
                  <a:pt x="1076" y="404"/>
                </a:lnTo>
                <a:lnTo>
                  <a:pt x="1085" y="398"/>
                </a:lnTo>
                <a:lnTo>
                  <a:pt x="1088" y="394"/>
                </a:lnTo>
                <a:lnTo>
                  <a:pt x="1091" y="390"/>
                </a:lnTo>
                <a:lnTo>
                  <a:pt x="1094" y="386"/>
                </a:lnTo>
                <a:lnTo>
                  <a:pt x="1096" y="382"/>
                </a:lnTo>
                <a:lnTo>
                  <a:pt x="1100" y="374"/>
                </a:lnTo>
                <a:lnTo>
                  <a:pt x="1103" y="365"/>
                </a:lnTo>
                <a:lnTo>
                  <a:pt x="1104" y="357"/>
                </a:lnTo>
                <a:lnTo>
                  <a:pt x="1105" y="349"/>
                </a:lnTo>
                <a:lnTo>
                  <a:pt x="1104" y="341"/>
                </a:lnTo>
                <a:lnTo>
                  <a:pt x="1103" y="334"/>
                </a:lnTo>
                <a:lnTo>
                  <a:pt x="1101" y="327"/>
                </a:lnTo>
                <a:lnTo>
                  <a:pt x="1099" y="321"/>
                </a:lnTo>
                <a:lnTo>
                  <a:pt x="1095" y="315"/>
                </a:lnTo>
                <a:lnTo>
                  <a:pt x="1092" y="310"/>
                </a:lnTo>
                <a:lnTo>
                  <a:pt x="1087" y="305"/>
                </a:lnTo>
                <a:lnTo>
                  <a:pt x="1085" y="303"/>
                </a:lnTo>
                <a:lnTo>
                  <a:pt x="1082" y="301"/>
                </a:lnTo>
                <a:lnTo>
                  <a:pt x="1070" y="293"/>
                </a:lnTo>
                <a:lnTo>
                  <a:pt x="1064" y="290"/>
                </a:lnTo>
                <a:lnTo>
                  <a:pt x="1057" y="287"/>
                </a:lnTo>
                <a:lnTo>
                  <a:pt x="1043" y="281"/>
                </a:lnTo>
                <a:lnTo>
                  <a:pt x="1027" y="276"/>
                </a:lnTo>
                <a:lnTo>
                  <a:pt x="995" y="267"/>
                </a:lnTo>
                <a:lnTo>
                  <a:pt x="962" y="257"/>
                </a:lnTo>
                <a:lnTo>
                  <a:pt x="954" y="254"/>
                </a:lnTo>
                <a:lnTo>
                  <a:pt x="946" y="251"/>
                </a:lnTo>
                <a:lnTo>
                  <a:pt x="939" y="248"/>
                </a:lnTo>
                <a:lnTo>
                  <a:pt x="932" y="244"/>
                </a:lnTo>
                <a:lnTo>
                  <a:pt x="925" y="240"/>
                </a:lnTo>
                <a:lnTo>
                  <a:pt x="919" y="236"/>
                </a:lnTo>
                <a:lnTo>
                  <a:pt x="907" y="226"/>
                </a:lnTo>
                <a:lnTo>
                  <a:pt x="902" y="221"/>
                </a:lnTo>
                <a:lnTo>
                  <a:pt x="897" y="215"/>
                </a:lnTo>
                <a:lnTo>
                  <a:pt x="894" y="209"/>
                </a:lnTo>
                <a:lnTo>
                  <a:pt x="890" y="202"/>
                </a:lnTo>
                <a:lnTo>
                  <a:pt x="888" y="195"/>
                </a:lnTo>
                <a:lnTo>
                  <a:pt x="886" y="186"/>
                </a:lnTo>
                <a:lnTo>
                  <a:pt x="885" y="178"/>
                </a:lnTo>
                <a:lnTo>
                  <a:pt x="884" y="169"/>
                </a:lnTo>
                <a:lnTo>
                  <a:pt x="885" y="158"/>
                </a:lnTo>
                <a:lnTo>
                  <a:pt x="887" y="147"/>
                </a:lnTo>
                <a:lnTo>
                  <a:pt x="888" y="142"/>
                </a:lnTo>
                <a:lnTo>
                  <a:pt x="890" y="137"/>
                </a:lnTo>
                <a:lnTo>
                  <a:pt x="894" y="128"/>
                </a:lnTo>
                <a:lnTo>
                  <a:pt x="899" y="119"/>
                </a:lnTo>
                <a:lnTo>
                  <a:pt x="901" y="115"/>
                </a:lnTo>
                <a:lnTo>
                  <a:pt x="905" y="111"/>
                </a:lnTo>
                <a:lnTo>
                  <a:pt x="912" y="104"/>
                </a:lnTo>
                <a:lnTo>
                  <a:pt x="920" y="97"/>
                </a:lnTo>
                <a:lnTo>
                  <a:pt x="924" y="94"/>
                </a:lnTo>
                <a:lnTo>
                  <a:pt x="928" y="91"/>
                </a:lnTo>
                <a:lnTo>
                  <a:pt x="938" y="86"/>
                </a:lnTo>
                <a:lnTo>
                  <a:pt x="948" y="81"/>
                </a:lnTo>
                <a:lnTo>
                  <a:pt x="958" y="77"/>
                </a:lnTo>
                <a:lnTo>
                  <a:pt x="969" y="75"/>
                </a:lnTo>
                <a:lnTo>
                  <a:pt x="980" y="72"/>
                </a:lnTo>
                <a:lnTo>
                  <a:pt x="992" y="71"/>
                </a:lnTo>
                <a:lnTo>
                  <a:pt x="1005" y="71"/>
                </a:lnTo>
                <a:lnTo>
                  <a:pt x="1015" y="71"/>
                </a:lnTo>
                <a:lnTo>
                  <a:pt x="1025" y="71"/>
                </a:lnTo>
                <a:lnTo>
                  <a:pt x="1034" y="73"/>
                </a:lnTo>
                <a:lnTo>
                  <a:pt x="1044" y="74"/>
                </a:lnTo>
                <a:lnTo>
                  <a:pt x="1052" y="76"/>
                </a:lnTo>
                <a:lnTo>
                  <a:pt x="1061" y="78"/>
                </a:lnTo>
                <a:lnTo>
                  <a:pt x="1069" y="81"/>
                </a:lnTo>
                <a:lnTo>
                  <a:pt x="1077" y="84"/>
                </a:lnTo>
                <a:lnTo>
                  <a:pt x="1085" y="88"/>
                </a:lnTo>
                <a:lnTo>
                  <a:pt x="1092" y="92"/>
                </a:lnTo>
                <a:lnTo>
                  <a:pt x="1106" y="101"/>
                </a:lnTo>
                <a:lnTo>
                  <a:pt x="1112" y="105"/>
                </a:lnTo>
                <a:lnTo>
                  <a:pt x="1118" y="111"/>
                </a:lnTo>
                <a:lnTo>
                  <a:pt x="1124" y="116"/>
                </a:lnTo>
                <a:lnTo>
                  <a:pt x="1130" y="122"/>
                </a:lnTo>
                <a:lnTo>
                  <a:pt x="1109" y="146"/>
                </a:lnTo>
                <a:lnTo>
                  <a:pt x="1104" y="140"/>
                </a:lnTo>
                <a:lnTo>
                  <a:pt x="1098" y="134"/>
                </a:lnTo>
                <a:lnTo>
                  <a:pt x="1093" y="129"/>
                </a:lnTo>
                <a:lnTo>
                  <a:pt x="1087" y="125"/>
                </a:lnTo>
                <a:lnTo>
                  <a:pt x="1081" y="121"/>
                </a:lnTo>
                <a:lnTo>
                  <a:pt x="1075" y="117"/>
                </a:lnTo>
                <a:lnTo>
                  <a:pt x="1068" y="113"/>
                </a:lnTo>
                <a:lnTo>
                  <a:pt x="1062" y="110"/>
                </a:lnTo>
                <a:lnTo>
                  <a:pt x="1055" y="108"/>
                </a:lnTo>
                <a:lnTo>
                  <a:pt x="1048" y="105"/>
                </a:lnTo>
                <a:lnTo>
                  <a:pt x="1041" y="103"/>
                </a:lnTo>
                <a:lnTo>
                  <a:pt x="1034" y="102"/>
                </a:lnTo>
                <a:lnTo>
                  <a:pt x="1026" y="101"/>
                </a:lnTo>
                <a:lnTo>
                  <a:pt x="1019" y="100"/>
                </a:lnTo>
                <a:lnTo>
                  <a:pt x="1003" y="99"/>
                </a:lnTo>
                <a:lnTo>
                  <a:pt x="994" y="100"/>
                </a:lnTo>
                <a:lnTo>
                  <a:pt x="985" y="101"/>
                </a:lnTo>
                <a:lnTo>
                  <a:pt x="977" y="102"/>
                </a:lnTo>
                <a:lnTo>
                  <a:pt x="969" y="104"/>
                </a:lnTo>
                <a:lnTo>
                  <a:pt x="962" y="107"/>
                </a:lnTo>
                <a:lnTo>
                  <a:pt x="955" y="110"/>
                </a:lnTo>
                <a:lnTo>
                  <a:pt x="948" y="114"/>
                </a:lnTo>
                <a:lnTo>
                  <a:pt x="942" y="118"/>
                </a:lnTo>
                <a:lnTo>
                  <a:pt x="936" y="123"/>
                </a:lnTo>
                <a:lnTo>
                  <a:pt x="931" y="128"/>
                </a:lnTo>
                <a:lnTo>
                  <a:pt x="927" y="134"/>
                </a:lnTo>
                <a:lnTo>
                  <a:pt x="924" y="140"/>
                </a:lnTo>
                <a:lnTo>
                  <a:pt x="921" y="146"/>
                </a:lnTo>
                <a:lnTo>
                  <a:pt x="919" y="153"/>
                </a:lnTo>
                <a:lnTo>
                  <a:pt x="918" y="160"/>
                </a:lnTo>
                <a:lnTo>
                  <a:pt x="917" y="167"/>
                </a:lnTo>
                <a:lnTo>
                  <a:pt x="918" y="174"/>
                </a:lnTo>
                <a:lnTo>
                  <a:pt x="919" y="180"/>
                </a:lnTo>
                <a:lnTo>
                  <a:pt x="921" y="186"/>
                </a:lnTo>
                <a:lnTo>
                  <a:pt x="923" y="191"/>
                </a:lnTo>
                <a:lnTo>
                  <a:pt x="927" y="196"/>
                </a:lnTo>
                <a:lnTo>
                  <a:pt x="930" y="201"/>
                </a:lnTo>
                <a:lnTo>
                  <a:pt x="935" y="205"/>
                </a:lnTo>
                <a:lnTo>
                  <a:pt x="940" y="209"/>
                </a:lnTo>
                <a:lnTo>
                  <a:pt x="952" y="215"/>
                </a:lnTo>
                <a:lnTo>
                  <a:pt x="958" y="219"/>
                </a:lnTo>
                <a:lnTo>
                  <a:pt x="965" y="222"/>
                </a:lnTo>
                <a:lnTo>
                  <a:pt x="972" y="224"/>
                </a:lnTo>
                <a:lnTo>
                  <a:pt x="979" y="227"/>
                </a:lnTo>
                <a:lnTo>
                  <a:pt x="995" y="232"/>
                </a:lnTo>
                <a:lnTo>
                  <a:pt x="1028" y="241"/>
                </a:lnTo>
                <a:lnTo>
                  <a:pt x="1060" y="251"/>
                </a:lnTo>
                <a:lnTo>
                  <a:pt x="1068" y="254"/>
                </a:lnTo>
                <a:lnTo>
                  <a:pt x="1076" y="258"/>
                </a:lnTo>
                <a:lnTo>
                  <a:pt x="1080" y="259"/>
                </a:lnTo>
                <a:lnTo>
                  <a:pt x="1083" y="261"/>
                </a:lnTo>
                <a:lnTo>
                  <a:pt x="1090" y="265"/>
                </a:lnTo>
                <a:lnTo>
                  <a:pt x="1097" y="270"/>
                </a:lnTo>
                <a:lnTo>
                  <a:pt x="1103" y="274"/>
                </a:lnTo>
                <a:lnTo>
                  <a:pt x="1109" y="279"/>
                </a:lnTo>
                <a:lnTo>
                  <a:pt x="1115" y="284"/>
                </a:lnTo>
                <a:lnTo>
                  <a:pt x="1120" y="290"/>
                </a:lnTo>
                <a:lnTo>
                  <a:pt x="1125" y="297"/>
                </a:lnTo>
                <a:lnTo>
                  <a:pt x="1127" y="300"/>
                </a:lnTo>
                <a:lnTo>
                  <a:pt x="1128" y="303"/>
                </a:lnTo>
                <a:lnTo>
                  <a:pt x="1132" y="311"/>
                </a:lnTo>
                <a:lnTo>
                  <a:pt x="1134" y="319"/>
                </a:lnTo>
                <a:lnTo>
                  <a:pt x="1136" y="328"/>
                </a:lnTo>
                <a:lnTo>
                  <a:pt x="1137" y="337"/>
                </a:lnTo>
                <a:lnTo>
                  <a:pt x="1138" y="347"/>
                </a:lnTo>
                <a:lnTo>
                  <a:pt x="1137" y="359"/>
                </a:lnTo>
                <a:lnTo>
                  <a:pt x="1135" y="371"/>
                </a:lnTo>
                <a:lnTo>
                  <a:pt x="1131" y="383"/>
                </a:lnTo>
                <a:lnTo>
                  <a:pt x="1126" y="395"/>
                </a:lnTo>
                <a:lnTo>
                  <a:pt x="1123" y="401"/>
                </a:lnTo>
                <a:lnTo>
                  <a:pt x="1119" y="406"/>
                </a:lnTo>
                <a:lnTo>
                  <a:pt x="1115" y="412"/>
                </a:lnTo>
                <a:lnTo>
                  <a:pt x="1110" y="417"/>
                </a:lnTo>
                <a:lnTo>
                  <a:pt x="1104" y="422"/>
                </a:lnTo>
                <a:lnTo>
                  <a:pt x="1099" y="426"/>
                </a:lnTo>
                <a:lnTo>
                  <a:pt x="1092" y="430"/>
                </a:lnTo>
                <a:lnTo>
                  <a:pt x="1085" y="435"/>
                </a:lnTo>
                <a:lnTo>
                  <a:pt x="1078" y="438"/>
                </a:lnTo>
                <a:lnTo>
                  <a:pt x="1070" y="442"/>
                </a:lnTo>
                <a:lnTo>
                  <a:pt x="1061" y="444"/>
                </a:lnTo>
                <a:lnTo>
                  <a:pt x="1051" y="447"/>
                </a:lnTo>
                <a:lnTo>
                  <a:pt x="1041" y="448"/>
                </a:lnTo>
                <a:lnTo>
                  <a:pt x="1031" y="450"/>
                </a:lnTo>
                <a:lnTo>
                  <a:pt x="1019" y="451"/>
                </a:lnTo>
                <a:lnTo>
                  <a:pt x="1007" y="451"/>
                </a:lnTo>
                <a:close/>
                <a:moveTo>
                  <a:pt x="1255" y="444"/>
                </a:moveTo>
                <a:lnTo>
                  <a:pt x="1224" y="444"/>
                </a:lnTo>
                <a:lnTo>
                  <a:pt x="1224" y="77"/>
                </a:lnTo>
                <a:lnTo>
                  <a:pt x="1255" y="77"/>
                </a:lnTo>
                <a:lnTo>
                  <a:pt x="1255" y="444"/>
                </a:lnTo>
                <a:close/>
                <a:moveTo>
                  <a:pt x="1661" y="444"/>
                </a:moveTo>
                <a:lnTo>
                  <a:pt x="1624" y="444"/>
                </a:lnTo>
                <a:lnTo>
                  <a:pt x="1588" y="354"/>
                </a:lnTo>
                <a:lnTo>
                  <a:pt x="1393" y="354"/>
                </a:lnTo>
                <a:lnTo>
                  <a:pt x="1357" y="444"/>
                </a:lnTo>
                <a:lnTo>
                  <a:pt x="1320" y="444"/>
                </a:lnTo>
                <a:lnTo>
                  <a:pt x="1471" y="77"/>
                </a:lnTo>
                <a:lnTo>
                  <a:pt x="1510" y="77"/>
                </a:lnTo>
                <a:lnTo>
                  <a:pt x="1661" y="444"/>
                </a:lnTo>
                <a:close/>
                <a:moveTo>
                  <a:pt x="1577" y="325"/>
                </a:moveTo>
                <a:lnTo>
                  <a:pt x="1491" y="110"/>
                </a:lnTo>
                <a:lnTo>
                  <a:pt x="1404" y="325"/>
                </a:lnTo>
                <a:lnTo>
                  <a:pt x="1577" y="325"/>
                </a:lnTo>
                <a:close/>
                <a:moveTo>
                  <a:pt x="1991" y="444"/>
                </a:moveTo>
                <a:lnTo>
                  <a:pt x="1950" y="444"/>
                </a:lnTo>
                <a:lnTo>
                  <a:pt x="1798" y="271"/>
                </a:lnTo>
                <a:lnTo>
                  <a:pt x="1757" y="316"/>
                </a:lnTo>
                <a:lnTo>
                  <a:pt x="1757" y="444"/>
                </a:lnTo>
                <a:lnTo>
                  <a:pt x="1725" y="444"/>
                </a:lnTo>
                <a:lnTo>
                  <a:pt x="1725" y="77"/>
                </a:lnTo>
                <a:lnTo>
                  <a:pt x="1757" y="77"/>
                </a:lnTo>
                <a:lnTo>
                  <a:pt x="1757" y="278"/>
                </a:lnTo>
                <a:lnTo>
                  <a:pt x="1935" y="77"/>
                </a:lnTo>
                <a:lnTo>
                  <a:pt x="1976" y="77"/>
                </a:lnTo>
                <a:lnTo>
                  <a:pt x="1819" y="252"/>
                </a:lnTo>
                <a:lnTo>
                  <a:pt x="1991" y="444"/>
                </a:lnTo>
                <a:close/>
                <a:moveTo>
                  <a:pt x="2325" y="444"/>
                </a:moveTo>
                <a:lnTo>
                  <a:pt x="2284" y="444"/>
                </a:lnTo>
                <a:lnTo>
                  <a:pt x="2133" y="271"/>
                </a:lnTo>
                <a:lnTo>
                  <a:pt x="2092" y="316"/>
                </a:lnTo>
                <a:lnTo>
                  <a:pt x="2092" y="444"/>
                </a:lnTo>
                <a:lnTo>
                  <a:pt x="2061" y="444"/>
                </a:lnTo>
                <a:lnTo>
                  <a:pt x="2061" y="77"/>
                </a:lnTo>
                <a:lnTo>
                  <a:pt x="2092" y="77"/>
                </a:lnTo>
                <a:lnTo>
                  <a:pt x="2092" y="278"/>
                </a:lnTo>
                <a:lnTo>
                  <a:pt x="2270" y="77"/>
                </a:lnTo>
                <a:lnTo>
                  <a:pt x="2310" y="77"/>
                </a:lnTo>
                <a:lnTo>
                  <a:pt x="2153" y="252"/>
                </a:lnTo>
                <a:lnTo>
                  <a:pt x="2325" y="444"/>
                </a:lnTo>
                <a:close/>
                <a:moveTo>
                  <a:pt x="2698" y="444"/>
                </a:moveTo>
                <a:lnTo>
                  <a:pt x="2661" y="444"/>
                </a:lnTo>
                <a:lnTo>
                  <a:pt x="2625" y="354"/>
                </a:lnTo>
                <a:lnTo>
                  <a:pt x="2430" y="354"/>
                </a:lnTo>
                <a:lnTo>
                  <a:pt x="2394" y="444"/>
                </a:lnTo>
                <a:lnTo>
                  <a:pt x="2357" y="444"/>
                </a:lnTo>
                <a:lnTo>
                  <a:pt x="2508" y="77"/>
                </a:lnTo>
                <a:lnTo>
                  <a:pt x="2547" y="77"/>
                </a:lnTo>
                <a:lnTo>
                  <a:pt x="2698" y="444"/>
                </a:lnTo>
                <a:close/>
                <a:moveTo>
                  <a:pt x="2614" y="325"/>
                </a:moveTo>
                <a:lnTo>
                  <a:pt x="2528" y="110"/>
                </a:lnTo>
                <a:lnTo>
                  <a:pt x="2441" y="325"/>
                </a:lnTo>
                <a:lnTo>
                  <a:pt x="2614" y="325"/>
                </a:lnTo>
                <a:close/>
                <a:moveTo>
                  <a:pt x="3065" y="444"/>
                </a:moveTo>
                <a:lnTo>
                  <a:pt x="3029" y="444"/>
                </a:lnTo>
                <a:lnTo>
                  <a:pt x="2992" y="354"/>
                </a:lnTo>
                <a:lnTo>
                  <a:pt x="2798" y="354"/>
                </a:lnTo>
                <a:lnTo>
                  <a:pt x="2761" y="444"/>
                </a:lnTo>
                <a:lnTo>
                  <a:pt x="2725" y="444"/>
                </a:lnTo>
                <a:lnTo>
                  <a:pt x="2875" y="77"/>
                </a:lnTo>
                <a:lnTo>
                  <a:pt x="2915" y="77"/>
                </a:lnTo>
                <a:lnTo>
                  <a:pt x="3065" y="444"/>
                </a:lnTo>
                <a:close/>
                <a:moveTo>
                  <a:pt x="2982" y="325"/>
                </a:moveTo>
                <a:lnTo>
                  <a:pt x="2895" y="110"/>
                </a:lnTo>
                <a:lnTo>
                  <a:pt x="2808" y="325"/>
                </a:lnTo>
                <a:lnTo>
                  <a:pt x="2982" y="325"/>
                </a:lnTo>
                <a:close/>
                <a:moveTo>
                  <a:pt x="3474" y="444"/>
                </a:moveTo>
                <a:lnTo>
                  <a:pt x="3442" y="444"/>
                </a:lnTo>
                <a:lnTo>
                  <a:pt x="3442" y="116"/>
                </a:lnTo>
                <a:lnTo>
                  <a:pt x="3308" y="444"/>
                </a:lnTo>
                <a:lnTo>
                  <a:pt x="3296" y="444"/>
                </a:lnTo>
                <a:lnTo>
                  <a:pt x="3161" y="116"/>
                </a:lnTo>
                <a:lnTo>
                  <a:pt x="3161" y="444"/>
                </a:lnTo>
                <a:lnTo>
                  <a:pt x="3130" y="444"/>
                </a:lnTo>
                <a:lnTo>
                  <a:pt x="3130" y="77"/>
                </a:lnTo>
                <a:lnTo>
                  <a:pt x="3177" y="77"/>
                </a:lnTo>
                <a:lnTo>
                  <a:pt x="3302" y="383"/>
                </a:lnTo>
                <a:lnTo>
                  <a:pt x="3427" y="77"/>
                </a:lnTo>
                <a:lnTo>
                  <a:pt x="3474" y="77"/>
                </a:lnTo>
                <a:lnTo>
                  <a:pt x="3474" y="444"/>
                </a:lnTo>
                <a:close/>
                <a:moveTo>
                  <a:pt x="3920" y="444"/>
                </a:moveTo>
                <a:lnTo>
                  <a:pt x="3888" y="444"/>
                </a:lnTo>
                <a:lnTo>
                  <a:pt x="3888" y="116"/>
                </a:lnTo>
                <a:lnTo>
                  <a:pt x="3754" y="444"/>
                </a:lnTo>
                <a:lnTo>
                  <a:pt x="3742" y="444"/>
                </a:lnTo>
                <a:lnTo>
                  <a:pt x="3608" y="116"/>
                </a:lnTo>
                <a:lnTo>
                  <a:pt x="3608" y="444"/>
                </a:lnTo>
                <a:lnTo>
                  <a:pt x="3576" y="444"/>
                </a:lnTo>
                <a:lnTo>
                  <a:pt x="3576" y="77"/>
                </a:lnTo>
                <a:lnTo>
                  <a:pt x="3623" y="77"/>
                </a:lnTo>
                <a:lnTo>
                  <a:pt x="3748" y="383"/>
                </a:lnTo>
                <a:lnTo>
                  <a:pt x="3873" y="77"/>
                </a:lnTo>
                <a:lnTo>
                  <a:pt x="3920" y="77"/>
                </a:lnTo>
                <a:lnTo>
                  <a:pt x="3920" y="444"/>
                </a:lnTo>
                <a:close/>
                <a:moveTo>
                  <a:pt x="4256" y="444"/>
                </a:moveTo>
                <a:lnTo>
                  <a:pt x="4022" y="444"/>
                </a:lnTo>
                <a:lnTo>
                  <a:pt x="4022" y="77"/>
                </a:lnTo>
                <a:lnTo>
                  <a:pt x="4256" y="77"/>
                </a:lnTo>
                <a:lnTo>
                  <a:pt x="4256" y="105"/>
                </a:lnTo>
                <a:lnTo>
                  <a:pt x="4054" y="105"/>
                </a:lnTo>
                <a:lnTo>
                  <a:pt x="4054" y="242"/>
                </a:lnTo>
                <a:lnTo>
                  <a:pt x="4252" y="242"/>
                </a:lnTo>
                <a:lnTo>
                  <a:pt x="4252" y="270"/>
                </a:lnTo>
                <a:lnTo>
                  <a:pt x="4054" y="270"/>
                </a:lnTo>
                <a:lnTo>
                  <a:pt x="4054" y="416"/>
                </a:lnTo>
                <a:lnTo>
                  <a:pt x="4256" y="416"/>
                </a:lnTo>
                <a:lnTo>
                  <a:pt x="4256" y="444"/>
                </a:lnTo>
                <a:close/>
                <a:moveTo>
                  <a:pt x="4625" y="444"/>
                </a:moveTo>
                <a:lnTo>
                  <a:pt x="4593" y="444"/>
                </a:lnTo>
                <a:lnTo>
                  <a:pt x="4593" y="105"/>
                </a:lnTo>
                <a:lnTo>
                  <a:pt x="4473" y="105"/>
                </a:lnTo>
                <a:lnTo>
                  <a:pt x="4473" y="77"/>
                </a:lnTo>
                <a:lnTo>
                  <a:pt x="4745" y="77"/>
                </a:lnTo>
                <a:lnTo>
                  <a:pt x="4745" y="105"/>
                </a:lnTo>
                <a:lnTo>
                  <a:pt x="4625" y="105"/>
                </a:lnTo>
                <a:lnTo>
                  <a:pt x="4625" y="444"/>
                </a:lnTo>
                <a:close/>
                <a:moveTo>
                  <a:pt x="5055" y="444"/>
                </a:moveTo>
                <a:lnTo>
                  <a:pt x="4821" y="444"/>
                </a:lnTo>
                <a:lnTo>
                  <a:pt x="4821" y="77"/>
                </a:lnTo>
                <a:lnTo>
                  <a:pt x="5055" y="77"/>
                </a:lnTo>
                <a:lnTo>
                  <a:pt x="5055" y="105"/>
                </a:lnTo>
                <a:lnTo>
                  <a:pt x="4853" y="105"/>
                </a:lnTo>
                <a:lnTo>
                  <a:pt x="4853" y="242"/>
                </a:lnTo>
                <a:lnTo>
                  <a:pt x="5051" y="242"/>
                </a:lnTo>
                <a:lnTo>
                  <a:pt x="5051" y="270"/>
                </a:lnTo>
                <a:lnTo>
                  <a:pt x="4853" y="270"/>
                </a:lnTo>
                <a:lnTo>
                  <a:pt x="4853" y="416"/>
                </a:lnTo>
                <a:lnTo>
                  <a:pt x="5055" y="416"/>
                </a:lnTo>
                <a:lnTo>
                  <a:pt x="5055" y="444"/>
                </a:lnTo>
                <a:close/>
                <a:moveTo>
                  <a:pt x="5408" y="444"/>
                </a:moveTo>
                <a:lnTo>
                  <a:pt x="5368" y="444"/>
                </a:lnTo>
                <a:lnTo>
                  <a:pt x="5216" y="271"/>
                </a:lnTo>
                <a:lnTo>
                  <a:pt x="5175" y="316"/>
                </a:lnTo>
                <a:lnTo>
                  <a:pt x="5175" y="444"/>
                </a:lnTo>
                <a:lnTo>
                  <a:pt x="5144" y="444"/>
                </a:lnTo>
                <a:lnTo>
                  <a:pt x="5144" y="77"/>
                </a:lnTo>
                <a:lnTo>
                  <a:pt x="5175" y="77"/>
                </a:lnTo>
                <a:lnTo>
                  <a:pt x="5175" y="278"/>
                </a:lnTo>
                <a:lnTo>
                  <a:pt x="5353" y="77"/>
                </a:lnTo>
                <a:lnTo>
                  <a:pt x="5393" y="77"/>
                </a:lnTo>
                <a:lnTo>
                  <a:pt x="5236" y="252"/>
                </a:lnTo>
                <a:lnTo>
                  <a:pt x="5408" y="444"/>
                </a:lnTo>
                <a:close/>
                <a:moveTo>
                  <a:pt x="5712" y="444"/>
                </a:moveTo>
                <a:lnTo>
                  <a:pt x="5479" y="444"/>
                </a:lnTo>
                <a:lnTo>
                  <a:pt x="5479" y="77"/>
                </a:lnTo>
                <a:lnTo>
                  <a:pt x="5712" y="77"/>
                </a:lnTo>
                <a:lnTo>
                  <a:pt x="5712" y="105"/>
                </a:lnTo>
                <a:lnTo>
                  <a:pt x="5510" y="105"/>
                </a:lnTo>
                <a:lnTo>
                  <a:pt x="5510" y="242"/>
                </a:lnTo>
                <a:lnTo>
                  <a:pt x="5708" y="242"/>
                </a:lnTo>
                <a:lnTo>
                  <a:pt x="5708" y="270"/>
                </a:lnTo>
                <a:lnTo>
                  <a:pt x="5510" y="270"/>
                </a:lnTo>
                <a:lnTo>
                  <a:pt x="5510" y="416"/>
                </a:lnTo>
                <a:lnTo>
                  <a:pt x="5712" y="416"/>
                </a:lnTo>
                <a:lnTo>
                  <a:pt x="5712" y="444"/>
                </a:lnTo>
                <a:close/>
                <a:moveTo>
                  <a:pt x="5953" y="444"/>
                </a:moveTo>
                <a:lnTo>
                  <a:pt x="5914" y="444"/>
                </a:lnTo>
                <a:lnTo>
                  <a:pt x="5764" y="77"/>
                </a:lnTo>
                <a:lnTo>
                  <a:pt x="5800" y="77"/>
                </a:lnTo>
                <a:lnTo>
                  <a:pt x="5934" y="409"/>
                </a:lnTo>
                <a:lnTo>
                  <a:pt x="6068" y="77"/>
                </a:lnTo>
                <a:lnTo>
                  <a:pt x="6104" y="77"/>
                </a:lnTo>
                <a:lnTo>
                  <a:pt x="5953" y="444"/>
                </a:lnTo>
                <a:close/>
                <a:moveTo>
                  <a:pt x="6347" y="20"/>
                </a:moveTo>
                <a:lnTo>
                  <a:pt x="6346" y="24"/>
                </a:lnTo>
                <a:lnTo>
                  <a:pt x="6345" y="28"/>
                </a:lnTo>
                <a:lnTo>
                  <a:pt x="6343" y="32"/>
                </a:lnTo>
                <a:lnTo>
                  <a:pt x="6341" y="35"/>
                </a:lnTo>
                <a:lnTo>
                  <a:pt x="6338" y="37"/>
                </a:lnTo>
                <a:lnTo>
                  <a:pt x="6334" y="39"/>
                </a:lnTo>
                <a:lnTo>
                  <a:pt x="6331" y="40"/>
                </a:lnTo>
                <a:lnTo>
                  <a:pt x="6327" y="41"/>
                </a:lnTo>
                <a:lnTo>
                  <a:pt x="6322" y="40"/>
                </a:lnTo>
                <a:lnTo>
                  <a:pt x="6319" y="39"/>
                </a:lnTo>
                <a:lnTo>
                  <a:pt x="6315" y="37"/>
                </a:lnTo>
                <a:lnTo>
                  <a:pt x="6312" y="35"/>
                </a:lnTo>
                <a:lnTo>
                  <a:pt x="6310" y="32"/>
                </a:lnTo>
                <a:lnTo>
                  <a:pt x="6308" y="28"/>
                </a:lnTo>
                <a:lnTo>
                  <a:pt x="6307" y="24"/>
                </a:lnTo>
                <a:lnTo>
                  <a:pt x="6306" y="20"/>
                </a:lnTo>
                <a:lnTo>
                  <a:pt x="6307" y="16"/>
                </a:lnTo>
                <a:lnTo>
                  <a:pt x="6308" y="13"/>
                </a:lnTo>
                <a:lnTo>
                  <a:pt x="6310" y="9"/>
                </a:lnTo>
                <a:lnTo>
                  <a:pt x="6312" y="6"/>
                </a:lnTo>
                <a:lnTo>
                  <a:pt x="6315" y="3"/>
                </a:lnTo>
                <a:lnTo>
                  <a:pt x="6319" y="2"/>
                </a:lnTo>
                <a:lnTo>
                  <a:pt x="6322" y="0"/>
                </a:lnTo>
                <a:lnTo>
                  <a:pt x="6327" y="0"/>
                </a:lnTo>
                <a:lnTo>
                  <a:pt x="6331" y="0"/>
                </a:lnTo>
                <a:lnTo>
                  <a:pt x="6334" y="2"/>
                </a:lnTo>
                <a:lnTo>
                  <a:pt x="6338" y="3"/>
                </a:lnTo>
                <a:lnTo>
                  <a:pt x="6341" y="6"/>
                </a:lnTo>
                <a:lnTo>
                  <a:pt x="6343" y="9"/>
                </a:lnTo>
                <a:lnTo>
                  <a:pt x="6345" y="13"/>
                </a:lnTo>
                <a:lnTo>
                  <a:pt x="6346" y="16"/>
                </a:lnTo>
                <a:lnTo>
                  <a:pt x="6347" y="20"/>
                </a:lnTo>
                <a:close/>
                <a:moveTo>
                  <a:pt x="6234" y="20"/>
                </a:moveTo>
                <a:lnTo>
                  <a:pt x="6234" y="24"/>
                </a:lnTo>
                <a:lnTo>
                  <a:pt x="6233" y="28"/>
                </a:lnTo>
                <a:lnTo>
                  <a:pt x="6231" y="32"/>
                </a:lnTo>
                <a:lnTo>
                  <a:pt x="6228" y="35"/>
                </a:lnTo>
                <a:lnTo>
                  <a:pt x="6225" y="37"/>
                </a:lnTo>
                <a:lnTo>
                  <a:pt x="6222" y="39"/>
                </a:lnTo>
                <a:lnTo>
                  <a:pt x="6218" y="40"/>
                </a:lnTo>
                <a:lnTo>
                  <a:pt x="6214" y="41"/>
                </a:lnTo>
                <a:lnTo>
                  <a:pt x="6210" y="40"/>
                </a:lnTo>
                <a:lnTo>
                  <a:pt x="6206" y="39"/>
                </a:lnTo>
                <a:lnTo>
                  <a:pt x="6203" y="37"/>
                </a:lnTo>
                <a:lnTo>
                  <a:pt x="6200" y="35"/>
                </a:lnTo>
                <a:lnTo>
                  <a:pt x="6197" y="32"/>
                </a:lnTo>
                <a:lnTo>
                  <a:pt x="6195" y="28"/>
                </a:lnTo>
                <a:lnTo>
                  <a:pt x="6194" y="24"/>
                </a:lnTo>
                <a:lnTo>
                  <a:pt x="6194" y="20"/>
                </a:lnTo>
                <a:lnTo>
                  <a:pt x="6194" y="16"/>
                </a:lnTo>
                <a:lnTo>
                  <a:pt x="6195" y="13"/>
                </a:lnTo>
                <a:lnTo>
                  <a:pt x="6197" y="9"/>
                </a:lnTo>
                <a:lnTo>
                  <a:pt x="6200" y="6"/>
                </a:lnTo>
                <a:lnTo>
                  <a:pt x="6203" y="3"/>
                </a:lnTo>
                <a:lnTo>
                  <a:pt x="6206" y="2"/>
                </a:lnTo>
                <a:lnTo>
                  <a:pt x="6210" y="0"/>
                </a:lnTo>
                <a:lnTo>
                  <a:pt x="6214" y="0"/>
                </a:lnTo>
                <a:lnTo>
                  <a:pt x="6218" y="0"/>
                </a:lnTo>
                <a:lnTo>
                  <a:pt x="6222" y="2"/>
                </a:lnTo>
                <a:lnTo>
                  <a:pt x="6225" y="3"/>
                </a:lnTo>
                <a:lnTo>
                  <a:pt x="6228" y="6"/>
                </a:lnTo>
                <a:lnTo>
                  <a:pt x="6231" y="9"/>
                </a:lnTo>
                <a:lnTo>
                  <a:pt x="6233" y="13"/>
                </a:lnTo>
                <a:lnTo>
                  <a:pt x="6234" y="16"/>
                </a:lnTo>
                <a:lnTo>
                  <a:pt x="6234" y="20"/>
                </a:lnTo>
                <a:close/>
                <a:moveTo>
                  <a:pt x="6440" y="444"/>
                </a:moveTo>
                <a:lnTo>
                  <a:pt x="6404" y="444"/>
                </a:lnTo>
                <a:lnTo>
                  <a:pt x="6367" y="354"/>
                </a:lnTo>
                <a:lnTo>
                  <a:pt x="6173" y="354"/>
                </a:lnTo>
                <a:lnTo>
                  <a:pt x="6136" y="444"/>
                </a:lnTo>
                <a:lnTo>
                  <a:pt x="6100" y="444"/>
                </a:lnTo>
                <a:lnTo>
                  <a:pt x="6250" y="77"/>
                </a:lnTo>
                <a:lnTo>
                  <a:pt x="6290" y="77"/>
                </a:lnTo>
                <a:lnTo>
                  <a:pt x="6440" y="444"/>
                </a:lnTo>
                <a:close/>
                <a:moveTo>
                  <a:pt x="6357" y="325"/>
                </a:moveTo>
                <a:lnTo>
                  <a:pt x="6270" y="110"/>
                </a:lnTo>
                <a:lnTo>
                  <a:pt x="6183" y="325"/>
                </a:lnTo>
                <a:lnTo>
                  <a:pt x="6357" y="3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2" name="Graphic 11">
            <a:extLst>
              <a:ext uri="{FF2B5EF4-FFF2-40B4-BE49-F238E27FC236}">
                <a16:creationId xmlns:a16="http://schemas.microsoft.com/office/drawing/2014/main" id="{ECABA898-B675-4EB3-80AA-FDA336A81B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110276620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Grasslands">
    <p:bg>
      <p:bgPr>
        <a:solidFill>
          <a:schemeClr val="accent3"/>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0" y="1988840"/>
            <a:ext cx="10200456" cy="4869160"/>
            <a:chOff x="1065835" y="779165"/>
            <a:chExt cx="10200456" cy="4869160"/>
          </a:xfrm>
          <a:solidFill>
            <a:srgbClr val="FFFFFF">
              <a:alpha val="20000"/>
            </a:srgbClr>
          </a:solidFill>
        </p:grpSpPr>
        <p:sp>
          <p:nvSpPr>
            <p:cNvPr id="13" name="Freeform 1951"/>
            <p:cNvSpPr>
              <a:spLocks noEditPoints="1"/>
            </p:cNvSpPr>
            <p:nvPr userDrawn="1"/>
          </p:nvSpPr>
          <p:spPr bwMode="auto">
            <a:xfrm>
              <a:off x="2774729" y="779165"/>
              <a:ext cx="1074738" cy="912813"/>
            </a:xfrm>
            <a:custGeom>
              <a:avLst/>
              <a:gdLst>
                <a:gd name="T0" fmla="*/ 205 w 677"/>
                <a:gd name="T1" fmla="*/ 414 h 575"/>
                <a:gd name="T2" fmla="*/ 622 w 677"/>
                <a:gd name="T3" fmla="*/ 61 h 575"/>
                <a:gd name="T4" fmla="*/ 621 w 677"/>
                <a:gd name="T5" fmla="*/ 79 h 575"/>
                <a:gd name="T6" fmla="*/ 662 w 677"/>
                <a:gd name="T7" fmla="*/ 22 h 575"/>
                <a:gd name="T8" fmla="*/ 625 w 677"/>
                <a:gd name="T9" fmla="*/ 35 h 575"/>
                <a:gd name="T10" fmla="*/ 247 w 677"/>
                <a:gd name="T11" fmla="*/ 334 h 575"/>
                <a:gd name="T12" fmla="*/ 368 w 677"/>
                <a:gd name="T13" fmla="*/ 270 h 575"/>
                <a:gd name="T14" fmla="*/ 560 w 677"/>
                <a:gd name="T15" fmla="*/ 107 h 575"/>
                <a:gd name="T16" fmla="*/ 596 w 677"/>
                <a:gd name="T17" fmla="*/ 48 h 575"/>
                <a:gd name="T18" fmla="*/ 644 w 677"/>
                <a:gd name="T19" fmla="*/ 12 h 575"/>
                <a:gd name="T20" fmla="*/ 677 w 677"/>
                <a:gd name="T21" fmla="*/ 5 h 575"/>
                <a:gd name="T22" fmla="*/ 647 w 677"/>
                <a:gd name="T23" fmla="*/ 65 h 575"/>
                <a:gd name="T24" fmla="*/ 594 w 677"/>
                <a:gd name="T25" fmla="*/ 106 h 575"/>
                <a:gd name="T26" fmla="*/ 457 w 677"/>
                <a:gd name="T27" fmla="*/ 215 h 575"/>
                <a:gd name="T28" fmla="*/ 344 w 677"/>
                <a:gd name="T29" fmla="*/ 296 h 575"/>
                <a:gd name="T30" fmla="*/ 251 w 677"/>
                <a:gd name="T31" fmla="*/ 343 h 575"/>
                <a:gd name="T32" fmla="*/ 332 w 677"/>
                <a:gd name="T33" fmla="*/ 526 h 575"/>
                <a:gd name="T34" fmla="*/ 263 w 677"/>
                <a:gd name="T35" fmla="*/ 415 h 575"/>
                <a:gd name="T36" fmla="*/ 301 w 677"/>
                <a:gd name="T37" fmla="*/ 508 h 575"/>
                <a:gd name="T38" fmla="*/ 307 w 677"/>
                <a:gd name="T39" fmla="*/ 533 h 575"/>
                <a:gd name="T40" fmla="*/ 272 w 677"/>
                <a:gd name="T41" fmla="*/ 469 h 575"/>
                <a:gd name="T42" fmla="*/ 270 w 677"/>
                <a:gd name="T43" fmla="*/ 550 h 575"/>
                <a:gd name="T44" fmla="*/ 242 w 677"/>
                <a:gd name="T45" fmla="*/ 372 h 575"/>
                <a:gd name="T46" fmla="*/ 232 w 677"/>
                <a:gd name="T47" fmla="*/ 495 h 575"/>
                <a:gd name="T48" fmla="*/ 243 w 677"/>
                <a:gd name="T49" fmla="*/ 573 h 575"/>
                <a:gd name="T50" fmla="*/ 230 w 677"/>
                <a:gd name="T51" fmla="*/ 551 h 575"/>
                <a:gd name="T52" fmla="*/ 224 w 677"/>
                <a:gd name="T53" fmla="*/ 425 h 575"/>
                <a:gd name="T54" fmla="*/ 208 w 677"/>
                <a:gd name="T55" fmla="*/ 507 h 575"/>
                <a:gd name="T56" fmla="*/ 180 w 677"/>
                <a:gd name="T57" fmla="*/ 545 h 575"/>
                <a:gd name="T58" fmla="*/ 171 w 677"/>
                <a:gd name="T59" fmla="*/ 544 h 575"/>
                <a:gd name="T60" fmla="*/ 194 w 677"/>
                <a:gd name="T61" fmla="*/ 420 h 575"/>
                <a:gd name="T62" fmla="*/ 68 w 677"/>
                <a:gd name="T63" fmla="*/ 440 h 575"/>
                <a:gd name="T64" fmla="*/ 62 w 677"/>
                <a:gd name="T65" fmla="*/ 433 h 575"/>
                <a:gd name="T66" fmla="*/ 160 w 677"/>
                <a:gd name="T67" fmla="*/ 352 h 575"/>
                <a:gd name="T68" fmla="*/ 71 w 677"/>
                <a:gd name="T69" fmla="*/ 379 h 575"/>
                <a:gd name="T70" fmla="*/ 18 w 677"/>
                <a:gd name="T71" fmla="*/ 405 h 575"/>
                <a:gd name="T72" fmla="*/ 42 w 677"/>
                <a:gd name="T73" fmla="*/ 383 h 575"/>
                <a:gd name="T74" fmla="*/ 128 w 677"/>
                <a:gd name="T75" fmla="*/ 349 h 575"/>
                <a:gd name="T76" fmla="*/ 193 w 677"/>
                <a:gd name="T77" fmla="*/ 326 h 575"/>
                <a:gd name="T78" fmla="*/ 88 w 677"/>
                <a:gd name="T79" fmla="*/ 303 h 575"/>
                <a:gd name="T80" fmla="*/ 1 w 677"/>
                <a:gd name="T81" fmla="*/ 301 h 575"/>
                <a:gd name="T82" fmla="*/ 28 w 677"/>
                <a:gd name="T83" fmla="*/ 291 h 575"/>
                <a:gd name="T84" fmla="*/ 156 w 677"/>
                <a:gd name="T85" fmla="*/ 305 h 575"/>
                <a:gd name="T86" fmla="*/ 101 w 677"/>
                <a:gd name="T87" fmla="*/ 286 h 575"/>
                <a:gd name="T88" fmla="*/ 8 w 677"/>
                <a:gd name="T89" fmla="*/ 276 h 575"/>
                <a:gd name="T90" fmla="*/ 6 w 677"/>
                <a:gd name="T91" fmla="*/ 267 h 575"/>
                <a:gd name="T92" fmla="*/ 112 w 677"/>
                <a:gd name="T93" fmla="*/ 279 h 575"/>
                <a:gd name="T94" fmla="*/ 144 w 677"/>
                <a:gd name="T95" fmla="*/ 276 h 575"/>
                <a:gd name="T96" fmla="*/ 75 w 677"/>
                <a:gd name="T97" fmla="*/ 244 h 575"/>
                <a:gd name="T98" fmla="*/ 37 w 677"/>
                <a:gd name="T99" fmla="*/ 196 h 575"/>
                <a:gd name="T100" fmla="*/ 51 w 677"/>
                <a:gd name="T101" fmla="*/ 204 h 575"/>
                <a:gd name="T102" fmla="*/ 104 w 677"/>
                <a:gd name="T103" fmla="*/ 248 h 575"/>
                <a:gd name="T104" fmla="*/ 68 w 677"/>
                <a:gd name="T105" fmla="*/ 175 h 575"/>
                <a:gd name="T106" fmla="*/ 73 w 677"/>
                <a:gd name="T107" fmla="*/ 167 h 575"/>
                <a:gd name="T108" fmla="*/ 94 w 677"/>
                <a:gd name="T109" fmla="*/ 170 h 575"/>
                <a:gd name="T110" fmla="*/ 161 w 677"/>
                <a:gd name="T111" fmla="*/ 170 h 575"/>
                <a:gd name="T112" fmla="*/ 168 w 677"/>
                <a:gd name="T113" fmla="*/ 164 h 575"/>
                <a:gd name="T114" fmla="*/ 223 w 677"/>
                <a:gd name="T115" fmla="*/ 206 h 575"/>
                <a:gd name="T116" fmla="*/ 238 w 677"/>
                <a:gd name="T117" fmla="*/ 205 h 575"/>
                <a:gd name="T118" fmla="*/ 248 w 677"/>
                <a:gd name="T119" fmla="*/ 207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7" h="575">
                  <a:moveTo>
                    <a:pt x="231" y="362"/>
                  </a:moveTo>
                  <a:lnTo>
                    <a:pt x="225" y="369"/>
                  </a:lnTo>
                  <a:lnTo>
                    <a:pt x="220" y="378"/>
                  </a:lnTo>
                  <a:lnTo>
                    <a:pt x="215" y="386"/>
                  </a:lnTo>
                  <a:lnTo>
                    <a:pt x="211" y="395"/>
                  </a:lnTo>
                  <a:lnTo>
                    <a:pt x="208" y="404"/>
                  </a:lnTo>
                  <a:lnTo>
                    <a:pt x="205" y="414"/>
                  </a:lnTo>
                  <a:lnTo>
                    <a:pt x="203" y="424"/>
                  </a:lnTo>
                  <a:lnTo>
                    <a:pt x="202" y="434"/>
                  </a:lnTo>
                  <a:lnTo>
                    <a:pt x="201" y="444"/>
                  </a:lnTo>
                  <a:lnTo>
                    <a:pt x="201" y="453"/>
                  </a:lnTo>
                  <a:lnTo>
                    <a:pt x="231" y="362"/>
                  </a:lnTo>
                  <a:close/>
                  <a:moveTo>
                    <a:pt x="662" y="22"/>
                  </a:moveTo>
                  <a:lnTo>
                    <a:pt x="622" y="61"/>
                  </a:lnTo>
                  <a:lnTo>
                    <a:pt x="602" y="81"/>
                  </a:lnTo>
                  <a:lnTo>
                    <a:pt x="582" y="100"/>
                  </a:lnTo>
                  <a:lnTo>
                    <a:pt x="589" y="97"/>
                  </a:lnTo>
                  <a:lnTo>
                    <a:pt x="597" y="94"/>
                  </a:lnTo>
                  <a:lnTo>
                    <a:pt x="605" y="90"/>
                  </a:lnTo>
                  <a:lnTo>
                    <a:pt x="613" y="84"/>
                  </a:lnTo>
                  <a:lnTo>
                    <a:pt x="621" y="79"/>
                  </a:lnTo>
                  <a:lnTo>
                    <a:pt x="628" y="72"/>
                  </a:lnTo>
                  <a:lnTo>
                    <a:pt x="635" y="65"/>
                  </a:lnTo>
                  <a:lnTo>
                    <a:pt x="641" y="57"/>
                  </a:lnTo>
                  <a:lnTo>
                    <a:pt x="647" y="49"/>
                  </a:lnTo>
                  <a:lnTo>
                    <a:pt x="653" y="40"/>
                  </a:lnTo>
                  <a:lnTo>
                    <a:pt x="658" y="31"/>
                  </a:lnTo>
                  <a:lnTo>
                    <a:pt x="662" y="22"/>
                  </a:lnTo>
                  <a:close/>
                  <a:moveTo>
                    <a:pt x="577" y="92"/>
                  </a:moveTo>
                  <a:lnTo>
                    <a:pt x="615" y="55"/>
                  </a:lnTo>
                  <a:lnTo>
                    <a:pt x="634" y="36"/>
                  </a:lnTo>
                  <a:lnTo>
                    <a:pt x="653" y="17"/>
                  </a:lnTo>
                  <a:lnTo>
                    <a:pt x="641" y="23"/>
                  </a:lnTo>
                  <a:lnTo>
                    <a:pt x="630" y="31"/>
                  </a:lnTo>
                  <a:lnTo>
                    <a:pt x="625" y="35"/>
                  </a:lnTo>
                  <a:lnTo>
                    <a:pt x="619" y="39"/>
                  </a:lnTo>
                  <a:lnTo>
                    <a:pt x="609" y="48"/>
                  </a:lnTo>
                  <a:lnTo>
                    <a:pt x="600" y="58"/>
                  </a:lnTo>
                  <a:lnTo>
                    <a:pt x="591" y="69"/>
                  </a:lnTo>
                  <a:lnTo>
                    <a:pt x="583" y="80"/>
                  </a:lnTo>
                  <a:lnTo>
                    <a:pt x="577" y="92"/>
                  </a:lnTo>
                  <a:close/>
                  <a:moveTo>
                    <a:pt x="247" y="334"/>
                  </a:moveTo>
                  <a:lnTo>
                    <a:pt x="263" y="327"/>
                  </a:lnTo>
                  <a:lnTo>
                    <a:pt x="278" y="320"/>
                  </a:lnTo>
                  <a:lnTo>
                    <a:pt x="294" y="312"/>
                  </a:lnTo>
                  <a:lnTo>
                    <a:pt x="309" y="304"/>
                  </a:lnTo>
                  <a:lnTo>
                    <a:pt x="324" y="296"/>
                  </a:lnTo>
                  <a:lnTo>
                    <a:pt x="339" y="288"/>
                  </a:lnTo>
                  <a:lnTo>
                    <a:pt x="368" y="270"/>
                  </a:lnTo>
                  <a:lnTo>
                    <a:pt x="396" y="250"/>
                  </a:lnTo>
                  <a:lnTo>
                    <a:pt x="424" y="230"/>
                  </a:lnTo>
                  <a:lnTo>
                    <a:pt x="437" y="219"/>
                  </a:lnTo>
                  <a:lnTo>
                    <a:pt x="450" y="208"/>
                  </a:lnTo>
                  <a:lnTo>
                    <a:pt x="476" y="185"/>
                  </a:lnTo>
                  <a:lnTo>
                    <a:pt x="518" y="146"/>
                  </a:lnTo>
                  <a:lnTo>
                    <a:pt x="560" y="107"/>
                  </a:lnTo>
                  <a:lnTo>
                    <a:pt x="564" y="98"/>
                  </a:lnTo>
                  <a:lnTo>
                    <a:pt x="568" y="89"/>
                  </a:lnTo>
                  <a:lnTo>
                    <a:pt x="573" y="80"/>
                  </a:lnTo>
                  <a:lnTo>
                    <a:pt x="578" y="71"/>
                  </a:lnTo>
                  <a:lnTo>
                    <a:pt x="584" y="63"/>
                  </a:lnTo>
                  <a:lnTo>
                    <a:pt x="590" y="55"/>
                  </a:lnTo>
                  <a:lnTo>
                    <a:pt x="596" y="48"/>
                  </a:lnTo>
                  <a:lnTo>
                    <a:pt x="603" y="41"/>
                  </a:lnTo>
                  <a:lnTo>
                    <a:pt x="611" y="34"/>
                  </a:lnTo>
                  <a:lnTo>
                    <a:pt x="618" y="28"/>
                  </a:lnTo>
                  <a:lnTo>
                    <a:pt x="626" y="22"/>
                  </a:lnTo>
                  <a:lnTo>
                    <a:pt x="631" y="19"/>
                  </a:lnTo>
                  <a:lnTo>
                    <a:pt x="635" y="17"/>
                  </a:lnTo>
                  <a:lnTo>
                    <a:pt x="644" y="12"/>
                  </a:lnTo>
                  <a:lnTo>
                    <a:pt x="653" y="7"/>
                  </a:lnTo>
                  <a:lnTo>
                    <a:pt x="662" y="3"/>
                  </a:lnTo>
                  <a:lnTo>
                    <a:pt x="671" y="0"/>
                  </a:lnTo>
                  <a:lnTo>
                    <a:pt x="674" y="0"/>
                  </a:lnTo>
                  <a:lnTo>
                    <a:pt x="675" y="2"/>
                  </a:lnTo>
                  <a:lnTo>
                    <a:pt x="676" y="3"/>
                  </a:lnTo>
                  <a:lnTo>
                    <a:pt x="677" y="5"/>
                  </a:lnTo>
                  <a:lnTo>
                    <a:pt x="673" y="18"/>
                  </a:lnTo>
                  <a:lnTo>
                    <a:pt x="671" y="24"/>
                  </a:lnTo>
                  <a:lnTo>
                    <a:pt x="668" y="30"/>
                  </a:lnTo>
                  <a:lnTo>
                    <a:pt x="662" y="42"/>
                  </a:lnTo>
                  <a:lnTo>
                    <a:pt x="655" y="54"/>
                  </a:lnTo>
                  <a:lnTo>
                    <a:pt x="651" y="60"/>
                  </a:lnTo>
                  <a:lnTo>
                    <a:pt x="647" y="65"/>
                  </a:lnTo>
                  <a:lnTo>
                    <a:pt x="638" y="75"/>
                  </a:lnTo>
                  <a:lnTo>
                    <a:pt x="634" y="80"/>
                  </a:lnTo>
                  <a:lnTo>
                    <a:pt x="629" y="84"/>
                  </a:lnTo>
                  <a:lnTo>
                    <a:pt x="624" y="88"/>
                  </a:lnTo>
                  <a:lnTo>
                    <a:pt x="618" y="92"/>
                  </a:lnTo>
                  <a:lnTo>
                    <a:pt x="606" y="100"/>
                  </a:lnTo>
                  <a:lnTo>
                    <a:pt x="594" y="106"/>
                  </a:lnTo>
                  <a:lnTo>
                    <a:pt x="588" y="108"/>
                  </a:lnTo>
                  <a:lnTo>
                    <a:pt x="582" y="110"/>
                  </a:lnTo>
                  <a:lnTo>
                    <a:pt x="575" y="112"/>
                  </a:lnTo>
                  <a:lnTo>
                    <a:pt x="568" y="113"/>
                  </a:lnTo>
                  <a:lnTo>
                    <a:pt x="526" y="153"/>
                  </a:lnTo>
                  <a:lnTo>
                    <a:pt x="483" y="192"/>
                  </a:lnTo>
                  <a:lnTo>
                    <a:pt x="457" y="215"/>
                  </a:lnTo>
                  <a:lnTo>
                    <a:pt x="443" y="226"/>
                  </a:lnTo>
                  <a:lnTo>
                    <a:pt x="430" y="237"/>
                  </a:lnTo>
                  <a:lnTo>
                    <a:pt x="402" y="258"/>
                  </a:lnTo>
                  <a:lnTo>
                    <a:pt x="388" y="268"/>
                  </a:lnTo>
                  <a:lnTo>
                    <a:pt x="373" y="278"/>
                  </a:lnTo>
                  <a:lnTo>
                    <a:pt x="358" y="287"/>
                  </a:lnTo>
                  <a:lnTo>
                    <a:pt x="344" y="296"/>
                  </a:lnTo>
                  <a:lnTo>
                    <a:pt x="329" y="304"/>
                  </a:lnTo>
                  <a:lnTo>
                    <a:pt x="313" y="313"/>
                  </a:lnTo>
                  <a:lnTo>
                    <a:pt x="298" y="321"/>
                  </a:lnTo>
                  <a:lnTo>
                    <a:pt x="282" y="328"/>
                  </a:lnTo>
                  <a:lnTo>
                    <a:pt x="267" y="336"/>
                  </a:lnTo>
                  <a:lnTo>
                    <a:pt x="259" y="339"/>
                  </a:lnTo>
                  <a:lnTo>
                    <a:pt x="251" y="343"/>
                  </a:lnTo>
                  <a:lnTo>
                    <a:pt x="251" y="346"/>
                  </a:lnTo>
                  <a:lnTo>
                    <a:pt x="336" y="519"/>
                  </a:lnTo>
                  <a:lnTo>
                    <a:pt x="337" y="521"/>
                  </a:lnTo>
                  <a:lnTo>
                    <a:pt x="336" y="523"/>
                  </a:lnTo>
                  <a:lnTo>
                    <a:pt x="335" y="524"/>
                  </a:lnTo>
                  <a:lnTo>
                    <a:pt x="334" y="525"/>
                  </a:lnTo>
                  <a:lnTo>
                    <a:pt x="332" y="526"/>
                  </a:lnTo>
                  <a:lnTo>
                    <a:pt x="330" y="526"/>
                  </a:lnTo>
                  <a:lnTo>
                    <a:pt x="329" y="525"/>
                  </a:lnTo>
                  <a:lnTo>
                    <a:pt x="327" y="523"/>
                  </a:lnTo>
                  <a:lnTo>
                    <a:pt x="255" y="375"/>
                  </a:lnTo>
                  <a:lnTo>
                    <a:pt x="257" y="385"/>
                  </a:lnTo>
                  <a:lnTo>
                    <a:pt x="259" y="395"/>
                  </a:lnTo>
                  <a:lnTo>
                    <a:pt x="263" y="415"/>
                  </a:lnTo>
                  <a:lnTo>
                    <a:pt x="266" y="424"/>
                  </a:lnTo>
                  <a:lnTo>
                    <a:pt x="269" y="434"/>
                  </a:lnTo>
                  <a:lnTo>
                    <a:pt x="276" y="453"/>
                  </a:lnTo>
                  <a:lnTo>
                    <a:pt x="283" y="472"/>
                  </a:lnTo>
                  <a:lnTo>
                    <a:pt x="292" y="490"/>
                  </a:lnTo>
                  <a:lnTo>
                    <a:pt x="296" y="499"/>
                  </a:lnTo>
                  <a:lnTo>
                    <a:pt x="301" y="508"/>
                  </a:lnTo>
                  <a:lnTo>
                    <a:pt x="311" y="526"/>
                  </a:lnTo>
                  <a:lnTo>
                    <a:pt x="312" y="528"/>
                  </a:lnTo>
                  <a:lnTo>
                    <a:pt x="312" y="529"/>
                  </a:lnTo>
                  <a:lnTo>
                    <a:pt x="311" y="531"/>
                  </a:lnTo>
                  <a:lnTo>
                    <a:pt x="310" y="532"/>
                  </a:lnTo>
                  <a:lnTo>
                    <a:pt x="308" y="533"/>
                  </a:lnTo>
                  <a:lnTo>
                    <a:pt x="307" y="533"/>
                  </a:lnTo>
                  <a:lnTo>
                    <a:pt x="305" y="532"/>
                  </a:lnTo>
                  <a:lnTo>
                    <a:pt x="303" y="531"/>
                  </a:lnTo>
                  <a:lnTo>
                    <a:pt x="296" y="519"/>
                  </a:lnTo>
                  <a:lnTo>
                    <a:pt x="289" y="507"/>
                  </a:lnTo>
                  <a:lnTo>
                    <a:pt x="283" y="495"/>
                  </a:lnTo>
                  <a:lnTo>
                    <a:pt x="277" y="482"/>
                  </a:lnTo>
                  <a:lnTo>
                    <a:pt x="272" y="469"/>
                  </a:lnTo>
                  <a:lnTo>
                    <a:pt x="267" y="457"/>
                  </a:lnTo>
                  <a:lnTo>
                    <a:pt x="264" y="450"/>
                  </a:lnTo>
                  <a:lnTo>
                    <a:pt x="262" y="444"/>
                  </a:lnTo>
                  <a:lnTo>
                    <a:pt x="258" y="431"/>
                  </a:lnTo>
                  <a:lnTo>
                    <a:pt x="271" y="546"/>
                  </a:lnTo>
                  <a:lnTo>
                    <a:pt x="271" y="548"/>
                  </a:lnTo>
                  <a:lnTo>
                    <a:pt x="270" y="550"/>
                  </a:lnTo>
                  <a:lnTo>
                    <a:pt x="268" y="551"/>
                  </a:lnTo>
                  <a:lnTo>
                    <a:pt x="267" y="551"/>
                  </a:lnTo>
                  <a:lnTo>
                    <a:pt x="265" y="551"/>
                  </a:lnTo>
                  <a:lnTo>
                    <a:pt x="263" y="550"/>
                  </a:lnTo>
                  <a:lnTo>
                    <a:pt x="262" y="549"/>
                  </a:lnTo>
                  <a:lnTo>
                    <a:pt x="261" y="547"/>
                  </a:lnTo>
                  <a:lnTo>
                    <a:pt x="242" y="372"/>
                  </a:lnTo>
                  <a:lnTo>
                    <a:pt x="237" y="396"/>
                  </a:lnTo>
                  <a:lnTo>
                    <a:pt x="236" y="409"/>
                  </a:lnTo>
                  <a:lnTo>
                    <a:pt x="234" y="421"/>
                  </a:lnTo>
                  <a:lnTo>
                    <a:pt x="233" y="433"/>
                  </a:lnTo>
                  <a:lnTo>
                    <a:pt x="232" y="446"/>
                  </a:lnTo>
                  <a:lnTo>
                    <a:pt x="231" y="470"/>
                  </a:lnTo>
                  <a:lnTo>
                    <a:pt x="232" y="495"/>
                  </a:lnTo>
                  <a:lnTo>
                    <a:pt x="234" y="520"/>
                  </a:lnTo>
                  <a:lnTo>
                    <a:pt x="238" y="545"/>
                  </a:lnTo>
                  <a:lnTo>
                    <a:pt x="241" y="557"/>
                  </a:lnTo>
                  <a:lnTo>
                    <a:pt x="244" y="570"/>
                  </a:lnTo>
                  <a:lnTo>
                    <a:pt x="244" y="572"/>
                  </a:lnTo>
                  <a:lnTo>
                    <a:pt x="244" y="573"/>
                  </a:lnTo>
                  <a:lnTo>
                    <a:pt x="243" y="573"/>
                  </a:lnTo>
                  <a:lnTo>
                    <a:pt x="242" y="575"/>
                  </a:lnTo>
                  <a:lnTo>
                    <a:pt x="240" y="575"/>
                  </a:lnTo>
                  <a:lnTo>
                    <a:pt x="238" y="575"/>
                  </a:lnTo>
                  <a:lnTo>
                    <a:pt x="237" y="575"/>
                  </a:lnTo>
                  <a:lnTo>
                    <a:pt x="235" y="574"/>
                  </a:lnTo>
                  <a:lnTo>
                    <a:pt x="234" y="572"/>
                  </a:lnTo>
                  <a:lnTo>
                    <a:pt x="230" y="551"/>
                  </a:lnTo>
                  <a:lnTo>
                    <a:pt x="228" y="540"/>
                  </a:lnTo>
                  <a:lnTo>
                    <a:pt x="226" y="530"/>
                  </a:lnTo>
                  <a:lnTo>
                    <a:pt x="224" y="509"/>
                  </a:lnTo>
                  <a:lnTo>
                    <a:pt x="222" y="488"/>
                  </a:lnTo>
                  <a:lnTo>
                    <a:pt x="222" y="467"/>
                  </a:lnTo>
                  <a:lnTo>
                    <a:pt x="223" y="446"/>
                  </a:lnTo>
                  <a:lnTo>
                    <a:pt x="224" y="425"/>
                  </a:lnTo>
                  <a:lnTo>
                    <a:pt x="227" y="405"/>
                  </a:lnTo>
                  <a:lnTo>
                    <a:pt x="203" y="477"/>
                  </a:lnTo>
                  <a:lnTo>
                    <a:pt x="205" y="489"/>
                  </a:lnTo>
                  <a:lnTo>
                    <a:pt x="209" y="502"/>
                  </a:lnTo>
                  <a:lnTo>
                    <a:pt x="210" y="504"/>
                  </a:lnTo>
                  <a:lnTo>
                    <a:pt x="209" y="505"/>
                  </a:lnTo>
                  <a:lnTo>
                    <a:pt x="208" y="507"/>
                  </a:lnTo>
                  <a:lnTo>
                    <a:pt x="206" y="508"/>
                  </a:lnTo>
                  <a:lnTo>
                    <a:pt x="205" y="508"/>
                  </a:lnTo>
                  <a:lnTo>
                    <a:pt x="203" y="508"/>
                  </a:lnTo>
                  <a:lnTo>
                    <a:pt x="201" y="507"/>
                  </a:lnTo>
                  <a:lnTo>
                    <a:pt x="200" y="505"/>
                  </a:lnTo>
                  <a:lnTo>
                    <a:pt x="197" y="494"/>
                  </a:lnTo>
                  <a:lnTo>
                    <a:pt x="180" y="545"/>
                  </a:lnTo>
                  <a:lnTo>
                    <a:pt x="179" y="547"/>
                  </a:lnTo>
                  <a:lnTo>
                    <a:pt x="178" y="548"/>
                  </a:lnTo>
                  <a:lnTo>
                    <a:pt x="176" y="548"/>
                  </a:lnTo>
                  <a:lnTo>
                    <a:pt x="174" y="548"/>
                  </a:lnTo>
                  <a:lnTo>
                    <a:pt x="173" y="547"/>
                  </a:lnTo>
                  <a:lnTo>
                    <a:pt x="171" y="546"/>
                  </a:lnTo>
                  <a:lnTo>
                    <a:pt x="171" y="544"/>
                  </a:lnTo>
                  <a:lnTo>
                    <a:pt x="171" y="542"/>
                  </a:lnTo>
                  <a:lnTo>
                    <a:pt x="193" y="475"/>
                  </a:lnTo>
                  <a:lnTo>
                    <a:pt x="192" y="464"/>
                  </a:lnTo>
                  <a:lnTo>
                    <a:pt x="191" y="453"/>
                  </a:lnTo>
                  <a:lnTo>
                    <a:pt x="191" y="442"/>
                  </a:lnTo>
                  <a:lnTo>
                    <a:pt x="192" y="431"/>
                  </a:lnTo>
                  <a:lnTo>
                    <a:pt x="194" y="420"/>
                  </a:lnTo>
                  <a:lnTo>
                    <a:pt x="197" y="409"/>
                  </a:lnTo>
                  <a:lnTo>
                    <a:pt x="200" y="398"/>
                  </a:lnTo>
                  <a:lnTo>
                    <a:pt x="204" y="388"/>
                  </a:lnTo>
                  <a:lnTo>
                    <a:pt x="208" y="379"/>
                  </a:lnTo>
                  <a:lnTo>
                    <a:pt x="212" y="372"/>
                  </a:lnTo>
                  <a:lnTo>
                    <a:pt x="221" y="359"/>
                  </a:lnTo>
                  <a:lnTo>
                    <a:pt x="68" y="440"/>
                  </a:lnTo>
                  <a:lnTo>
                    <a:pt x="66" y="441"/>
                  </a:lnTo>
                  <a:lnTo>
                    <a:pt x="64" y="440"/>
                  </a:lnTo>
                  <a:lnTo>
                    <a:pt x="63" y="439"/>
                  </a:lnTo>
                  <a:lnTo>
                    <a:pt x="62" y="438"/>
                  </a:lnTo>
                  <a:lnTo>
                    <a:pt x="61" y="436"/>
                  </a:lnTo>
                  <a:lnTo>
                    <a:pt x="61" y="435"/>
                  </a:lnTo>
                  <a:lnTo>
                    <a:pt x="62" y="433"/>
                  </a:lnTo>
                  <a:lnTo>
                    <a:pt x="64" y="432"/>
                  </a:lnTo>
                  <a:lnTo>
                    <a:pt x="227" y="344"/>
                  </a:lnTo>
                  <a:lnTo>
                    <a:pt x="213" y="345"/>
                  </a:lnTo>
                  <a:lnTo>
                    <a:pt x="200" y="346"/>
                  </a:lnTo>
                  <a:lnTo>
                    <a:pt x="187" y="348"/>
                  </a:lnTo>
                  <a:lnTo>
                    <a:pt x="173" y="349"/>
                  </a:lnTo>
                  <a:lnTo>
                    <a:pt x="160" y="352"/>
                  </a:lnTo>
                  <a:lnTo>
                    <a:pt x="147" y="354"/>
                  </a:lnTo>
                  <a:lnTo>
                    <a:pt x="134" y="357"/>
                  </a:lnTo>
                  <a:lnTo>
                    <a:pt x="121" y="361"/>
                  </a:lnTo>
                  <a:lnTo>
                    <a:pt x="109" y="365"/>
                  </a:lnTo>
                  <a:lnTo>
                    <a:pt x="96" y="369"/>
                  </a:lnTo>
                  <a:lnTo>
                    <a:pt x="83" y="374"/>
                  </a:lnTo>
                  <a:lnTo>
                    <a:pt x="71" y="379"/>
                  </a:lnTo>
                  <a:lnTo>
                    <a:pt x="59" y="385"/>
                  </a:lnTo>
                  <a:lnTo>
                    <a:pt x="47" y="391"/>
                  </a:lnTo>
                  <a:lnTo>
                    <a:pt x="35" y="398"/>
                  </a:lnTo>
                  <a:lnTo>
                    <a:pt x="23" y="405"/>
                  </a:lnTo>
                  <a:lnTo>
                    <a:pt x="21" y="406"/>
                  </a:lnTo>
                  <a:lnTo>
                    <a:pt x="19" y="406"/>
                  </a:lnTo>
                  <a:lnTo>
                    <a:pt x="18" y="405"/>
                  </a:lnTo>
                  <a:lnTo>
                    <a:pt x="17" y="403"/>
                  </a:lnTo>
                  <a:lnTo>
                    <a:pt x="16" y="402"/>
                  </a:lnTo>
                  <a:lnTo>
                    <a:pt x="16" y="400"/>
                  </a:lnTo>
                  <a:lnTo>
                    <a:pt x="17" y="398"/>
                  </a:lnTo>
                  <a:lnTo>
                    <a:pt x="18" y="397"/>
                  </a:lnTo>
                  <a:lnTo>
                    <a:pt x="30" y="390"/>
                  </a:lnTo>
                  <a:lnTo>
                    <a:pt x="42" y="383"/>
                  </a:lnTo>
                  <a:lnTo>
                    <a:pt x="53" y="377"/>
                  </a:lnTo>
                  <a:lnTo>
                    <a:pt x="65" y="371"/>
                  </a:lnTo>
                  <a:lnTo>
                    <a:pt x="78" y="366"/>
                  </a:lnTo>
                  <a:lnTo>
                    <a:pt x="90" y="361"/>
                  </a:lnTo>
                  <a:lnTo>
                    <a:pt x="102" y="357"/>
                  </a:lnTo>
                  <a:lnTo>
                    <a:pt x="115" y="353"/>
                  </a:lnTo>
                  <a:lnTo>
                    <a:pt x="128" y="349"/>
                  </a:lnTo>
                  <a:lnTo>
                    <a:pt x="140" y="346"/>
                  </a:lnTo>
                  <a:lnTo>
                    <a:pt x="166" y="341"/>
                  </a:lnTo>
                  <a:lnTo>
                    <a:pt x="179" y="339"/>
                  </a:lnTo>
                  <a:lnTo>
                    <a:pt x="192" y="337"/>
                  </a:lnTo>
                  <a:lnTo>
                    <a:pt x="206" y="336"/>
                  </a:lnTo>
                  <a:lnTo>
                    <a:pt x="219" y="335"/>
                  </a:lnTo>
                  <a:lnTo>
                    <a:pt x="193" y="326"/>
                  </a:lnTo>
                  <a:lnTo>
                    <a:pt x="167" y="318"/>
                  </a:lnTo>
                  <a:lnTo>
                    <a:pt x="154" y="315"/>
                  </a:lnTo>
                  <a:lnTo>
                    <a:pt x="141" y="312"/>
                  </a:lnTo>
                  <a:lnTo>
                    <a:pt x="128" y="309"/>
                  </a:lnTo>
                  <a:lnTo>
                    <a:pt x="114" y="306"/>
                  </a:lnTo>
                  <a:lnTo>
                    <a:pt x="101" y="304"/>
                  </a:lnTo>
                  <a:lnTo>
                    <a:pt x="88" y="303"/>
                  </a:lnTo>
                  <a:lnTo>
                    <a:pt x="74" y="302"/>
                  </a:lnTo>
                  <a:lnTo>
                    <a:pt x="60" y="301"/>
                  </a:lnTo>
                  <a:lnTo>
                    <a:pt x="47" y="301"/>
                  </a:lnTo>
                  <a:lnTo>
                    <a:pt x="33" y="301"/>
                  </a:lnTo>
                  <a:lnTo>
                    <a:pt x="5" y="302"/>
                  </a:lnTo>
                  <a:lnTo>
                    <a:pt x="3" y="302"/>
                  </a:lnTo>
                  <a:lnTo>
                    <a:pt x="1" y="301"/>
                  </a:lnTo>
                  <a:lnTo>
                    <a:pt x="0" y="299"/>
                  </a:lnTo>
                  <a:lnTo>
                    <a:pt x="0" y="298"/>
                  </a:lnTo>
                  <a:lnTo>
                    <a:pt x="0" y="296"/>
                  </a:lnTo>
                  <a:lnTo>
                    <a:pt x="1" y="294"/>
                  </a:lnTo>
                  <a:lnTo>
                    <a:pt x="2" y="293"/>
                  </a:lnTo>
                  <a:lnTo>
                    <a:pt x="4" y="293"/>
                  </a:lnTo>
                  <a:lnTo>
                    <a:pt x="28" y="291"/>
                  </a:lnTo>
                  <a:lnTo>
                    <a:pt x="52" y="291"/>
                  </a:lnTo>
                  <a:lnTo>
                    <a:pt x="64" y="292"/>
                  </a:lnTo>
                  <a:lnTo>
                    <a:pt x="76" y="292"/>
                  </a:lnTo>
                  <a:lnTo>
                    <a:pt x="99" y="295"/>
                  </a:lnTo>
                  <a:lnTo>
                    <a:pt x="122" y="298"/>
                  </a:lnTo>
                  <a:lnTo>
                    <a:pt x="145" y="303"/>
                  </a:lnTo>
                  <a:lnTo>
                    <a:pt x="156" y="305"/>
                  </a:lnTo>
                  <a:lnTo>
                    <a:pt x="167" y="308"/>
                  </a:lnTo>
                  <a:lnTo>
                    <a:pt x="190" y="315"/>
                  </a:lnTo>
                  <a:lnTo>
                    <a:pt x="168" y="306"/>
                  </a:lnTo>
                  <a:lnTo>
                    <a:pt x="146" y="298"/>
                  </a:lnTo>
                  <a:lnTo>
                    <a:pt x="124" y="291"/>
                  </a:lnTo>
                  <a:lnTo>
                    <a:pt x="112" y="288"/>
                  </a:lnTo>
                  <a:lnTo>
                    <a:pt x="101" y="286"/>
                  </a:lnTo>
                  <a:lnTo>
                    <a:pt x="90" y="283"/>
                  </a:lnTo>
                  <a:lnTo>
                    <a:pt x="78" y="281"/>
                  </a:lnTo>
                  <a:lnTo>
                    <a:pt x="55" y="278"/>
                  </a:lnTo>
                  <a:lnTo>
                    <a:pt x="43" y="277"/>
                  </a:lnTo>
                  <a:lnTo>
                    <a:pt x="32" y="276"/>
                  </a:lnTo>
                  <a:lnTo>
                    <a:pt x="20" y="276"/>
                  </a:lnTo>
                  <a:lnTo>
                    <a:pt x="8" y="276"/>
                  </a:lnTo>
                  <a:lnTo>
                    <a:pt x="6" y="276"/>
                  </a:lnTo>
                  <a:lnTo>
                    <a:pt x="4" y="275"/>
                  </a:lnTo>
                  <a:lnTo>
                    <a:pt x="4" y="273"/>
                  </a:lnTo>
                  <a:lnTo>
                    <a:pt x="3" y="271"/>
                  </a:lnTo>
                  <a:lnTo>
                    <a:pt x="4" y="270"/>
                  </a:lnTo>
                  <a:lnTo>
                    <a:pt x="4" y="268"/>
                  </a:lnTo>
                  <a:lnTo>
                    <a:pt x="6" y="267"/>
                  </a:lnTo>
                  <a:lnTo>
                    <a:pt x="8" y="266"/>
                  </a:lnTo>
                  <a:lnTo>
                    <a:pt x="20" y="267"/>
                  </a:lnTo>
                  <a:lnTo>
                    <a:pt x="32" y="267"/>
                  </a:lnTo>
                  <a:lnTo>
                    <a:pt x="55" y="269"/>
                  </a:lnTo>
                  <a:lnTo>
                    <a:pt x="78" y="272"/>
                  </a:lnTo>
                  <a:lnTo>
                    <a:pt x="101" y="276"/>
                  </a:lnTo>
                  <a:lnTo>
                    <a:pt x="112" y="279"/>
                  </a:lnTo>
                  <a:lnTo>
                    <a:pt x="124" y="282"/>
                  </a:lnTo>
                  <a:lnTo>
                    <a:pt x="146" y="288"/>
                  </a:lnTo>
                  <a:lnTo>
                    <a:pt x="168" y="296"/>
                  </a:lnTo>
                  <a:lnTo>
                    <a:pt x="190" y="305"/>
                  </a:lnTo>
                  <a:lnTo>
                    <a:pt x="172" y="292"/>
                  </a:lnTo>
                  <a:lnTo>
                    <a:pt x="153" y="281"/>
                  </a:lnTo>
                  <a:lnTo>
                    <a:pt x="144" y="276"/>
                  </a:lnTo>
                  <a:lnTo>
                    <a:pt x="134" y="271"/>
                  </a:lnTo>
                  <a:lnTo>
                    <a:pt x="116" y="263"/>
                  </a:lnTo>
                  <a:lnTo>
                    <a:pt x="103" y="258"/>
                  </a:lnTo>
                  <a:lnTo>
                    <a:pt x="92" y="254"/>
                  </a:lnTo>
                  <a:lnTo>
                    <a:pt x="86" y="251"/>
                  </a:lnTo>
                  <a:lnTo>
                    <a:pt x="81" y="248"/>
                  </a:lnTo>
                  <a:lnTo>
                    <a:pt x="75" y="244"/>
                  </a:lnTo>
                  <a:lnTo>
                    <a:pt x="70" y="240"/>
                  </a:lnTo>
                  <a:lnTo>
                    <a:pt x="59" y="231"/>
                  </a:lnTo>
                  <a:lnTo>
                    <a:pt x="51" y="221"/>
                  </a:lnTo>
                  <a:lnTo>
                    <a:pt x="44" y="211"/>
                  </a:lnTo>
                  <a:lnTo>
                    <a:pt x="37" y="199"/>
                  </a:lnTo>
                  <a:lnTo>
                    <a:pt x="36" y="197"/>
                  </a:lnTo>
                  <a:lnTo>
                    <a:pt x="37" y="196"/>
                  </a:lnTo>
                  <a:lnTo>
                    <a:pt x="38" y="194"/>
                  </a:lnTo>
                  <a:lnTo>
                    <a:pt x="39" y="193"/>
                  </a:lnTo>
                  <a:lnTo>
                    <a:pt x="41" y="192"/>
                  </a:lnTo>
                  <a:lnTo>
                    <a:pt x="42" y="193"/>
                  </a:lnTo>
                  <a:lnTo>
                    <a:pt x="44" y="193"/>
                  </a:lnTo>
                  <a:lnTo>
                    <a:pt x="45" y="195"/>
                  </a:lnTo>
                  <a:lnTo>
                    <a:pt x="51" y="204"/>
                  </a:lnTo>
                  <a:lnTo>
                    <a:pt x="56" y="213"/>
                  </a:lnTo>
                  <a:lnTo>
                    <a:pt x="63" y="220"/>
                  </a:lnTo>
                  <a:lnTo>
                    <a:pt x="70" y="227"/>
                  </a:lnTo>
                  <a:lnTo>
                    <a:pt x="77" y="234"/>
                  </a:lnTo>
                  <a:lnTo>
                    <a:pt x="85" y="239"/>
                  </a:lnTo>
                  <a:lnTo>
                    <a:pt x="94" y="244"/>
                  </a:lnTo>
                  <a:lnTo>
                    <a:pt x="104" y="248"/>
                  </a:lnTo>
                  <a:lnTo>
                    <a:pt x="120" y="254"/>
                  </a:lnTo>
                  <a:lnTo>
                    <a:pt x="128" y="258"/>
                  </a:lnTo>
                  <a:lnTo>
                    <a:pt x="136" y="262"/>
                  </a:lnTo>
                  <a:lnTo>
                    <a:pt x="150" y="269"/>
                  </a:lnTo>
                  <a:lnTo>
                    <a:pt x="162" y="276"/>
                  </a:lnTo>
                  <a:lnTo>
                    <a:pt x="184" y="290"/>
                  </a:lnTo>
                  <a:lnTo>
                    <a:pt x="68" y="175"/>
                  </a:lnTo>
                  <a:lnTo>
                    <a:pt x="67" y="174"/>
                  </a:lnTo>
                  <a:lnTo>
                    <a:pt x="66" y="172"/>
                  </a:lnTo>
                  <a:lnTo>
                    <a:pt x="67" y="170"/>
                  </a:lnTo>
                  <a:lnTo>
                    <a:pt x="68" y="169"/>
                  </a:lnTo>
                  <a:lnTo>
                    <a:pt x="69" y="168"/>
                  </a:lnTo>
                  <a:lnTo>
                    <a:pt x="71" y="167"/>
                  </a:lnTo>
                  <a:lnTo>
                    <a:pt x="73" y="167"/>
                  </a:lnTo>
                  <a:lnTo>
                    <a:pt x="74" y="168"/>
                  </a:lnTo>
                  <a:lnTo>
                    <a:pt x="75" y="169"/>
                  </a:lnTo>
                  <a:lnTo>
                    <a:pt x="166" y="259"/>
                  </a:lnTo>
                  <a:lnTo>
                    <a:pt x="95" y="175"/>
                  </a:lnTo>
                  <a:lnTo>
                    <a:pt x="94" y="173"/>
                  </a:lnTo>
                  <a:lnTo>
                    <a:pt x="93" y="172"/>
                  </a:lnTo>
                  <a:lnTo>
                    <a:pt x="94" y="170"/>
                  </a:lnTo>
                  <a:lnTo>
                    <a:pt x="95" y="169"/>
                  </a:lnTo>
                  <a:lnTo>
                    <a:pt x="97" y="168"/>
                  </a:lnTo>
                  <a:lnTo>
                    <a:pt x="98" y="167"/>
                  </a:lnTo>
                  <a:lnTo>
                    <a:pt x="100" y="168"/>
                  </a:lnTo>
                  <a:lnTo>
                    <a:pt x="102" y="169"/>
                  </a:lnTo>
                  <a:lnTo>
                    <a:pt x="226" y="314"/>
                  </a:lnTo>
                  <a:lnTo>
                    <a:pt x="161" y="170"/>
                  </a:lnTo>
                  <a:lnTo>
                    <a:pt x="160" y="168"/>
                  </a:lnTo>
                  <a:lnTo>
                    <a:pt x="161" y="166"/>
                  </a:lnTo>
                  <a:lnTo>
                    <a:pt x="162" y="165"/>
                  </a:lnTo>
                  <a:lnTo>
                    <a:pt x="163" y="164"/>
                  </a:lnTo>
                  <a:lnTo>
                    <a:pt x="165" y="163"/>
                  </a:lnTo>
                  <a:lnTo>
                    <a:pt x="167" y="164"/>
                  </a:lnTo>
                  <a:lnTo>
                    <a:pt x="168" y="164"/>
                  </a:lnTo>
                  <a:lnTo>
                    <a:pt x="169" y="166"/>
                  </a:lnTo>
                  <a:lnTo>
                    <a:pt x="232" y="304"/>
                  </a:lnTo>
                  <a:lnTo>
                    <a:pt x="219" y="211"/>
                  </a:lnTo>
                  <a:lnTo>
                    <a:pt x="220" y="209"/>
                  </a:lnTo>
                  <a:lnTo>
                    <a:pt x="220" y="207"/>
                  </a:lnTo>
                  <a:lnTo>
                    <a:pt x="222" y="206"/>
                  </a:lnTo>
                  <a:lnTo>
                    <a:pt x="223" y="206"/>
                  </a:lnTo>
                  <a:lnTo>
                    <a:pt x="225" y="206"/>
                  </a:lnTo>
                  <a:lnTo>
                    <a:pt x="227" y="206"/>
                  </a:lnTo>
                  <a:lnTo>
                    <a:pt x="228" y="208"/>
                  </a:lnTo>
                  <a:lnTo>
                    <a:pt x="229" y="210"/>
                  </a:lnTo>
                  <a:lnTo>
                    <a:pt x="238" y="275"/>
                  </a:lnTo>
                  <a:lnTo>
                    <a:pt x="238" y="207"/>
                  </a:lnTo>
                  <a:lnTo>
                    <a:pt x="238" y="205"/>
                  </a:lnTo>
                  <a:lnTo>
                    <a:pt x="240" y="204"/>
                  </a:lnTo>
                  <a:lnTo>
                    <a:pt x="241" y="203"/>
                  </a:lnTo>
                  <a:lnTo>
                    <a:pt x="243" y="202"/>
                  </a:lnTo>
                  <a:lnTo>
                    <a:pt x="245" y="203"/>
                  </a:lnTo>
                  <a:lnTo>
                    <a:pt x="246" y="204"/>
                  </a:lnTo>
                  <a:lnTo>
                    <a:pt x="247" y="205"/>
                  </a:lnTo>
                  <a:lnTo>
                    <a:pt x="248" y="207"/>
                  </a:lnTo>
                  <a:lnTo>
                    <a:pt x="247"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1952"/>
            <p:cNvSpPr>
              <a:spLocks noEditPoints="1"/>
            </p:cNvSpPr>
            <p:nvPr userDrawn="1"/>
          </p:nvSpPr>
          <p:spPr bwMode="auto">
            <a:xfrm>
              <a:off x="3709988" y="2746375"/>
              <a:ext cx="1168400" cy="687388"/>
            </a:xfrm>
            <a:custGeom>
              <a:avLst/>
              <a:gdLst>
                <a:gd name="T0" fmla="*/ 608 w 736"/>
                <a:gd name="T1" fmla="*/ 169 h 433"/>
                <a:gd name="T2" fmla="*/ 82 w 736"/>
                <a:gd name="T3" fmla="*/ 31 h 433"/>
                <a:gd name="T4" fmla="*/ 85 w 736"/>
                <a:gd name="T5" fmla="*/ 19 h 433"/>
                <a:gd name="T6" fmla="*/ 25 w 736"/>
                <a:gd name="T7" fmla="*/ 20 h 433"/>
                <a:gd name="T8" fmla="*/ 38 w 736"/>
                <a:gd name="T9" fmla="*/ 36 h 433"/>
                <a:gd name="T10" fmla="*/ 117 w 736"/>
                <a:gd name="T11" fmla="*/ 51 h 433"/>
                <a:gd name="T12" fmla="*/ 409 w 736"/>
                <a:gd name="T13" fmla="*/ 125 h 433"/>
                <a:gd name="T14" fmla="*/ 265 w 736"/>
                <a:gd name="T15" fmla="*/ 79 h 433"/>
                <a:gd name="T16" fmla="*/ 103 w 736"/>
                <a:gd name="T17" fmla="*/ 61 h 433"/>
                <a:gd name="T18" fmla="*/ 36 w 736"/>
                <a:gd name="T19" fmla="*/ 46 h 433"/>
                <a:gd name="T20" fmla="*/ 1 w 736"/>
                <a:gd name="T21" fmla="*/ 19 h 433"/>
                <a:gd name="T22" fmla="*/ 68 w 736"/>
                <a:gd name="T23" fmla="*/ 8 h 433"/>
                <a:gd name="T24" fmla="*/ 114 w 736"/>
                <a:gd name="T25" fmla="*/ 19 h 433"/>
                <a:gd name="T26" fmla="*/ 192 w 736"/>
                <a:gd name="T27" fmla="*/ 54 h 433"/>
                <a:gd name="T28" fmla="*/ 366 w 736"/>
                <a:gd name="T29" fmla="*/ 98 h 433"/>
                <a:gd name="T30" fmla="*/ 523 w 736"/>
                <a:gd name="T31" fmla="*/ 173 h 433"/>
                <a:gd name="T32" fmla="*/ 626 w 736"/>
                <a:gd name="T33" fmla="*/ 1 h 433"/>
                <a:gd name="T34" fmla="*/ 588 w 736"/>
                <a:gd name="T35" fmla="*/ 106 h 433"/>
                <a:gd name="T36" fmla="*/ 639 w 736"/>
                <a:gd name="T37" fmla="*/ 17 h 433"/>
                <a:gd name="T38" fmla="*/ 647 w 736"/>
                <a:gd name="T39" fmla="*/ 21 h 433"/>
                <a:gd name="T40" fmla="*/ 591 w 736"/>
                <a:gd name="T41" fmla="*/ 117 h 433"/>
                <a:gd name="T42" fmla="*/ 686 w 736"/>
                <a:gd name="T43" fmla="*/ 44 h 433"/>
                <a:gd name="T44" fmla="*/ 618 w 736"/>
                <a:gd name="T45" fmla="*/ 129 h 433"/>
                <a:gd name="T46" fmla="*/ 705 w 736"/>
                <a:gd name="T47" fmla="*/ 58 h 433"/>
                <a:gd name="T48" fmla="*/ 722 w 736"/>
                <a:gd name="T49" fmla="*/ 51 h 433"/>
                <a:gd name="T50" fmla="*/ 642 w 736"/>
                <a:gd name="T51" fmla="*/ 125 h 433"/>
                <a:gd name="T52" fmla="*/ 679 w 736"/>
                <a:gd name="T53" fmla="*/ 114 h 433"/>
                <a:gd name="T54" fmla="*/ 685 w 736"/>
                <a:gd name="T55" fmla="*/ 121 h 433"/>
                <a:gd name="T56" fmla="*/ 736 w 736"/>
                <a:gd name="T57" fmla="*/ 120 h 433"/>
                <a:gd name="T58" fmla="*/ 648 w 736"/>
                <a:gd name="T59" fmla="*/ 159 h 433"/>
                <a:gd name="T60" fmla="*/ 578 w 736"/>
                <a:gd name="T61" fmla="*/ 187 h 433"/>
                <a:gd name="T62" fmla="*/ 710 w 736"/>
                <a:gd name="T63" fmla="*/ 270 h 433"/>
                <a:gd name="T64" fmla="*/ 538 w 736"/>
                <a:gd name="T65" fmla="*/ 192 h 433"/>
                <a:gd name="T66" fmla="*/ 602 w 736"/>
                <a:gd name="T67" fmla="*/ 260 h 433"/>
                <a:gd name="T68" fmla="*/ 680 w 736"/>
                <a:gd name="T69" fmla="*/ 312 h 433"/>
                <a:gd name="T70" fmla="*/ 706 w 736"/>
                <a:gd name="T71" fmla="*/ 332 h 433"/>
                <a:gd name="T72" fmla="*/ 665 w 736"/>
                <a:gd name="T73" fmla="*/ 315 h 433"/>
                <a:gd name="T74" fmla="*/ 580 w 736"/>
                <a:gd name="T75" fmla="*/ 253 h 433"/>
                <a:gd name="T76" fmla="*/ 556 w 736"/>
                <a:gd name="T77" fmla="*/ 269 h 433"/>
                <a:gd name="T78" fmla="*/ 598 w 736"/>
                <a:gd name="T79" fmla="*/ 353 h 433"/>
                <a:gd name="T80" fmla="*/ 630 w 736"/>
                <a:gd name="T81" fmla="*/ 405 h 433"/>
                <a:gd name="T82" fmla="*/ 588 w 736"/>
                <a:gd name="T83" fmla="*/ 355 h 433"/>
                <a:gd name="T84" fmla="*/ 535 w 736"/>
                <a:gd name="T85" fmla="*/ 239 h 433"/>
                <a:gd name="T86" fmla="*/ 572 w 736"/>
                <a:gd name="T87" fmla="*/ 350 h 433"/>
                <a:gd name="T88" fmla="*/ 607 w 736"/>
                <a:gd name="T89" fmla="*/ 417 h 433"/>
                <a:gd name="T90" fmla="*/ 575 w 736"/>
                <a:gd name="T91" fmla="*/ 376 h 433"/>
                <a:gd name="T92" fmla="*/ 530 w 736"/>
                <a:gd name="T93" fmla="*/ 257 h 433"/>
                <a:gd name="T94" fmla="*/ 542 w 736"/>
                <a:gd name="T95" fmla="*/ 356 h 433"/>
                <a:gd name="T96" fmla="*/ 528 w 736"/>
                <a:gd name="T97" fmla="*/ 430 h 433"/>
                <a:gd name="T98" fmla="*/ 519 w 736"/>
                <a:gd name="T99" fmla="*/ 428 h 433"/>
                <a:gd name="T100" fmla="*/ 534 w 736"/>
                <a:gd name="T101" fmla="*/ 378 h 433"/>
                <a:gd name="T102" fmla="*/ 523 w 736"/>
                <a:gd name="T103" fmla="*/ 314 h 433"/>
                <a:gd name="T104" fmla="*/ 487 w 736"/>
                <a:gd name="T105" fmla="*/ 423 h 433"/>
                <a:gd name="T106" fmla="*/ 503 w 736"/>
                <a:gd name="T107" fmla="*/ 291 h 433"/>
                <a:gd name="T108" fmla="*/ 467 w 736"/>
                <a:gd name="T109" fmla="*/ 398 h 433"/>
                <a:gd name="T110" fmla="*/ 429 w 736"/>
                <a:gd name="T111" fmla="*/ 348 h 433"/>
                <a:gd name="T112" fmla="*/ 433 w 736"/>
                <a:gd name="T113" fmla="*/ 274 h 433"/>
                <a:gd name="T114" fmla="*/ 425 w 736"/>
                <a:gd name="T115" fmla="*/ 269 h 433"/>
                <a:gd name="T116" fmla="*/ 413 w 736"/>
                <a:gd name="T117" fmla="*/ 26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6" h="433">
                  <a:moveTo>
                    <a:pt x="550" y="179"/>
                  </a:moveTo>
                  <a:lnTo>
                    <a:pt x="560" y="179"/>
                  </a:lnTo>
                  <a:lnTo>
                    <a:pt x="570" y="178"/>
                  </a:lnTo>
                  <a:lnTo>
                    <a:pt x="579" y="177"/>
                  </a:lnTo>
                  <a:lnTo>
                    <a:pt x="589" y="175"/>
                  </a:lnTo>
                  <a:lnTo>
                    <a:pt x="598" y="173"/>
                  </a:lnTo>
                  <a:lnTo>
                    <a:pt x="608" y="169"/>
                  </a:lnTo>
                  <a:lnTo>
                    <a:pt x="617" y="165"/>
                  </a:lnTo>
                  <a:lnTo>
                    <a:pt x="626" y="161"/>
                  </a:lnTo>
                  <a:lnTo>
                    <a:pt x="635" y="156"/>
                  </a:lnTo>
                  <a:lnTo>
                    <a:pt x="642" y="151"/>
                  </a:lnTo>
                  <a:lnTo>
                    <a:pt x="550" y="179"/>
                  </a:lnTo>
                  <a:close/>
                  <a:moveTo>
                    <a:pt x="25" y="20"/>
                  </a:moveTo>
                  <a:lnTo>
                    <a:pt x="82" y="31"/>
                  </a:lnTo>
                  <a:lnTo>
                    <a:pt x="135" y="41"/>
                  </a:lnTo>
                  <a:lnTo>
                    <a:pt x="128" y="36"/>
                  </a:lnTo>
                  <a:lnTo>
                    <a:pt x="121" y="32"/>
                  </a:lnTo>
                  <a:lnTo>
                    <a:pt x="113" y="28"/>
                  </a:lnTo>
                  <a:lnTo>
                    <a:pt x="104" y="25"/>
                  </a:lnTo>
                  <a:lnTo>
                    <a:pt x="95" y="22"/>
                  </a:lnTo>
                  <a:lnTo>
                    <a:pt x="85" y="19"/>
                  </a:lnTo>
                  <a:lnTo>
                    <a:pt x="80" y="19"/>
                  </a:lnTo>
                  <a:lnTo>
                    <a:pt x="75" y="18"/>
                  </a:lnTo>
                  <a:lnTo>
                    <a:pt x="65" y="17"/>
                  </a:lnTo>
                  <a:lnTo>
                    <a:pt x="55" y="17"/>
                  </a:lnTo>
                  <a:lnTo>
                    <a:pt x="45" y="17"/>
                  </a:lnTo>
                  <a:lnTo>
                    <a:pt x="35" y="18"/>
                  </a:lnTo>
                  <a:lnTo>
                    <a:pt x="25" y="20"/>
                  </a:lnTo>
                  <a:close/>
                  <a:moveTo>
                    <a:pt x="131" y="50"/>
                  </a:moveTo>
                  <a:lnTo>
                    <a:pt x="105" y="45"/>
                  </a:lnTo>
                  <a:lnTo>
                    <a:pt x="80" y="40"/>
                  </a:lnTo>
                  <a:lnTo>
                    <a:pt x="54" y="35"/>
                  </a:lnTo>
                  <a:lnTo>
                    <a:pt x="26" y="30"/>
                  </a:lnTo>
                  <a:lnTo>
                    <a:pt x="31" y="33"/>
                  </a:lnTo>
                  <a:lnTo>
                    <a:pt x="38" y="36"/>
                  </a:lnTo>
                  <a:lnTo>
                    <a:pt x="50" y="41"/>
                  </a:lnTo>
                  <a:lnTo>
                    <a:pt x="63" y="45"/>
                  </a:lnTo>
                  <a:lnTo>
                    <a:pt x="76" y="48"/>
                  </a:lnTo>
                  <a:lnTo>
                    <a:pt x="90" y="51"/>
                  </a:lnTo>
                  <a:lnTo>
                    <a:pt x="104" y="51"/>
                  </a:lnTo>
                  <a:lnTo>
                    <a:pt x="111" y="52"/>
                  </a:lnTo>
                  <a:lnTo>
                    <a:pt x="117" y="51"/>
                  </a:lnTo>
                  <a:lnTo>
                    <a:pt x="131" y="50"/>
                  </a:lnTo>
                  <a:close/>
                  <a:moveTo>
                    <a:pt x="518" y="181"/>
                  </a:moveTo>
                  <a:lnTo>
                    <a:pt x="497" y="168"/>
                  </a:lnTo>
                  <a:lnTo>
                    <a:pt x="475" y="156"/>
                  </a:lnTo>
                  <a:lnTo>
                    <a:pt x="453" y="145"/>
                  </a:lnTo>
                  <a:lnTo>
                    <a:pt x="431" y="134"/>
                  </a:lnTo>
                  <a:lnTo>
                    <a:pt x="409" y="125"/>
                  </a:lnTo>
                  <a:lnTo>
                    <a:pt x="386" y="116"/>
                  </a:lnTo>
                  <a:lnTo>
                    <a:pt x="363" y="107"/>
                  </a:lnTo>
                  <a:lnTo>
                    <a:pt x="338" y="99"/>
                  </a:lnTo>
                  <a:lnTo>
                    <a:pt x="318" y="92"/>
                  </a:lnTo>
                  <a:lnTo>
                    <a:pt x="299" y="87"/>
                  </a:lnTo>
                  <a:lnTo>
                    <a:pt x="282" y="83"/>
                  </a:lnTo>
                  <a:lnTo>
                    <a:pt x="265" y="79"/>
                  </a:lnTo>
                  <a:lnTo>
                    <a:pt x="190" y="63"/>
                  </a:lnTo>
                  <a:lnTo>
                    <a:pt x="153" y="55"/>
                  </a:lnTo>
                  <a:lnTo>
                    <a:pt x="143" y="57"/>
                  </a:lnTo>
                  <a:lnTo>
                    <a:pt x="133" y="59"/>
                  </a:lnTo>
                  <a:lnTo>
                    <a:pt x="123" y="60"/>
                  </a:lnTo>
                  <a:lnTo>
                    <a:pt x="113" y="61"/>
                  </a:lnTo>
                  <a:lnTo>
                    <a:pt x="103" y="61"/>
                  </a:lnTo>
                  <a:lnTo>
                    <a:pt x="93" y="60"/>
                  </a:lnTo>
                  <a:lnTo>
                    <a:pt x="83" y="59"/>
                  </a:lnTo>
                  <a:lnTo>
                    <a:pt x="74" y="58"/>
                  </a:lnTo>
                  <a:lnTo>
                    <a:pt x="64" y="55"/>
                  </a:lnTo>
                  <a:lnTo>
                    <a:pt x="54" y="53"/>
                  </a:lnTo>
                  <a:lnTo>
                    <a:pt x="45" y="49"/>
                  </a:lnTo>
                  <a:lnTo>
                    <a:pt x="36" y="46"/>
                  </a:lnTo>
                  <a:lnTo>
                    <a:pt x="27" y="41"/>
                  </a:lnTo>
                  <a:lnTo>
                    <a:pt x="18" y="36"/>
                  </a:lnTo>
                  <a:lnTo>
                    <a:pt x="9" y="31"/>
                  </a:lnTo>
                  <a:lnTo>
                    <a:pt x="1" y="25"/>
                  </a:lnTo>
                  <a:lnTo>
                    <a:pt x="0" y="23"/>
                  </a:lnTo>
                  <a:lnTo>
                    <a:pt x="0" y="21"/>
                  </a:lnTo>
                  <a:lnTo>
                    <a:pt x="1" y="19"/>
                  </a:lnTo>
                  <a:lnTo>
                    <a:pt x="2" y="18"/>
                  </a:lnTo>
                  <a:lnTo>
                    <a:pt x="15" y="14"/>
                  </a:lnTo>
                  <a:lnTo>
                    <a:pt x="28" y="11"/>
                  </a:lnTo>
                  <a:lnTo>
                    <a:pt x="41" y="8"/>
                  </a:lnTo>
                  <a:lnTo>
                    <a:pt x="55" y="7"/>
                  </a:lnTo>
                  <a:lnTo>
                    <a:pt x="62" y="7"/>
                  </a:lnTo>
                  <a:lnTo>
                    <a:pt x="68" y="8"/>
                  </a:lnTo>
                  <a:lnTo>
                    <a:pt x="75" y="8"/>
                  </a:lnTo>
                  <a:lnTo>
                    <a:pt x="82" y="9"/>
                  </a:lnTo>
                  <a:lnTo>
                    <a:pt x="88" y="10"/>
                  </a:lnTo>
                  <a:lnTo>
                    <a:pt x="95" y="12"/>
                  </a:lnTo>
                  <a:lnTo>
                    <a:pt x="101" y="14"/>
                  </a:lnTo>
                  <a:lnTo>
                    <a:pt x="107" y="16"/>
                  </a:lnTo>
                  <a:lnTo>
                    <a:pt x="114" y="19"/>
                  </a:lnTo>
                  <a:lnTo>
                    <a:pt x="121" y="21"/>
                  </a:lnTo>
                  <a:lnTo>
                    <a:pt x="132" y="28"/>
                  </a:lnTo>
                  <a:lnTo>
                    <a:pt x="137" y="31"/>
                  </a:lnTo>
                  <a:lnTo>
                    <a:pt x="143" y="35"/>
                  </a:lnTo>
                  <a:lnTo>
                    <a:pt x="148" y="40"/>
                  </a:lnTo>
                  <a:lnTo>
                    <a:pt x="153" y="45"/>
                  </a:lnTo>
                  <a:lnTo>
                    <a:pt x="192" y="54"/>
                  </a:lnTo>
                  <a:lnTo>
                    <a:pt x="232" y="62"/>
                  </a:lnTo>
                  <a:lnTo>
                    <a:pt x="267" y="70"/>
                  </a:lnTo>
                  <a:lnTo>
                    <a:pt x="284" y="74"/>
                  </a:lnTo>
                  <a:lnTo>
                    <a:pt x="302" y="78"/>
                  </a:lnTo>
                  <a:lnTo>
                    <a:pt x="321" y="83"/>
                  </a:lnTo>
                  <a:lnTo>
                    <a:pt x="341" y="90"/>
                  </a:lnTo>
                  <a:lnTo>
                    <a:pt x="366" y="98"/>
                  </a:lnTo>
                  <a:lnTo>
                    <a:pt x="390" y="107"/>
                  </a:lnTo>
                  <a:lnTo>
                    <a:pt x="413" y="116"/>
                  </a:lnTo>
                  <a:lnTo>
                    <a:pt x="435" y="126"/>
                  </a:lnTo>
                  <a:lnTo>
                    <a:pt x="457" y="136"/>
                  </a:lnTo>
                  <a:lnTo>
                    <a:pt x="479" y="148"/>
                  </a:lnTo>
                  <a:lnTo>
                    <a:pt x="501" y="160"/>
                  </a:lnTo>
                  <a:lnTo>
                    <a:pt x="523" y="173"/>
                  </a:lnTo>
                  <a:lnTo>
                    <a:pt x="526" y="171"/>
                  </a:lnTo>
                  <a:lnTo>
                    <a:pt x="619" y="2"/>
                  </a:lnTo>
                  <a:lnTo>
                    <a:pt x="620" y="1"/>
                  </a:lnTo>
                  <a:lnTo>
                    <a:pt x="622" y="0"/>
                  </a:lnTo>
                  <a:lnTo>
                    <a:pt x="623" y="0"/>
                  </a:lnTo>
                  <a:lnTo>
                    <a:pt x="625" y="0"/>
                  </a:lnTo>
                  <a:lnTo>
                    <a:pt x="626" y="1"/>
                  </a:lnTo>
                  <a:lnTo>
                    <a:pt x="627" y="3"/>
                  </a:lnTo>
                  <a:lnTo>
                    <a:pt x="628" y="5"/>
                  </a:lnTo>
                  <a:lnTo>
                    <a:pt x="627" y="7"/>
                  </a:lnTo>
                  <a:lnTo>
                    <a:pt x="547" y="151"/>
                  </a:lnTo>
                  <a:lnTo>
                    <a:pt x="562" y="137"/>
                  </a:lnTo>
                  <a:lnTo>
                    <a:pt x="575" y="121"/>
                  </a:lnTo>
                  <a:lnTo>
                    <a:pt x="588" y="106"/>
                  </a:lnTo>
                  <a:lnTo>
                    <a:pt x="599" y="89"/>
                  </a:lnTo>
                  <a:lnTo>
                    <a:pt x="610" y="72"/>
                  </a:lnTo>
                  <a:lnTo>
                    <a:pt x="621" y="55"/>
                  </a:lnTo>
                  <a:lnTo>
                    <a:pt x="630" y="37"/>
                  </a:lnTo>
                  <a:lnTo>
                    <a:pt x="634" y="28"/>
                  </a:lnTo>
                  <a:lnTo>
                    <a:pt x="638" y="19"/>
                  </a:lnTo>
                  <a:lnTo>
                    <a:pt x="639" y="17"/>
                  </a:lnTo>
                  <a:lnTo>
                    <a:pt x="641" y="16"/>
                  </a:lnTo>
                  <a:lnTo>
                    <a:pt x="643" y="16"/>
                  </a:lnTo>
                  <a:lnTo>
                    <a:pt x="644" y="16"/>
                  </a:lnTo>
                  <a:lnTo>
                    <a:pt x="646" y="17"/>
                  </a:lnTo>
                  <a:lnTo>
                    <a:pt x="647" y="18"/>
                  </a:lnTo>
                  <a:lnTo>
                    <a:pt x="647" y="20"/>
                  </a:lnTo>
                  <a:lnTo>
                    <a:pt x="647" y="21"/>
                  </a:lnTo>
                  <a:lnTo>
                    <a:pt x="647" y="22"/>
                  </a:lnTo>
                  <a:lnTo>
                    <a:pt x="641" y="35"/>
                  </a:lnTo>
                  <a:lnTo>
                    <a:pt x="635" y="47"/>
                  </a:lnTo>
                  <a:lnTo>
                    <a:pt x="629" y="59"/>
                  </a:lnTo>
                  <a:lnTo>
                    <a:pt x="622" y="71"/>
                  </a:lnTo>
                  <a:lnTo>
                    <a:pt x="607" y="95"/>
                  </a:lnTo>
                  <a:lnTo>
                    <a:pt x="591" y="117"/>
                  </a:lnTo>
                  <a:lnTo>
                    <a:pt x="678" y="40"/>
                  </a:lnTo>
                  <a:lnTo>
                    <a:pt x="680" y="39"/>
                  </a:lnTo>
                  <a:lnTo>
                    <a:pt x="682" y="39"/>
                  </a:lnTo>
                  <a:lnTo>
                    <a:pt x="684" y="39"/>
                  </a:lnTo>
                  <a:lnTo>
                    <a:pt x="685" y="40"/>
                  </a:lnTo>
                  <a:lnTo>
                    <a:pt x="686" y="42"/>
                  </a:lnTo>
                  <a:lnTo>
                    <a:pt x="686" y="44"/>
                  </a:lnTo>
                  <a:lnTo>
                    <a:pt x="686" y="46"/>
                  </a:lnTo>
                  <a:lnTo>
                    <a:pt x="685" y="47"/>
                  </a:lnTo>
                  <a:lnTo>
                    <a:pt x="552" y="164"/>
                  </a:lnTo>
                  <a:lnTo>
                    <a:pt x="563" y="159"/>
                  </a:lnTo>
                  <a:lnTo>
                    <a:pt x="575" y="153"/>
                  </a:lnTo>
                  <a:lnTo>
                    <a:pt x="597" y="142"/>
                  </a:lnTo>
                  <a:lnTo>
                    <a:pt x="618" y="129"/>
                  </a:lnTo>
                  <a:lnTo>
                    <a:pt x="629" y="123"/>
                  </a:lnTo>
                  <a:lnTo>
                    <a:pt x="639" y="116"/>
                  </a:lnTo>
                  <a:lnTo>
                    <a:pt x="659" y="101"/>
                  </a:lnTo>
                  <a:lnTo>
                    <a:pt x="678" y="85"/>
                  </a:lnTo>
                  <a:lnTo>
                    <a:pt x="687" y="76"/>
                  </a:lnTo>
                  <a:lnTo>
                    <a:pt x="696" y="68"/>
                  </a:lnTo>
                  <a:lnTo>
                    <a:pt x="705" y="58"/>
                  </a:lnTo>
                  <a:lnTo>
                    <a:pt x="714" y="49"/>
                  </a:lnTo>
                  <a:lnTo>
                    <a:pt x="716" y="47"/>
                  </a:lnTo>
                  <a:lnTo>
                    <a:pt x="717" y="47"/>
                  </a:lnTo>
                  <a:lnTo>
                    <a:pt x="719" y="47"/>
                  </a:lnTo>
                  <a:lnTo>
                    <a:pt x="721" y="48"/>
                  </a:lnTo>
                  <a:lnTo>
                    <a:pt x="722" y="50"/>
                  </a:lnTo>
                  <a:lnTo>
                    <a:pt x="722" y="51"/>
                  </a:lnTo>
                  <a:lnTo>
                    <a:pt x="722" y="53"/>
                  </a:lnTo>
                  <a:lnTo>
                    <a:pt x="721" y="55"/>
                  </a:lnTo>
                  <a:lnTo>
                    <a:pt x="706" y="71"/>
                  </a:lnTo>
                  <a:lnTo>
                    <a:pt x="691" y="86"/>
                  </a:lnTo>
                  <a:lnTo>
                    <a:pt x="675" y="100"/>
                  </a:lnTo>
                  <a:lnTo>
                    <a:pt x="659" y="113"/>
                  </a:lnTo>
                  <a:lnTo>
                    <a:pt x="642" y="125"/>
                  </a:lnTo>
                  <a:lnTo>
                    <a:pt x="624" y="137"/>
                  </a:lnTo>
                  <a:lnTo>
                    <a:pt x="606" y="147"/>
                  </a:lnTo>
                  <a:lnTo>
                    <a:pt x="588" y="157"/>
                  </a:lnTo>
                  <a:lnTo>
                    <a:pt x="661" y="136"/>
                  </a:lnTo>
                  <a:lnTo>
                    <a:pt x="669" y="127"/>
                  </a:lnTo>
                  <a:lnTo>
                    <a:pt x="677" y="116"/>
                  </a:lnTo>
                  <a:lnTo>
                    <a:pt x="679" y="114"/>
                  </a:lnTo>
                  <a:lnTo>
                    <a:pt x="680" y="114"/>
                  </a:lnTo>
                  <a:lnTo>
                    <a:pt x="682" y="114"/>
                  </a:lnTo>
                  <a:lnTo>
                    <a:pt x="684" y="115"/>
                  </a:lnTo>
                  <a:lnTo>
                    <a:pt x="685" y="116"/>
                  </a:lnTo>
                  <a:lnTo>
                    <a:pt x="686" y="118"/>
                  </a:lnTo>
                  <a:lnTo>
                    <a:pt x="686" y="120"/>
                  </a:lnTo>
                  <a:lnTo>
                    <a:pt x="685" y="121"/>
                  </a:lnTo>
                  <a:lnTo>
                    <a:pt x="678" y="130"/>
                  </a:lnTo>
                  <a:lnTo>
                    <a:pt x="730" y="115"/>
                  </a:lnTo>
                  <a:lnTo>
                    <a:pt x="732" y="115"/>
                  </a:lnTo>
                  <a:lnTo>
                    <a:pt x="734" y="115"/>
                  </a:lnTo>
                  <a:lnTo>
                    <a:pt x="735" y="117"/>
                  </a:lnTo>
                  <a:lnTo>
                    <a:pt x="736" y="118"/>
                  </a:lnTo>
                  <a:lnTo>
                    <a:pt x="736" y="120"/>
                  </a:lnTo>
                  <a:lnTo>
                    <a:pt x="736" y="122"/>
                  </a:lnTo>
                  <a:lnTo>
                    <a:pt x="735" y="123"/>
                  </a:lnTo>
                  <a:lnTo>
                    <a:pt x="733" y="124"/>
                  </a:lnTo>
                  <a:lnTo>
                    <a:pt x="665" y="144"/>
                  </a:lnTo>
                  <a:lnTo>
                    <a:pt x="657" y="152"/>
                  </a:lnTo>
                  <a:lnTo>
                    <a:pt x="652" y="155"/>
                  </a:lnTo>
                  <a:lnTo>
                    <a:pt x="648" y="159"/>
                  </a:lnTo>
                  <a:lnTo>
                    <a:pt x="639" y="165"/>
                  </a:lnTo>
                  <a:lnTo>
                    <a:pt x="629" y="170"/>
                  </a:lnTo>
                  <a:lnTo>
                    <a:pt x="619" y="175"/>
                  </a:lnTo>
                  <a:lnTo>
                    <a:pt x="609" y="179"/>
                  </a:lnTo>
                  <a:lnTo>
                    <a:pt x="598" y="183"/>
                  </a:lnTo>
                  <a:lnTo>
                    <a:pt x="587" y="185"/>
                  </a:lnTo>
                  <a:lnTo>
                    <a:pt x="578" y="187"/>
                  </a:lnTo>
                  <a:lnTo>
                    <a:pt x="569" y="188"/>
                  </a:lnTo>
                  <a:lnTo>
                    <a:pt x="561" y="189"/>
                  </a:lnTo>
                  <a:lnTo>
                    <a:pt x="553" y="189"/>
                  </a:lnTo>
                  <a:lnTo>
                    <a:pt x="708" y="267"/>
                  </a:lnTo>
                  <a:lnTo>
                    <a:pt x="709" y="268"/>
                  </a:lnTo>
                  <a:lnTo>
                    <a:pt x="710" y="269"/>
                  </a:lnTo>
                  <a:lnTo>
                    <a:pt x="710" y="270"/>
                  </a:lnTo>
                  <a:lnTo>
                    <a:pt x="710" y="272"/>
                  </a:lnTo>
                  <a:lnTo>
                    <a:pt x="710" y="273"/>
                  </a:lnTo>
                  <a:lnTo>
                    <a:pt x="709" y="275"/>
                  </a:lnTo>
                  <a:lnTo>
                    <a:pt x="707" y="276"/>
                  </a:lnTo>
                  <a:lnTo>
                    <a:pt x="705" y="276"/>
                  </a:lnTo>
                  <a:lnTo>
                    <a:pt x="703" y="275"/>
                  </a:lnTo>
                  <a:lnTo>
                    <a:pt x="538" y="192"/>
                  </a:lnTo>
                  <a:lnTo>
                    <a:pt x="547" y="202"/>
                  </a:lnTo>
                  <a:lnTo>
                    <a:pt x="555" y="213"/>
                  </a:lnTo>
                  <a:lnTo>
                    <a:pt x="564" y="223"/>
                  </a:lnTo>
                  <a:lnTo>
                    <a:pt x="573" y="233"/>
                  </a:lnTo>
                  <a:lnTo>
                    <a:pt x="583" y="242"/>
                  </a:lnTo>
                  <a:lnTo>
                    <a:pt x="592" y="251"/>
                  </a:lnTo>
                  <a:lnTo>
                    <a:pt x="602" y="260"/>
                  </a:lnTo>
                  <a:lnTo>
                    <a:pt x="612" y="269"/>
                  </a:lnTo>
                  <a:lnTo>
                    <a:pt x="623" y="277"/>
                  </a:lnTo>
                  <a:lnTo>
                    <a:pt x="634" y="285"/>
                  </a:lnTo>
                  <a:lnTo>
                    <a:pt x="645" y="292"/>
                  </a:lnTo>
                  <a:lnTo>
                    <a:pt x="656" y="299"/>
                  </a:lnTo>
                  <a:lnTo>
                    <a:pt x="668" y="306"/>
                  </a:lnTo>
                  <a:lnTo>
                    <a:pt x="680" y="312"/>
                  </a:lnTo>
                  <a:lnTo>
                    <a:pt x="692" y="318"/>
                  </a:lnTo>
                  <a:lnTo>
                    <a:pt x="705" y="324"/>
                  </a:lnTo>
                  <a:lnTo>
                    <a:pt x="706" y="325"/>
                  </a:lnTo>
                  <a:lnTo>
                    <a:pt x="707" y="327"/>
                  </a:lnTo>
                  <a:lnTo>
                    <a:pt x="708" y="328"/>
                  </a:lnTo>
                  <a:lnTo>
                    <a:pt x="707" y="330"/>
                  </a:lnTo>
                  <a:lnTo>
                    <a:pt x="706" y="332"/>
                  </a:lnTo>
                  <a:lnTo>
                    <a:pt x="705" y="333"/>
                  </a:lnTo>
                  <a:lnTo>
                    <a:pt x="703" y="333"/>
                  </a:lnTo>
                  <a:lnTo>
                    <a:pt x="702" y="333"/>
                  </a:lnTo>
                  <a:lnTo>
                    <a:pt x="701" y="333"/>
                  </a:lnTo>
                  <a:lnTo>
                    <a:pt x="689" y="327"/>
                  </a:lnTo>
                  <a:lnTo>
                    <a:pt x="676" y="321"/>
                  </a:lnTo>
                  <a:lnTo>
                    <a:pt x="665" y="315"/>
                  </a:lnTo>
                  <a:lnTo>
                    <a:pt x="653" y="308"/>
                  </a:lnTo>
                  <a:lnTo>
                    <a:pt x="642" y="302"/>
                  </a:lnTo>
                  <a:lnTo>
                    <a:pt x="631" y="294"/>
                  </a:lnTo>
                  <a:lnTo>
                    <a:pt x="609" y="279"/>
                  </a:lnTo>
                  <a:lnTo>
                    <a:pt x="599" y="270"/>
                  </a:lnTo>
                  <a:lnTo>
                    <a:pt x="589" y="262"/>
                  </a:lnTo>
                  <a:lnTo>
                    <a:pt x="580" y="253"/>
                  </a:lnTo>
                  <a:lnTo>
                    <a:pt x="570" y="243"/>
                  </a:lnTo>
                  <a:lnTo>
                    <a:pt x="561" y="234"/>
                  </a:lnTo>
                  <a:lnTo>
                    <a:pt x="552" y="224"/>
                  </a:lnTo>
                  <a:lnTo>
                    <a:pt x="535" y="203"/>
                  </a:lnTo>
                  <a:lnTo>
                    <a:pt x="543" y="230"/>
                  </a:lnTo>
                  <a:lnTo>
                    <a:pt x="551" y="256"/>
                  </a:lnTo>
                  <a:lnTo>
                    <a:pt x="556" y="269"/>
                  </a:lnTo>
                  <a:lnTo>
                    <a:pt x="561" y="281"/>
                  </a:lnTo>
                  <a:lnTo>
                    <a:pt x="566" y="293"/>
                  </a:lnTo>
                  <a:lnTo>
                    <a:pt x="572" y="306"/>
                  </a:lnTo>
                  <a:lnTo>
                    <a:pt x="578" y="318"/>
                  </a:lnTo>
                  <a:lnTo>
                    <a:pt x="584" y="330"/>
                  </a:lnTo>
                  <a:lnTo>
                    <a:pt x="591" y="341"/>
                  </a:lnTo>
                  <a:lnTo>
                    <a:pt x="598" y="353"/>
                  </a:lnTo>
                  <a:lnTo>
                    <a:pt x="606" y="364"/>
                  </a:lnTo>
                  <a:lnTo>
                    <a:pt x="614" y="376"/>
                  </a:lnTo>
                  <a:lnTo>
                    <a:pt x="631" y="398"/>
                  </a:lnTo>
                  <a:lnTo>
                    <a:pt x="632" y="400"/>
                  </a:lnTo>
                  <a:lnTo>
                    <a:pt x="632" y="402"/>
                  </a:lnTo>
                  <a:lnTo>
                    <a:pt x="632" y="403"/>
                  </a:lnTo>
                  <a:lnTo>
                    <a:pt x="630" y="405"/>
                  </a:lnTo>
                  <a:lnTo>
                    <a:pt x="629" y="405"/>
                  </a:lnTo>
                  <a:lnTo>
                    <a:pt x="627" y="406"/>
                  </a:lnTo>
                  <a:lnTo>
                    <a:pt x="625" y="405"/>
                  </a:lnTo>
                  <a:lnTo>
                    <a:pt x="624" y="404"/>
                  </a:lnTo>
                  <a:lnTo>
                    <a:pt x="609" y="385"/>
                  </a:lnTo>
                  <a:lnTo>
                    <a:pt x="595" y="365"/>
                  </a:lnTo>
                  <a:lnTo>
                    <a:pt x="588" y="355"/>
                  </a:lnTo>
                  <a:lnTo>
                    <a:pt x="582" y="345"/>
                  </a:lnTo>
                  <a:lnTo>
                    <a:pt x="571" y="325"/>
                  </a:lnTo>
                  <a:lnTo>
                    <a:pt x="561" y="304"/>
                  </a:lnTo>
                  <a:lnTo>
                    <a:pt x="551" y="283"/>
                  </a:lnTo>
                  <a:lnTo>
                    <a:pt x="543" y="261"/>
                  </a:lnTo>
                  <a:lnTo>
                    <a:pt x="539" y="250"/>
                  </a:lnTo>
                  <a:lnTo>
                    <a:pt x="535" y="239"/>
                  </a:lnTo>
                  <a:lnTo>
                    <a:pt x="541" y="262"/>
                  </a:lnTo>
                  <a:lnTo>
                    <a:pt x="543" y="273"/>
                  </a:lnTo>
                  <a:lnTo>
                    <a:pt x="547" y="284"/>
                  </a:lnTo>
                  <a:lnTo>
                    <a:pt x="554" y="307"/>
                  </a:lnTo>
                  <a:lnTo>
                    <a:pt x="558" y="317"/>
                  </a:lnTo>
                  <a:lnTo>
                    <a:pt x="562" y="328"/>
                  </a:lnTo>
                  <a:lnTo>
                    <a:pt x="572" y="350"/>
                  </a:lnTo>
                  <a:lnTo>
                    <a:pt x="583" y="370"/>
                  </a:lnTo>
                  <a:lnTo>
                    <a:pt x="595" y="391"/>
                  </a:lnTo>
                  <a:lnTo>
                    <a:pt x="608" y="410"/>
                  </a:lnTo>
                  <a:lnTo>
                    <a:pt x="609" y="412"/>
                  </a:lnTo>
                  <a:lnTo>
                    <a:pt x="609" y="414"/>
                  </a:lnTo>
                  <a:lnTo>
                    <a:pt x="608" y="416"/>
                  </a:lnTo>
                  <a:lnTo>
                    <a:pt x="607" y="417"/>
                  </a:lnTo>
                  <a:lnTo>
                    <a:pt x="605" y="418"/>
                  </a:lnTo>
                  <a:lnTo>
                    <a:pt x="603" y="418"/>
                  </a:lnTo>
                  <a:lnTo>
                    <a:pt x="602" y="417"/>
                  </a:lnTo>
                  <a:lnTo>
                    <a:pt x="600" y="416"/>
                  </a:lnTo>
                  <a:lnTo>
                    <a:pt x="587" y="396"/>
                  </a:lnTo>
                  <a:lnTo>
                    <a:pt x="581" y="386"/>
                  </a:lnTo>
                  <a:lnTo>
                    <a:pt x="575" y="376"/>
                  </a:lnTo>
                  <a:lnTo>
                    <a:pt x="564" y="355"/>
                  </a:lnTo>
                  <a:lnTo>
                    <a:pt x="555" y="334"/>
                  </a:lnTo>
                  <a:lnTo>
                    <a:pt x="546" y="313"/>
                  </a:lnTo>
                  <a:lnTo>
                    <a:pt x="539" y="291"/>
                  </a:lnTo>
                  <a:lnTo>
                    <a:pt x="535" y="279"/>
                  </a:lnTo>
                  <a:lnTo>
                    <a:pt x="532" y="268"/>
                  </a:lnTo>
                  <a:lnTo>
                    <a:pt x="530" y="257"/>
                  </a:lnTo>
                  <a:lnTo>
                    <a:pt x="527" y="245"/>
                  </a:lnTo>
                  <a:lnTo>
                    <a:pt x="528" y="270"/>
                  </a:lnTo>
                  <a:lnTo>
                    <a:pt x="530" y="295"/>
                  </a:lnTo>
                  <a:lnTo>
                    <a:pt x="534" y="320"/>
                  </a:lnTo>
                  <a:lnTo>
                    <a:pt x="536" y="333"/>
                  </a:lnTo>
                  <a:lnTo>
                    <a:pt x="539" y="345"/>
                  </a:lnTo>
                  <a:lnTo>
                    <a:pt x="542" y="356"/>
                  </a:lnTo>
                  <a:lnTo>
                    <a:pt x="543" y="367"/>
                  </a:lnTo>
                  <a:lnTo>
                    <a:pt x="543" y="378"/>
                  </a:lnTo>
                  <a:lnTo>
                    <a:pt x="542" y="389"/>
                  </a:lnTo>
                  <a:lnTo>
                    <a:pt x="540" y="399"/>
                  </a:lnTo>
                  <a:lnTo>
                    <a:pt x="537" y="410"/>
                  </a:lnTo>
                  <a:lnTo>
                    <a:pt x="533" y="420"/>
                  </a:lnTo>
                  <a:lnTo>
                    <a:pt x="528" y="430"/>
                  </a:lnTo>
                  <a:lnTo>
                    <a:pt x="527" y="432"/>
                  </a:lnTo>
                  <a:lnTo>
                    <a:pt x="525" y="433"/>
                  </a:lnTo>
                  <a:lnTo>
                    <a:pt x="524" y="433"/>
                  </a:lnTo>
                  <a:lnTo>
                    <a:pt x="522" y="432"/>
                  </a:lnTo>
                  <a:lnTo>
                    <a:pt x="521" y="431"/>
                  </a:lnTo>
                  <a:lnTo>
                    <a:pt x="520" y="430"/>
                  </a:lnTo>
                  <a:lnTo>
                    <a:pt x="519" y="428"/>
                  </a:lnTo>
                  <a:lnTo>
                    <a:pt x="520" y="426"/>
                  </a:lnTo>
                  <a:lnTo>
                    <a:pt x="524" y="416"/>
                  </a:lnTo>
                  <a:lnTo>
                    <a:pt x="528" y="407"/>
                  </a:lnTo>
                  <a:lnTo>
                    <a:pt x="531" y="397"/>
                  </a:lnTo>
                  <a:lnTo>
                    <a:pt x="532" y="392"/>
                  </a:lnTo>
                  <a:lnTo>
                    <a:pt x="533" y="388"/>
                  </a:lnTo>
                  <a:lnTo>
                    <a:pt x="534" y="378"/>
                  </a:lnTo>
                  <a:lnTo>
                    <a:pt x="533" y="368"/>
                  </a:lnTo>
                  <a:lnTo>
                    <a:pt x="533" y="363"/>
                  </a:lnTo>
                  <a:lnTo>
                    <a:pt x="532" y="358"/>
                  </a:lnTo>
                  <a:lnTo>
                    <a:pt x="530" y="348"/>
                  </a:lnTo>
                  <a:lnTo>
                    <a:pt x="527" y="336"/>
                  </a:lnTo>
                  <a:lnTo>
                    <a:pt x="525" y="325"/>
                  </a:lnTo>
                  <a:lnTo>
                    <a:pt x="523" y="314"/>
                  </a:lnTo>
                  <a:lnTo>
                    <a:pt x="521" y="303"/>
                  </a:lnTo>
                  <a:lnTo>
                    <a:pt x="519" y="281"/>
                  </a:lnTo>
                  <a:lnTo>
                    <a:pt x="518" y="259"/>
                  </a:lnTo>
                  <a:lnTo>
                    <a:pt x="491" y="419"/>
                  </a:lnTo>
                  <a:lnTo>
                    <a:pt x="490" y="421"/>
                  </a:lnTo>
                  <a:lnTo>
                    <a:pt x="489" y="422"/>
                  </a:lnTo>
                  <a:lnTo>
                    <a:pt x="487" y="423"/>
                  </a:lnTo>
                  <a:lnTo>
                    <a:pt x="486" y="423"/>
                  </a:lnTo>
                  <a:lnTo>
                    <a:pt x="484" y="422"/>
                  </a:lnTo>
                  <a:lnTo>
                    <a:pt x="483" y="421"/>
                  </a:lnTo>
                  <a:lnTo>
                    <a:pt x="482" y="420"/>
                  </a:lnTo>
                  <a:lnTo>
                    <a:pt x="482" y="419"/>
                  </a:lnTo>
                  <a:lnTo>
                    <a:pt x="482" y="417"/>
                  </a:lnTo>
                  <a:lnTo>
                    <a:pt x="503" y="291"/>
                  </a:lnTo>
                  <a:lnTo>
                    <a:pt x="476" y="397"/>
                  </a:lnTo>
                  <a:lnTo>
                    <a:pt x="475" y="399"/>
                  </a:lnTo>
                  <a:lnTo>
                    <a:pt x="473" y="400"/>
                  </a:lnTo>
                  <a:lnTo>
                    <a:pt x="472" y="401"/>
                  </a:lnTo>
                  <a:lnTo>
                    <a:pt x="470" y="400"/>
                  </a:lnTo>
                  <a:lnTo>
                    <a:pt x="468" y="400"/>
                  </a:lnTo>
                  <a:lnTo>
                    <a:pt x="467" y="398"/>
                  </a:lnTo>
                  <a:lnTo>
                    <a:pt x="466" y="397"/>
                  </a:lnTo>
                  <a:lnTo>
                    <a:pt x="466" y="395"/>
                  </a:lnTo>
                  <a:lnTo>
                    <a:pt x="514" y="210"/>
                  </a:lnTo>
                  <a:lnTo>
                    <a:pt x="433" y="346"/>
                  </a:lnTo>
                  <a:lnTo>
                    <a:pt x="432" y="347"/>
                  </a:lnTo>
                  <a:lnTo>
                    <a:pt x="430" y="348"/>
                  </a:lnTo>
                  <a:lnTo>
                    <a:pt x="429" y="348"/>
                  </a:lnTo>
                  <a:lnTo>
                    <a:pt x="427" y="348"/>
                  </a:lnTo>
                  <a:lnTo>
                    <a:pt x="426" y="346"/>
                  </a:lnTo>
                  <a:lnTo>
                    <a:pt x="425" y="345"/>
                  </a:lnTo>
                  <a:lnTo>
                    <a:pt x="425" y="343"/>
                  </a:lnTo>
                  <a:lnTo>
                    <a:pt x="425" y="341"/>
                  </a:lnTo>
                  <a:lnTo>
                    <a:pt x="502" y="211"/>
                  </a:lnTo>
                  <a:lnTo>
                    <a:pt x="433" y="274"/>
                  </a:lnTo>
                  <a:lnTo>
                    <a:pt x="431" y="276"/>
                  </a:lnTo>
                  <a:lnTo>
                    <a:pt x="430" y="276"/>
                  </a:lnTo>
                  <a:lnTo>
                    <a:pt x="428" y="275"/>
                  </a:lnTo>
                  <a:lnTo>
                    <a:pt x="426" y="274"/>
                  </a:lnTo>
                  <a:lnTo>
                    <a:pt x="426" y="273"/>
                  </a:lnTo>
                  <a:lnTo>
                    <a:pt x="425" y="271"/>
                  </a:lnTo>
                  <a:lnTo>
                    <a:pt x="425" y="269"/>
                  </a:lnTo>
                  <a:lnTo>
                    <a:pt x="427" y="267"/>
                  </a:lnTo>
                  <a:lnTo>
                    <a:pt x="476" y="222"/>
                  </a:lnTo>
                  <a:lnTo>
                    <a:pt x="419" y="261"/>
                  </a:lnTo>
                  <a:lnTo>
                    <a:pt x="418" y="262"/>
                  </a:lnTo>
                  <a:lnTo>
                    <a:pt x="416" y="262"/>
                  </a:lnTo>
                  <a:lnTo>
                    <a:pt x="414" y="261"/>
                  </a:lnTo>
                  <a:lnTo>
                    <a:pt x="413" y="260"/>
                  </a:lnTo>
                  <a:lnTo>
                    <a:pt x="412" y="258"/>
                  </a:lnTo>
                  <a:lnTo>
                    <a:pt x="412" y="257"/>
                  </a:lnTo>
                  <a:lnTo>
                    <a:pt x="413" y="255"/>
                  </a:lnTo>
                  <a:lnTo>
                    <a:pt x="414" y="253"/>
                  </a:lnTo>
                  <a:lnTo>
                    <a:pt x="518"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Freeform 1953"/>
            <p:cNvSpPr>
              <a:spLocks noEditPoints="1"/>
            </p:cNvSpPr>
            <p:nvPr userDrawn="1"/>
          </p:nvSpPr>
          <p:spPr bwMode="auto">
            <a:xfrm>
              <a:off x="4569547" y="4419178"/>
              <a:ext cx="1146175" cy="752475"/>
            </a:xfrm>
            <a:custGeom>
              <a:avLst/>
              <a:gdLst>
                <a:gd name="T0" fmla="*/ 133 w 722"/>
                <a:gd name="T1" fmla="*/ 255 h 474"/>
                <a:gd name="T2" fmla="*/ 642 w 722"/>
                <a:gd name="T3" fmla="*/ 448 h 474"/>
                <a:gd name="T4" fmla="*/ 637 w 722"/>
                <a:gd name="T5" fmla="*/ 458 h 474"/>
                <a:gd name="T6" fmla="*/ 595 w 722"/>
                <a:gd name="T7" fmla="*/ 423 h 474"/>
                <a:gd name="T8" fmla="*/ 655 w 722"/>
                <a:gd name="T9" fmla="*/ 432 h 474"/>
                <a:gd name="T10" fmla="*/ 243 w 722"/>
                <a:gd name="T11" fmla="*/ 267 h 474"/>
                <a:gd name="T12" fmla="*/ 394 w 722"/>
                <a:gd name="T13" fmla="*/ 353 h 474"/>
                <a:gd name="T14" fmla="*/ 573 w 722"/>
                <a:gd name="T15" fmla="*/ 416 h 474"/>
                <a:gd name="T16" fmla="*/ 643 w 722"/>
                <a:gd name="T17" fmla="*/ 419 h 474"/>
                <a:gd name="T18" fmla="*/ 706 w 722"/>
                <a:gd name="T19" fmla="*/ 448 h 474"/>
                <a:gd name="T20" fmla="*/ 706 w 722"/>
                <a:gd name="T21" fmla="*/ 471 h 474"/>
                <a:gd name="T22" fmla="*/ 627 w 722"/>
                <a:gd name="T23" fmla="*/ 465 h 474"/>
                <a:gd name="T24" fmla="*/ 577 w 722"/>
                <a:gd name="T25" fmla="*/ 431 h 474"/>
                <a:gd name="T26" fmla="*/ 409 w 722"/>
                <a:gd name="T27" fmla="*/ 370 h 474"/>
                <a:gd name="T28" fmla="*/ 258 w 722"/>
                <a:gd name="T29" fmla="*/ 290 h 474"/>
                <a:gd name="T30" fmla="*/ 100 w 722"/>
                <a:gd name="T31" fmla="*/ 422 h 474"/>
                <a:gd name="T32" fmla="*/ 175 w 722"/>
                <a:gd name="T33" fmla="*/ 292 h 474"/>
                <a:gd name="T34" fmla="*/ 87 w 722"/>
                <a:gd name="T35" fmla="*/ 401 h 474"/>
                <a:gd name="T36" fmla="*/ 78 w 722"/>
                <a:gd name="T37" fmla="*/ 399 h 474"/>
                <a:gd name="T38" fmla="*/ 126 w 722"/>
                <a:gd name="T39" fmla="*/ 329 h 474"/>
                <a:gd name="T40" fmla="*/ 42 w 722"/>
                <a:gd name="T41" fmla="*/ 375 h 474"/>
                <a:gd name="T42" fmla="*/ 141 w 722"/>
                <a:gd name="T43" fmla="*/ 283 h 474"/>
                <a:gd name="T44" fmla="*/ 64 w 722"/>
                <a:gd name="T45" fmla="*/ 324 h 474"/>
                <a:gd name="T46" fmla="*/ 11 w 722"/>
                <a:gd name="T47" fmla="*/ 365 h 474"/>
                <a:gd name="T48" fmla="*/ 24 w 722"/>
                <a:gd name="T49" fmla="*/ 342 h 474"/>
                <a:gd name="T50" fmla="*/ 151 w 722"/>
                <a:gd name="T51" fmla="*/ 269 h 474"/>
                <a:gd name="T52" fmla="*/ 51 w 722"/>
                <a:gd name="T53" fmla="*/ 301 h 474"/>
                <a:gd name="T54" fmla="*/ 3 w 722"/>
                <a:gd name="T55" fmla="*/ 296 h 474"/>
                <a:gd name="T56" fmla="*/ 4 w 722"/>
                <a:gd name="T57" fmla="*/ 287 h 474"/>
                <a:gd name="T58" fmla="*/ 133 w 722"/>
                <a:gd name="T59" fmla="*/ 245 h 474"/>
                <a:gd name="T60" fmla="*/ 43 w 722"/>
                <a:gd name="T61" fmla="*/ 146 h 474"/>
                <a:gd name="T62" fmla="*/ 46 w 722"/>
                <a:gd name="T63" fmla="*/ 137 h 474"/>
                <a:gd name="T64" fmla="*/ 166 w 722"/>
                <a:gd name="T65" fmla="*/ 185 h 474"/>
                <a:gd name="T66" fmla="*/ 98 w 722"/>
                <a:gd name="T67" fmla="*/ 119 h 474"/>
                <a:gd name="T68" fmla="*/ 49 w 722"/>
                <a:gd name="T69" fmla="*/ 85 h 474"/>
                <a:gd name="T70" fmla="*/ 92 w 722"/>
                <a:gd name="T71" fmla="*/ 103 h 474"/>
                <a:gd name="T72" fmla="*/ 161 w 722"/>
                <a:gd name="T73" fmla="*/ 165 h 474"/>
                <a:gd name="T74" fmla="*/ 198 w 722"/>
                <a:gd name="T75" fmla="*/ 175 h 474"/>
                <a:gd name="T76" fmla="*/ 162 w 722"/>
                <a:gd name="T77" fmla="*/ 72 h 474"/>
                <a:gd name="T78" fmla="*/ 134 w 722"/>
                <a:gd name="T79" fmla="*/ 19 h 474"/>
                <a:gd name="T80" fmla="*/ 166 w 722"/>
                <a:gd name="T81" fmla="*/ 60 h 474"/>
                <a:gd name="T82" fmla="*/ 207 w 722"/>
                <a:gd name="T83" fmla="*/ 170 h 474"/>
                <a:gd name="T84" fmla="*/ 195 w 722"/>
                <a:gd name="T85" fmla="*/ 100 h 474"/>
                <a:gd name="T86" fmla="*/ 157 w 722"/>
                <a:gd name="T87" fmla="*/ 12 h 474"/>
                <a:gd name="T88" fmla="*/ 166 w 722"/>
                <a:gd name="T89" fmla="*/ 9 h 474"/>
                <a:gd name="T90" fmla="*/ 209 w 722"/>
                <a:gd name="T91" fmla="*/ 117 h 474"/>
                <a:gd name="T92" fmla="*/ 223 w 722"/>
                <a:gd name="T93" fmla="*/ 149 h 474"/>
                <a:gd name="T94" fmla="*/ 219 w 722"/>
                <a:gd name="T95" fmla="*/ 53 h 474"/>
                <a:gd name="T96" fmla="*/ 242 w 722"/>
                <a:gd name="T97" fmla="*/ 0 h 474"/>
                <a:gd name="T98" fmla="*/ 242 w 722"/>
                <a:gd name="T99" fmla="*/ 17 h 474"/>
                <a:gd name="T100" fmla="*/ 228 w 722"/>
                <a:gd name="T101" fmla="*/ 74 h 474"/>
                <a:gd name="T102" fmla="*/ 232 w 722"/>
                <a:gd name="T103" fmla="*/ 164 h 474"/>
                <a:gd name="T104" fmla="*/ 283 w 722"/>
                <a:gd name="T105" fmla="*/ 15 h 474"/>
                <a:gd name="T106" fmla="*/ 291 w 722"/>
                <a:gd name="T107" fmla="*/ 38 h 474"/>
                <a:gd name="T108" fmla="*/ 231 w 722"/>
                <a:gd name="T109" fmla="*/ 224 h 474"/>
                <a:gd name="T110" fmla="*/ 333 w 722"/>
                <a:gd name="T111" fmla="*/ 98 h 474"/>
                <a:gd name="T112" fmla="*/ 322 w 722"/>
                <a:gd name="T113" fmla="*/ 168 h 474"/>
                <a:gd name="T114" fmla="*/ 270 w 722"/>
                <a:gd name="T115" fmla="*/ 216 h 474"/>
                <a:gd name="T116" fmla="*/ 337 w 722"/>
                <a:gd name="T117" fmla="*/ 18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2" h="474">
                  <a:moveTo>
                    <a:pt x="191" y="251"/>
                  </a:moveTo>
                  <a:lnTo>
                    <a:pt x="181" y="250"/>
                  </a:lnTo>
                  <a:lnTo>
                    <a:pt x="172" y="250"/>
                  </a:lnTo>
                  <a:lnTo>
                    <a:pt x="162" y="250"/>
                  </a:lnTo>
                  <a:lnTo>
                    <a:pt x="152" y="251"/>
                  </a:lnTo>
                  <a:lnTo>
                    <a:pt x="143" y="252"/>
                  </a:lnTo>
                  <a:lnTo>
                    <a:pt x="133" y="255"/>
                  </a:lnTo>
                  <a:lnTo>
                    <a:pt x="123" y="258"/>
                  </a:lnTo>
                  <a:lnTo>
                    <a:pt x="114" y="261"/>
                  </a:lnTo>
                  <a:lnTo>
                    <a:pt x="105" y="265"/>
                  </a:lnTo>
                  <a:lnTo>
                    <a:pt x="97" y="269"/>
                  </a:lnTo>
                  <a:lnTo>
                    <a:pt x="191" y="251"/>
                  </a:lnTo>
                  <a:close/>
                  <a:moveTo>
                    <a:pt x="697" y="464"/>
                  </a:moveTo>
                  <a:lnTo>
                    <a:pt x="642" y="448"/>
                  </a:lnTo>
                  <a:lnTo>
                    <a:pt x="590" y="432"/>
                  </a:lnTo>
                  <a:lnTo>
                    <a:pt x="596" y="437"/>
                  </a:lnTo>
                  <a:lnTo>
                    <a:pt x="603" y="442"/>
                  </a:lnTo>
                  <a:lnTo>
                    <a:pt x="610" y="447"/>
                  </a:lnTo>
                  <a:lnTo>
                    <a:pt x="619" y="451"/>
                  </a:lnTo>
                  <a:lnTo>
                    <a:pt x="628" y="455"/>
                  </a:lnTo>
                  <a:lnTo>
                    <a:pt x="637" y="458"/>
                  </a:lnTo>
                  <a:lnTo>
                    <a:pt x="647" y="461"/>
                  </a:lnTo>
                  <a:lnTo>
                    <a:pt x="657" y="463"/>
                  </a:lnTo>
                  <a:lnTo>
                    <a:pt x="667" y="464"/>
                  </a:lnTo>
                  <a:lnTo>
                    <a:pt x="677" y="465"/>
                  </a:lnTo>
                  <a:lnTo>
                    <a:pt x="687" y="465"/>
                  </a:lnTo>
                  <a:lnTo>
                    <a:pt x="697" y="464"/>
                  </a:lnTo>
                  <a:close/>
                  <a:moveTo>
                    <a:pt x="595" y="423"/>
                  </a:moveTo>
                  <a:lnTo>
                    <a:pt x="620" y="431"/>
                  </a:lnTo>
                  <a:lnTo>
                    <a:pt x="644" y="438"/>
                  </a:lnTo>
                  <a:lnTo>
                    <a:pt x="697" y="454"/>
                  </a:lnTo>
                  <a:lnTo>
                    <a:pt x="686" y="447"/>
                  </a:lnTo>
                  <a:lnTo>
                    <a:pt x="674" y="440"/>
                  </a:lnTo>
                  <a:lnTo>
                    <a:pt x="662" y="435"/>
                  </a:lnTo>
                  <a:lnTo>
                    <a:pt x="655" y="432"/>
                  </a:lnTo>
                  <a:lnTo>
                    <a:pt x="649" y="430"/>
                  </a:lnTo>
                  <a:lnTo>
                    <a:pt x="635" y="427"/>
                  </a:lnTo>
                  <a:lnTo>
                    <a:pt x="622" y="424"/>
                  </a:lnTo>
                  <a:lnTo>
                    <a:pt x="608" y="423"/>
                  </a:lnTo>
                  <a:lnTo>
                    <a:pt x="595" y="423"/>
                  </a:lnTo>
                  <a:close/>
                  <a:moveTo>
                    <a:pt x="223" y="252"/>
                  </a:moveTo>
                  <a:lnTo>
                    <a:pt x="243" y="267"/>
                  </a:lnTo>
                  <a:lnTo>
                    <a:pt x="264" y="282"/>
                  </a:lnTo>
                  <a:lnTo>
                    <a:pt x="284" y="295"/>
                  </a:lnTo>
                  <a:lnTo>
                    <a:pt x="305" y="308"/>
                  </a:lnTo>
                  <a:lnTo>
                    <a:pt x="326" y="320"/>
                  </a:lnTo>
                  <a:lnTo>
                    <a:pt x="348" y="331"/>
                  </a:lnTo>
                  <a:lnTo>
                    <a:pt x="370" y="342"/>
                  </a:lnTo>
                  <a:lnTo>
                    <a:pt x="394" y="353"/>
                  </a:lnTo>
                  <a:lnTo>
                    <a:pt x="413" y="361"/>
                  </a:lnTo>
                  <a:lnTo>
                    <a:pt x="431" y="369"/>
                  </a:lnTo>
                  <a:lnTo>
                    <a:pt x="448" y="375"/>
                  </a:lnTo>
                  <a:lnTo>
                    <a:pt x="465" y="381"/>
                  </a:lnTo>
                  <a:lnTo>
                    <a:pt x="499" y="392"/>
                  </a:lnTo>
                  <a:lnTo>
                    <a:pt x="537" y="404"/>
                  </a:lnTo>
                  <a:lnTo>
                    <a:pt x="573" y="416"/>
                  </a:lnTo>
                  <a:lnTo>
                    <a:pt x="583" y="415"/>
                  </a:lnTo>
                  <a:lnTo>
                    <a:pt x="594" y="414"/>
                  </a:lnTo>
                  <a:lnTo>
                    <a:pt x="604" y="414"/>
                  </a:lnTo>
                  <a:lnTo>
                    <a:pt x="614" y="414"/>
                  </a:lnTo>
                  <a:lnTo>
                    <a:pt x="623" y="415"/>
                  </a:lnTo>
                  <a:lnTo>
                    <a:pt x="633" y="417"/>
                  </a:lnTo>
                  <a:lnTo>
                    <a:pt x="643" y="419"/>
                  </a:lnTo>
                  <a:lnTo>
                    <a:pt x="653" y="422"/>
                  </a:lnTo>
                  <a:lnTo>
                    <a:pt x="662" y="425"/>
                  </a:lnTo>
                  <a:lnTo>
                    <a:pt x="671" y="428"/>
                  </a:lnTo>
                  <a:lnTo>
                    <a:pt x="680" y="433"/>
                  </a:lnTo>
                  <a:lnTo>
                    <a:pt x="689" y="437"/>
                  </a:lnTo>
                  <a:lnTo>
                    <a:pt x="697" y="443"/>
                  </a:lnTo>
                  <a:lnTo>
                    <a:pt x="706" y="448"/>
                  </a:lnTo>
                  <a:lnTo>
                    <a:pt x="714" y="455"/>
                  </a:lnTo>
                  <a:lnTo>
                    <a:pt x="721" y="461"/>
                  </a:lnTo>
                  <a:lnTo>
                    <a:pt x="722" y="464"/>
                  </a:lnTo>
                  <a:lnTo>
                    <a:pt x="721" y="466"/>
                  </a:lnTo>
                  <a:lnTo>
                    <a:pt x="721" y="467"/>
                  </a:lnTo>
                  <a:lnTo>
                    <a:pt x="719" y="469"/>
                  </a:lnTo>
                  <a:lnTo>
                    <a:pt x="706" y="471"/>
                  </a:lnTo>
                  <a:lnTo>
                    <a:pt x="693" y="473"/>
                  </a:lnTo>
                  <a:lnTo>
                    <a:pt x="679" y="474"/>
                  </a:lnTo>
                  <a:lnTo>
                    <a:pt x="673" y="474"/>
                  </a:lnTo>
                  <a:lnTo>
                    <a:pt x="666" y="473"/>
                  </a:lnTo>
                  <a:lnTo>
                    <a:pt x="653" y="472"/>
                  </a:lnTo>
                  <a:lnTo>
                    <a:pt x="639" y="469"/>
                  </a:lnTo>
                  <a:lnTo>
                    <a:pt x="627" y="465"/>
                  </a:lnTo>
                  <a:lnTo>
                    <a:pt x="621" y="462"/>
                  </a:lnTo>
                  <a:lnTo>
                    <a:pt x="615" y="460"/>
                  </a:lnTo>
                  <a:lnTo>
                    <a:pt x="602" y="453"/>
                  </a:lnTo>
                  <a:lnTo>
                    <a:pt x="591" y="445"/>
                  </a:lnTo>
                  <a:lnTo>
                    <a:pt x="586" y="441"/>
                  </a:lnTo>
                  <a:lnTo>
                    <a:pt x="582" y="436"/>
                  </a:lnTo>
                  <a:lnTo>
                    <a:pt x="577" y="431"/>
                  </a:lnTo>
                  <a:lnTo>
                    <a:pt x="572" y="426"/>
                  </a:lnTo>
                  <a:lnTo>
                    <a:pt x="534" y="413"/>
                  </a:lnTo>
                  <a:lnTo>
                    <a:pt x="495" y="401"/>
                  </a:lnTo>
                  <a:lnTo>
                    <a:pt x="461" y="389"/>
                  </a:lnTo>
                  <a:lnTo>
                    <a:pt x="444" y="384"/>
                  </a:lnTo>
                  <a:lnTo>
                    <a:pt x="427" y="377"/>
                  </a:lnTo>
                  <a:lnTo>
                    <a:pt x="409" y="370"/>
                  </a:lnTo>
                  <a:lnTo>
                    <a:pt x="390" y="362"/>
                  </a:lnTo>
                  <a:lnTo>
                    <a:pt x="366" y="351"/>
                  </a:lnTo>
                  <a:lnTo>
                    <a:pt x="343" y="340"/>
                  </a:lnTo>
                  <a:lnTo>
                    <a:pt x="321" y="328"/>
                  </a:lnTo>
                  <a:lnTo>
                    <a:pt x="300" y="316"/>
                  </a:lnTo>
                  <a:lnTo>
                    <a:pt x="279" y="303"/>
                  </a:lnTo>
                  <a:lnTo>
                    <a:pt x="258" y="290"/>
                  </a:lnTo>
                  <a:lnTo>
                    <a:pt x="238" y="275"/>
                  </a:lnTo>
                  <a:lnTo>
                    <a:pt x="217" y="259"/>
                  </a:lnTo>
                  <a:lnTo>
                    <a:pt x="215" y="261"/>
                  </a:lnTo>
                  <a:lnTo>
                    <a:pt x="105" y="420"/>
                  </a:lnTo>
                  <a:lnTo>
                    <a:pt x="103" y="421"/>
                  </a:lnTo>
                  <a:lnTo>
                    <a:pt x="101" y="422"/>
                  </a:lnTo>
                  <a:lnTo>
                    <a:pt x="100" y="422"/>
                  </a:lnTo>
                  <a:lnTo>
                    <a:pt x="98" y="421"/>
                  </a:lnTo>
                  <a:lnTo>
                    <a:pt x="97" y="420"/>
                  </a:lnTo>
                  <a:lnTo>
                    <a:pt x="96" y="418"/>
                  </a:lnTo>
                  <a:lnTo>
                    <a:pt x="96" y="416"/>
                  </a:lnTo>
                  <a:lnTo>
                    <a:pt x="97" y="414"/>
                  </a:lnTo>
                  <a:lnTo>
                    <a:pt x="191" y="279"/>
                  </a:lnTo>
                  <a:lnTo>
                    <a:pt x="175" y="292"/>
                  </a:lnTo>
                  <a:lnTo>
                    <a:pt x="161" y="306"/>
                  </a:lnTo>
                  <a:lnTo>
                    <a:pt x="146" y="320"/>
                  </a:lnTo>
                  <a:lnTo>
                    <a:pt x="133" y="335"/>
                  </a:lnTo>
                  <a:lnTo>
                    <a:pt x="120" y="351"/>
                  </a:lnTo>
                  <a:lnTo>
                    <a:pt x="108" y="367"/>
                  </a:lnTo>
                  <a:lnTo>
                    <a:pt x="97" y="384"/>
                  </a:lnTo>
                  <a:lnTo>
                    <a:pt x="87" y="401"/>
                  </a:lnTo>
                  <a:lnTo>
                    <a:pt x="85" y="403"/>
                  </a:lnTo>
                  <a:lnTo>
                    <a:pt x="84" y="404"/>
                  </a:lnTo>
                  <a:lnTo>
                    <a:pt x="82" y="404"/>
                  </a:lnTo>
                  <a:lnTo>
                    <a:pt x="80" y="403"/>
                  </a:lnTo>
                  <a:lnTo>
                    <a:pt x="79" y="402"/>
                  </a:lnTo>
                  <a:lnTo>
                    <a:pt x="78" y="401"/>
                  </a:lnTo>
                  <a:lnTo>
                    <a:pt x="78" y="399"/>
                  </a:lnTo>
                  <a:lnTo>
                    <a:pt x="79" y="397"/>
                  </a:lnTo>
                  <a:lnTo>
                    <a:pt x="85" y="385"/>
                  </a:lnTo>
                  <a:lnTo>
                    <a:pt x="93" y="373"/>
                  </a:lnTo>
                  <a:lnTo>
                    <a:pt x="100" y="362"/>
                  </a:lnTo>
                  <a:lnTo>
                    <a:pt x="108" y="350"/>
                  </a:lnTo>
                  <a:lnTo>
                    <a:pt x="117" y="340"/>
                  </a:lnTo>
                  <a:lnTo>
                    <a:pt x="126" y="329"/>
                  </a:lnTo>
                  <a:lnTo>
                    <a:pt x="135" y="319"/>
                  </a:lnTo>
                  <a:lnTo>
                    <a:pt x="144" y="309"/>
                  </a:lnTo>
                  <a:lnTo>
                    <a:pt x="48" y="376"/>
                  </a:lnTo>
                  <a:lnTo>
                    <a:pt x="46" y="377"/>
                  </a:lnTo>
                  <a:lnTo>
                    <a:pt x="45" y="377"/>
                  </a:lnTo>
                  <a:lnTo>
                    <a:pt x="43" y="376"/>
                  </a:lnTo>
                  <a:lnTo>
                    <a:pt x="42" y="375"/>
                  </a:lnTo>
                  <a:lnTo>
                    <a:pt x="41" y="373"/>
                  </a:lnTo>
                  <a:lnTo>
                    <a:pt x="41" y="371"/>
                  </a:lnTo>
                  <a:lnTo>
                    <a:pt x="41" y="370"/>
                  </a:lnTo>
                  <a:lnTo>
                    <a:pt x="43" y="368"/>
                  </a:lnTo>
                  <a:lnTo>
                    <a:pt x="188" y="266"/>
                  </a:lnTo>
                  <a:lnTo>
                    <a:pt x="164" y="274"/>
                  </a:lnTo>
                  <a:lnTo>
                    <a:pt x="141" y="283"/>
                  </a:lnTo>
                  <a:lnTo>
                    <a:pt x="130" y="288"/>
                  </a:lnTo>
                  <a:lnTo>
                    <a:pt x="118" y="293"/>
                  </a:lnTo>
                  <a:lnTo>
                    <a:pt x="107" y="299"/>
                  </a:lnTo>
                  <a:lnTo>
                    <a:pt x="96" y="305"/>
                  </a:lnTo>
                  <a:lnTo>
                    <a:pt x="86" y="311"/>
                  </a:lnTo>
                  <a:lnTo>
                    <a:pt x="75" y="317"/>
                  </a:lnTo>
                  <a:lnTo>
                    <a:pt x="64" y="324"/>
                  </a:lnTo>
                  <a:lnTo>
                    <a:pt x="54" y="331"/>
                  </a:lnTo>
                  <a:lnTo>
                    <a:pt x="44" y="339"/>
                  </a:lnTo>
                  <a:lnTo>
                    <a:pt x="34" y="347"/>
                  </a:lnTo>
                  <a:lnTo>
                    <a:pt x="24" y="355"/>
                  </a:lnTo>
                  <a:lnTo>
                    <a:pt x="15" y="363"/>
                  </a:lnTo>
                  <a:lnTo>
                    <a:pt x="13" y="365"/>
                  </a:lnTo>
                  <a:lnTo>
                    <a:pt x="11" y="365"/>
                  </a:lnTo>
                  <a:lnTo>
                    <a:pt x="9" y="364"/>
                  </a:lnTo>
                  <a:lnTo>
                    <a:pt x="8" y="363"/>
                  </a:lnTo>
                  <a:lnTo>
                    <a:pt x="7" y="362"/>
                  </a:lnTo>
                  <a:lnTo>
                    <a:pt x="7" y="360"/>
                  </a:lnTo>
                  <a:lnTo>
                    <a:pt x="7" y="358"/>
                  </a:lnTo>
                  <a:lnTo>
                    <a:pt x="8" y="357"/>
                  </a:lnTo>
                  <a:lnTo>
                    <a:pt x="24" y="342"/>
                  </a:lnTo>
                  <a:lnTo>
                    <a:pt x="41" y="329"/>
                  </a:lnTo>
                  <a:lnTo>
                    <a:pt x="58" y="317"/>
                  </a:lnTo>
                  <a:lnTo>
                    <a:pt x="76" y="305"/>
                  </a:lnTo>
                  <a:lnTo>
                    <a:pt x="95" y="295"/>
                  </a:lnTo>
                  <a:lnTo>
                    <a:pt x="113" y="285"/>
                  </a:lnTo>
                  <a:lnTo>
                    <a:pt x="132" y="276"/>
                  </a:lnTo>
                  <a:lnTo>
                    <a:pt x="151" y="269"/>
                  </a:lnTo>
                  <a:lnTo>
                    <a:pt x="76" y="283"/>
                  </a:lnTo>
                  <a:lnTo>
                    <a:pt x="67" y="291"/>
                  </a:lnTo>
                  <a:lnTo>
                    <a:pt x="57" y="300"/>
                  </a:lnTo>
                  <a:lnTo>
                    <a:pt x="56" y="302"/>
                  </a:lnTo>
                  <a:lnTo>
                    <a:pt x="54" y="302"/>
                  </a:lnTo>
                  <a:lnTo>
                    <a:pt x="52" y="302"/>
                  </a:lnTo>
                  <a:lnTo>
                    <a:pt x="51" y="301"/>
                  </a:lnTo>
                  <a:lnTo>
                    <a:pt x="50" y="299"/>
                  </a:lnTo>
                  <a:lnTo>
                    <a:pt x="49" y="298"/>
                  </a:lnTo>
                  <a:lnTo>
                    <a:pt x="49" y="296"/>
                  </a:lnTo>
                  <a:lnTo>
                    <a:pt x="50" y="294"/>
                  </a:lnTo>
                  <a:lnTo>
                    <a:pt x="58" y="286"/>
                  </a:lnTo>
                  <a:lnTo>
                    <a:pt x="5" y="296"/>
                  </a:lnTo>
                  <a:lnTo>
                    <a:pt x="3" y="296"/>
                  </a:lnTo>
                  <a:lnTo>
                    <a:pt x="2" y="295"/>
                  </a:lnTo>
                  <a:lnTo>
                    <a:pt x="1" y="294"/>
                  </a:lnTo>
                  <a:lnTo>
                    <a:pt x="0" y="292"/>
                  </a:lnTo>
                  <a:lnTo>
                    <a:pt x="0" y="290"/>
                  </a:lnTo>
                  <a:lnTo>
                    <a:pt x="0" y="289"/>
                  </a:lnTo>
                  <a:lnTo>
                    <a:pt x="2" y="287"/>
                  </a:lnTo>
                  <a:lnTo>
                    <a:pt x="4" y="287"/>
                  </a:lnTo>
                  <a:lnTo>
                    <a:pt x="73" y="274"/>
                  </a:lnTo>
                  <a:lnTo>
                    <a:pt x="82" y="267"/>
                  </a:lnTo>
                  <a:lnTo>
                    <a:pt x="92" y="261"/>
                  </a:lnTo>
                  <a:lnTo>
                    <a:pt x="102" y="256"/>
                  </a:lnTo>
                  <a:lnTo>
                    <a:pt x="112" y="251"/>
                  </a:lnTo>
                  <a:lnTo>
                    <a:pt x="122" y="248"/>
                  </a:lnTo>
                  <a:lnTo>
                    <a:pt x="133" y="245"/>
                  </a:lnTo>
                  <a:lnTo>
                    <a:pt x="144" y="242"/>
                  </a:lnTo>
                  <a:lnTo>
                    <a:pt x="155" y="241"/>
                  </a:lnTo>
                  <a:lnTo>
                    <a:pt x="165" y="240"/>
                  </a:lnTo>
                  <a:lnTo>
                    <a:pt x="173" y="240"/>
                  </a:lnTo>
                  <a:lnTo>
                    <a:pt x="181" y="240"/>
                  </a:lnTo>
                  <a:lnTo>
                    <a:pt x="189" y="241"/>
                  </a:lnTo>
                  <a:lnTo>
                    <a:pt x="43" y="146"/>
                  </a:lnTo>
                  <a:lnTo>
                    <a:pt x="41" y="145"/>
                  </a:lnTo>
                  <a:lnTo>
                    <a:pt x="40" y="143"/>
                  </a:lnTo>
                  <a:lnTo>
                    <a:pt x="41" y="141"/>
                  </a:lnTo>
                  <a:lnTo>
                    <a:pt x="41" y="140"/>
                  </a:lnTo>
                  <a:lnTo>
                    <a:pt x="42" y="138"/>
                  </a:lnTo>
                  <a:lnTo>
                    <a:pt x="44" y="137"/>
                  </a:lnTo>
                  <a:lnTo>
                    <a:pt x="46" y="137"/>
                  </a:lnTo>
                  <a:lnTo>
                    <a:pt x="48" y="138"/>
                  </a:lnTo>
                  <a:lnTo>
                    <a:pt x="204" y="240"/>
                  </a:lnTo>
                  <a:lnTo>
                    <a:pt x="197" y="228"/>
                  </a:lnTo>
                  <a:lnTo>
                    <a:pt x="190" y="217"/>
                  </a:lnTo>
                  <a:lnTo>
                    <a:pt x="182" y="206"/>
                  </a:lnTo>
                  <a:lnTo>
                    <a:pt x="174" y="195"/>
                  </a:lnTo>
                  <a:lnTo>
                    <a:pt x="166" y="185"/>
                  </a:lnTo>
                  <a:lnTo>
                    <a:pt x="157" y="175"/>
                  </a:lnTo>
                  <a:lnTo>
                    <a:pt x="148" y="165"/>
                  </a:lnTo>
                  <a:lnTo>
                    <a:pt x="139" y="154"/>
                  </a:lnTo>
                  <a:lnTo>
                    <a:pt x="129" y="145"/>
                  </a:lnTo>
                  <a:lnTo>
                    <a:pt x="119" y="136"/>
                  </a:lnTo>
                  <a:lnTo>
                    <a:pt x="109" y="128"/>
                  </a:lnTo>
                  <a:lnTo>
                    <a:pt x="98" y="119"/>
                  </a:lnTo>
                  <a:lnTo>
                    <a:pt x="87" y="111"/>
                  </a:lnTo>
                  <a:lnTo>
                    <a:pt x="76" y="104"/>
                  </a:lnTo>
                  <a:lnTo>
                    <a:pt x="64" y="97"/>
                  </a:lnTo>
                  <a:lnTo>
                    <a:pt x="52" y="90"/>
                  </a:lnTo>
                  <a:lnTo>
                    <a:pt x="50" y="88"/>
                  </a:lnTo>
                  <a:lnTo>
                    <a:pt x="49" y="87"/>
                  </a:lnTo>
                  <a:lnTo>
                    <a:pt x="49" y="85"/>
                  </a:lnTo>
                  <a:lnTo>
                    <a:pt x="50" y="83"/>
                  </a:lnTo>
                  <a:lnTo>
                    <a:pt x="51" y="82"/>
                  </a:lnTo>
                  <a:lnTo>
                    <a:pt x="52" y="81"/>
                  </a:lnTo>
                  <a:lnTo>
                    <a:pt x="54" y="81"/>
                  </a:lnTo>
                  <a:lnTo>
                    <a:pt x="56" y="81"/>
                  </a:lnTo>
                  <a:lnTo>
                    <a:pt x="80" y="95"/>
                  </a:lnTo>
                  <a:lnTo>
                    <a:pt x="92" y="103"/>
                  </a:lnTo>
                  <a:lnTo>
                    <a:pt x="102" y="111"/>
                  </a:lnTo>
                  <a:lnTo>
                    <a:pt x="113" y="119"/>
                  </a:lnTo>
                  <a:lnTo>
                    <a:pt x="123" y="127"/>
                  </a:lnTo>
                  <a:lnTo>
                    <a:pt x="133" y="136"/>
                  </a:lnTo>
                  <a:lnTo>
                    <a:pt x="143" y="145"/>
                  </a:lnTo>
                  <a:lnTo>
                    <a:pt x="152" y="154"/>
                  </a:lnTo>
                  <a:lnTo>
                    <a:pt x="161" y="165"/>
                  </a:lnTo>
                  <a:lnTo>
                    <a:pt x="178" y="185"/>
                  </a:lnTo>
                  <a:lnTo>
                    <a:pt x="194" y="206"/>
                  </a:lnTo>
                  <a:lnTo>
                    <a:pt x="208" y="228"/>
                  </a:lnTo>
                  <a:lnTo>
                    <a:pt x="206" y="215"/>
                  </a:lnTo>
                  <a:lnTo>
                    <a:pt x="204" y="201"/>
                  </a:lnTo>
                  <a:lnTo>
                    <a:pt x="201" y="188"/>
                  </a:lnTo>
                  <a:lnTo>
                    <a:pt x="198" y="175"/>
                  </a:lnTo>
                  <a:lnTo>
                    <a:pt x="195" y="160"/>
                  </a:lnTo>
                  <a:lnTo>
                    <a:pt x="191" y="147"/>
                  </a:lnTo>
                  <a:lnTo>
                    <a:pt x="187" y="135"/>
                  </a:lnTo>
                  <a:lnTo>
                    <a:pt x="183" y="122"/>
                  </a:lnTo>
                  <a:lnTo>
                    <a:pt x="173" y="97"/>
                  </a:lnTo>
                  <a:lnTo>
                    <a:pt x="168" y="84"/>
                  </a:lnTo>
                  <a:lnTo>
                    <a:pt x="162" y="72"/>
                  </a:lnTo>
                  <a:lnTo>
                    <a:pt x="155" y="60"/>
                  </a:lnTo>
                  <a:lnTo>
                    <a:pt x="149" y="48"/>
                  </a:lnTo>
                  <a:lnTo>
                    <a:pt x="141" y="36"/>
                  </a:lnTo>
                  <a:lnTo>
                    <a:pt x="134" y="24"/>
                  </a:lnTo>
                  <a:lnTo>
                    <a:pt x="133" y="22"/>
                  </a:lnTo>
                  <a:lnTo>
                    <a:pt x="133" y="20"/>
                  </a:lnTo>
                  <a:lnTo>
                    <a:pt x="134" y="19"/>
                  </a:lnTo>
                  <a:lnTo>
                    <a:pt x="135" y="17"/>
                  </a:lnTo>
                  <a:lnTo>
                    <a:pt x="137" y="17"/>
                  </a:lnTo>
                  <a:lnTo>
                    <a:pt x="138" y="16"/>
                  </a:lnTo>
                  <a:lnTo>
                    <a:pt x="140" y="17"/>
                  </a:lnTo>
                  <a:lnTo>
                    <a:pt x="142" y="19"/>
                  </a:lnTo>
                  <a:lnTo>
                    <a:pt x="155" y="39"/>
                  </a:lnTo>
                  <a:lnTo>
                    <a:pt x="166" y="60"/>
                  </a:lnTo>
                  <a:lnTo>
                    <a:pt x="172" y="70"/>
                  </a:lnTo>
                  <a:lnTo>
                    <a:pt x="177" y="81"/>
                  </a:lnTo>
                  <a:lnTo>
                    <a:pt x="186" y="103"/>
                  </a:lnTo>
                  <a:lnTo>
                    <a:pt x="190" y="113"/>
                  </a:lnTo>
                  <a:lnTo>
                    <a:pt x="194" y="124"/>
                  </a:lnTo>
                  <a:lnTo>
                    <a:pt x="201" y="147"/>
                  </a:lnTo>
                  <a:lnTo>
                    <a:pt x="207" y="170"/>
                  </a:lnTo>
                  <a:lnTo>
                    <a:pt x="212" y="193"/>
                  </a:lnTo>
                  <a:lnTo>
                    <a:pt x="209" y="170"/>
                  </a:lnTo>
                  <a:lnTo>
                    <a:pt x="208" y="157"/>
                  </a:lnTo>
                  <a:lnTo>
                    <a:pt x="206" y="146"/>
                  </a:lnTo>
                  <a:lnTo>
                    <a:pt x="203" y="134"/>
                  </a:lnTo>
                  <a:lnTo>
                    <a:pt x="201" y="123"/>
                  </a:lnTo>
                  <a:lnTo>
                    <a:pt x="195" y="100"/>
                  </a:lnTo>
                  <a:lnTo>
                    <a:pt x="187" y="78"/>
                  </a:lnTo>
                  <a:lnTo>
                    <a:pt x="179" y="56"/>
                  </a:lnTo>
                  <a:lnTo>
                    <a:pt x="174" y="45"/>
                  </a:lnTo>
                  <a:lnTo>
                    <a:pt x="169" y="35"/>
                  </a:lnTo>
                  <a:lnTo>
                    <a:pt x="164" y="24"/>
                  </a:lnTo>
                  <a:lnTo>
                    <a:pt x="158" y="14"/>
                  </a:lnTo>
                  <a:lnTo>
                    <a:pt x="157" y="12"/>
                  </a:lnTo>
                  <a:lnTo>
                    <a:pt x="158" y="10"/>
                  </a:lnTo>
                  <a:lnTo>
                    <a:pt x="159" y="9"/>
                  </a:lnTo>
                  <a:lnTo>
                    <a:pt x="160" y="8"/>
                  </a:lnTo>
                  <a:lnTo>
                    <a:pt x="162" y="7"/>
                  </a:lnTo>
                  <a:lnTo>
                    <a:pt x="163" y="7"/>
                  </a:lnTo>
                  <a:lnTo>
                    <a:pt x="165" y="8"/>
                  </a:lnTo>
                  <a:lnTo>
                    <a:pt x="166" y="9"/>
                  </a:lnTo>
                  <a:lnTo>
                    <a:pt x="177" y="30"/>
                  </a:lnTo>
                  <a:lnTo>
                    <a:pt x="182" y="41"/>
                  </a:lnTo>
                  <a:lnTo>
                    <a:pt x="187" y="51"/>
                  </a:lnTo>
                  <a:lnTo>
                    <a:pt x="191" y="62"/>
                  </a:lnTo>
                  <a:lnTo>
                    <a:pt x="196" y="73"/>
                  </a:lnTo>
                  <a:lnTo>
                    <a:pt x="203" y="95"/>
                  </a:lnTo>
                  <a:lnTo>
                    <a:pt x="209" y="117"/>
                  </a:lnTo>
                  <a:lnTo>
                    <a:pt x="212" y="129"/>
                  </a:lnTo>
                  <a:lnTo>
                    <a:pt x="214" y="140"/>
                  </a:lnTo>
                  <a:lnTo>
                    <a:pt x="218" y="164"/>
                  </a:lnTo>
                  <a:lnTo>
                    <a:pt x="220" y="176"/>
                  </a:lnTo>
                  <a:lnTo>
                    <a:pt x="221" y="187"/>
                  </a:lnTo>
                  <a:lnTo>
                    <a:pt x="223" y="161"/>
                  </a:lnTo>
                  <a:lnTo>
                    <a:pt x="223" y="149"/>
                  </a:lnTo>
                  <a:lnTo>
                    <a:pt x="223" y="136"/>
                  </a:lnTo>
                  <a:lnTo>
                    <a:pt x="223" y="124"/>
                  </a:lnTo>
                  <a:lnTo>
                    <a:pt x="222" y="111"/>
                  </a:lnTo>
                  <a:lnTo>
                    <a:pt x="219" y="86"/>
                  </a:lnTo>
                  <a:lnTo>
                    <a:pt x="218" y="75"/>
                  </a:lnTo>
                  <a:lnTo>
                    <a:pt x="218" y="63"/>
                  </a:lnTo>
                  <a:lnTo>
                    <a:pt x="219" y="53"/>
                  </a:lnTo>
                  <a:lnTo>
                    <a:pt x="221" y="42"/>
                  </a:lnTo>
                  <a:lnTo>
                    <a:pt x="224" y="32"/>
                  </a:lnTo>
                  <a:lnTo>
                    <a:pt x="228" y="22"/>
                  </a:lnTo>
                  <a:lnTo>
                    <a:pt x="233" y="12"/>
                  </a:lnTo>
                  <a:lnTo>
                    <a:pt x="239" y="2"/>
                  </a:lnTo>
                  <a:lnTo>
                    <a:pt x="241" y="1"/>
                  </a:lnTo>
                  <a:lnTo>
                    <a:pt x="242" y="0"/>
                  </a:lnTo>
                  <a:lnTo>
                    <a:pt x="244" y="0"/>
                  </a:lnTo>
                  <a:lnTo>
                    <a:pt x="246" y="1"/>
                  </a:lnTo>
                  <a:lnTo>
                    <a:pt x="247" y="2"/>
                  </a:lnTo>
                  <a:lnTo>
                    <a:pt x="248" y="4"/>
                  </a:lnTo>
                  <a:lnTo>
                    <a:pt x="248" y="6"/>
                  </a:lnTo>
                  <a:lnTo>
                    <a:pt x="247" y="7"/>
                  </a:lnTo>
                  <a:lnTo>
                    <a:pt x="242" y="17"/>
                  </a:lnTo>
                  <a:lnTo>
                    <a:pt x="239" y="21"/>
                  </a:lnTo>
                  <a:lnTo>
                    <a:pt x="237" y="26"/>
                  </a:lnTo>
                  <a:lnTo>
                    <a:pt x="233" y="35"/>
                  </a:lnTo>
                  <a:lnTo>
                    <a:pt x="230" y="44"/>
                  </a:lnTo>
                  <a:lnTo>
                    <a:pt x="229" y="54"/>
                  </a:lnTo>
                  <a:lnTo>
                    <a:pt x="228" y="64"/>
                  </a:lnTo>
                  <a:lnTo>
                    <a:pt x="228" y="74"/>
                  </a:lnTo>
                  <a:lnTo>
                    <a:pt x="229" y="84"/>
                  </a:lnTo>
                  <a:lnTo>
                    <a:pt x="230" y="96"/>
                  </a:lnTo>
                  <a:lnTo>
                    <a:pt x="232" y="107"/>
                  </a:lnTo>
                  <a:lnTo>
                    <a:pt x="232" y="118"/>
                  </a:lnTo>
                  <a:lnTo>
                    <a:pt x="233" y="130"/>
                  </a:lnTo>
                  <a:lnTo>
                    <a:pt x="233" y="152"/>
                  </a:lnTo>
                  <a:lnTo>
                    <a:pt x="232" y="164"/>
                  </a:lnTo>
                  <a:lnTo>
                    <a:pt x="232" y="175"/>
                  </a:lnTo>
                  <a:lnTo>
                    <a:pt x="275" y="18"/>
                  </a:lnTo>
                  <a:lnTo>
                    <a:pt x="276" y="16"/>
                  </a:lnTo>
                  <a:lnTo>
                    <a:pt x="277" y="15"/>
                  </a:lnTo>
                  <a:lnTo>
                    <a:pt x="279" y="14"/>
                  </a:lnTo>
                  <a:lnTo>
                    <a:pt x="281" y="14"/>
                  </a:lnTo>
                  <a:lnTo>
                    <a:pt x="283" y="15"/>
                  </a:lnTo>
                  <a:lnTo>
                    <a:pt x="284" y="16"/>
                  </a:lnTo>
                  <a:lnTo>
                    <a:pt x="284" y="18"/>
                  </a:lnTo>
                  <a:lnTo>
                    <a:pt x="284" y="20"/>
                  </a:lnTo>
                  <a:lnTo>
                    <a:pt x="250" y="144"/>
                  </a:lnTo>
                  <a:lnTo>
                    <a:pt x="288" y="41"/>
                  </a:lnTo>
                  <a:lnTo>
                    <a:pt x="289" y="39"/>
                  </a:lnTo>
                  <a:lnTo>
                    <a:pt x="291" y="38"/>
                  </a:lnTo>
                  <a:lnTo>
                    <a:pt x="292" y="38"/>
                  </a:lnTo>
                  <a:lnTo>
                    <a:pt x="294" y="38"/>
                  </a:lnTo>
                  <a:lnTo>
                    <a:pt x="296" y="39"/>
                  </a:lnTo>
                  <a:lnTo>
                    <a:pt x="297" y="40"/>
                  </a:lnTo>
                  <a:lnTo>
                    <a:pt x="297" y="42"/>
                  </a:lnTo>
                  <a:lnTo>
                    <a:pt x="297" y="44"/>
                  </a:lnTo>
                  <a:lnTo>
                    <a:pt x="231" y="224"/>
                  </a:lnTo>
                  <a:lnTo>
                    <a:pt x="325" y="96"/>
                  </a:lnTo>
                  <a:lnTo>
                    <a:pt x="326" y="95"/>
                  </a:lnTo>
                  <a:lnTo>
                    <a:pt x="328" y="94"/>
                  </a:lnTo>
                  <a:lnTo>
                    <a:pt x="330" y="94"/>
                  </a:lnTo>
                  <a:lnTo>
                    <a:pt x="331" y="95"/>
                  </a:lnTo>
                  <a:lnTo>
                    <a:pt x="333" y="97"/>
                  </a:lnTo>
                  <a:lnTo>
                    <a:pt x="333" y="98"/>
                  </a:lnTo>
                  <a:lnTo>
                    <a:pt x="333" y="100"/>
                  </a:lnTo>
                  <a:lnTo>
                    <a:pt x="332" y="102"/>
                  </a:lnTo>
                  <a:lnTo>
                    <a:pt x="242" y="225"/>
                  </a:lnTo>
                  <a:lnTo>
                    <a:pt x="317" y="168"/>
                  </a:lnTo>
                  <a:lnTo>
                    <a:pt x="319" y="167"/>
                  </a:lnTo>
                  <a:lnTo>
                    <a:pt x="321" y="167"/>
                  </a:lnTo>
                  <a:lnTo>
                    <a:pt x="322" y="168"/>
                  </a:lnTo>
                  <a:lnTo>
                    <a:pt x="323" y="168"/>
                  </a:lnTo>
                  <a:lnTo>
                    <a:pt x="324" y="169"/>
                  </a:lnTo>
                  <a:lnTo>
                    <a:pt x="325" y="171"/>
                  </a:lnTo>
                  <a:lnTo>
                    <a:pt x="325" y="173"/>
                  </a:lnTo>
                  <a:lnTo>
                    <a:pt x="325" y="174"/>
                  </a:lnTo>
                  <a:lnTo>
                    <a:pt x="323" y="176"/>
                  </a:lnTo>
                  <a:lnTo>
                    <a:pt x="270" y="216"/>
                  </a:lnTo>
                  <a:lnTo>
                    <a:pt x="330" y="183"/>
                  </a:lnTo>
                  <a:lnTo>
                    <a:pt x="332" y="182"/>
                  </a:lnTo>
                  <a:lnTo>
                    <a:pt x="334" y="182"/>
                  </a:lnTo>
                  <a:lnTo>
                    <a:pt x="335" y="183"/>
                  </a:lnTo>
                  <a:lnTo>
                    <a:pt x="336" y="185"/>
                  </a:lnTo>
                  <a:lnTo>
                    <a:pt x="337" y="186"/>
                  </a:lnTo>
                  <a:lnTo>
                    <a:pt x="337" y="188"/>
                  </a:lnTo>
                  <a:lnTo>
                    <a:pt x="336" y="190"/>
                  </a:lnTo>
                  <a:lnTo>
                    <a:pt x="334" y="191"/>
                  </a:lnTo>
                  <a:lnTo>
                    <a:pt x="223"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6" name="Freeform 1954"/>
            <p:cNvSpPr>
              <a:spLocks noEditPoints="1"/>
            </p:cNvSpPr>
            <p:nvPr userDrawn="1"/>
          </p:nvSpPr>
          <p:spPr bwMode="auto">
            <a:xfrm>
              <a:off x="5194300" y="3030538"/>
              <a:ext cx="706438" cy="1198563"/>
            </a:xfrm>
            <a:custGeom>
              <a:avLst/>
              <a:gdLst>
                <a:gd name="T0" fmla="*/ 170 w 445"/>
                <a:gd name="T1" fmla="*/ 131 h 755"/>
                <a:gd name="T2" fmla="*/ 143 w 445"/>
                <a:gd name="T3" fmla="*/ 674 h 755"/>
                <a:gd name="T4" fmla="*/ 131 w 445"/>
                <a:gd name="T5" fmla="*/ 673 h 755"/>
                <a:gd name="T6" fmla="*/ 152 w 445"/>
                <a:gd name="T7" fmla="*/ 622 h 755"/>
                <a:gd name="T8" fmla="*/ 162 w 445"/>
                <a:gd name="T9" fmla="*/ 675 h 755"/>
                <a:gd name="T10" fmla="*/ 200 w 445"/>
                <a:gd name="T11" fmla="*/ 216 h 755"/>
                <a:gd name="T12" fmla="*/ 163 w 445"/>
                <a:gd name="T13" fmla="*/ 358 h 755"/>
                <a:gd name="T14" fmla="*/ 152 w 445"/>
                <a:gd name="T15" fmla="*/ 561 h 755"/>
                <a:gd name="T16" fmla="*/ 171 w 445"/>
                <a:gd name="T17" fmla="*/ 676 h 755"/>
                <a:gd name="T18" fmla="*/ 153 w 445"/>
                <a:gd name="T19" fmla="*/ 755 h 755"/>
                <a:gd name="T20" fmla="*/ 130 w 445"/>
                <a:gd name="T21" fmla="*/ 718 h 755"/>
                <a:gd name="T22" fmla="*/ 126 w 445"/>
                <a:gd name="T23" fmla="*/ 638 h 755"/>
                <a:gd name="T24" fmla="*/ 143 w 445"/>
                <a:gd name="T25" fmla="*/ 484 h 755"/>
                <a:gd name="T26" fmla="*/ 158 w 445"/>
                <a:gd name="T27" fmla="*/ 332 h 755"/>
                <a:gd name="T28" fmla="*/ 4 w 445"/>
                <a:gd name="T29" fmla="*/ 155 h 755"/>
                <a:gd name="T30" fmla="*/ 3 w 445"/>
                <a:gd name="T31" fmla="*/ 146 h 755"/>
                <a:gd name="T32" fmla="*/ 102 w 445"/>
                <a:gd name="T33" fmla="*/ 159 h 755"/>
                <a:gd name="T34" fmla="*/ 14 w 445"/>
                <a:gd name="T35" fmla="*/ 131 h 755"/>
                <a:gd name="T36" fmla="*/ 17 w 445"/>
                <a:gd name="T37" fmla="*/ 123 h 755"/>
                <a:gd name="T38" fmla="*/ 122 w 445"/>
                <a:gd name="T39" fmla="*/ 158 h 755"/>
                <a:gd name="T40" fmla="*/ 30 w 445"/>
                <a:gd name="T41" fmla="*/ 80 h 755"/>
                <a:gd name="T42" fmla="*/ 128 w 445"/>
                <a:gd name="T43" fmla="*/ 129 h 755"/>
                <a:gd name="T44" fmla="*/ 41 w 445"/>
                <a:gd name="T45" fmla="*/ 59 h 755"/>
                <a:gd name="T46" fmla="*/ 29 w 445"/>
                <a:gd name="T47" fmla="*/ 45 h 755"/>
                <a:gd name="T48" fmla="*/ 104 w 445"/>
                <a:gd name="T49" fmla="*/ 92 h 755"/>
                <a:gd name="T50" fmla="*/ 115 w 445"/>
                <a:gd name="T51" fmla="*/ 79 h 755"/>
                <a:gd name="T52" fmla="*/ 103 w 445"/>
                <a:gd name="T53" fmla="*/ 65 h 755"/>
                <a:gd name="T54" fmla="*/ 92 w 445"/>
                <a:gd name="T55" fmla="*/ 18 h 755"/>
                <a:gd name="T56" fmla="*/ 142 w 445"/>
                <a:gd name="T57" fmla="*/ 86 h 755"/>
                <a:gd name="T58" fmla="*/ 185 w 445"/>
                <a:gd name="T59" fmla="*/ 137 h 755"/>
                <a:gd name="T60" fmla="*/ 245 w 445"/>
                <a:gd name="T61" fmla="*/ 10 h 755"/>
                <a:gd name="T62" fmla="*/ 253 w 445"/>
                <a:gd name="T63" fmla="*/ 15 h 755"/>
                <a:gd name="T64" fmla="*/ 266 w 445"/>
                <a:gd name="T65" fmla="*/ 105 h 755"/>
                <a:gd name="T66" fmla="*/ 298 w 445"/>
                <a:gd name="T67" fmla="*/ 17 h 755"/>
                <a:gd name="T68" fmla="*/ 309 w 445"/>
                <a:gd name="T69" fmla="*/ 1 h 755"/>
                <a:gd name="T70" fmla="*/ 296 w 445"/>
                <a:gd name="T71" fmla="*/ 57 h 755"/>
                <a:gd name="T72" fmla="*/ 250 w 445"/>
                <a:gd name="T73" fmla="*/ 152 h 755"/>
                <a:gd name="T74" fmla="*/ 277 w 445"/>
                <a:gd name="T75" fmla="*/ 161 h 755"/>
                <a:gd name="T76" fmla="*/ 361 w 445"/>
                <a:gd name="T77" fmla="*/ 92 h 755"/>
                <a:gd name="T78" fmla="*/ 395 w 445"/>
                <a:gd name="T79" fmla="*/ 59 h 755"/>
                <a:gd name="T80" fmla="*/ 364 w 445"/>
                <a:gd name="T81" fmla="*/ 102 h 755"/>
                <a:gd name="T82" fmla="*/ 273 w 445"/>
                <a:gd name="T83" fmla="*/ 175 h 755"/>
                <a:gd name="T84" fmla="*/ 334 w 445"/>
                <a:gd name="T85" fmla="*/ 142 h 755"/>
                <a:gd name="T86" fmla="*/ 405 w 445"/>
                <a:gd name="T87" fmla="*/ 80 h 755"/>
                <a:gd name="T88" fmla="*/ 413 w 445"/>
                <a:gd name="T89" fmla="*/ 85 h 755"/>
                <a:gd name="T90" fmla="*/ 342 w 445"/>
                <a:gd name="T91" fmla="*/ 148 h 755"/>
                <a:gd name="T92" fmla="*/ 281 w 445"/>
                <a:gd name="T93" fmla="*/ 189 h 755"/>
                <a:gd name="T94" fmla="*/ 364 w 445"/>
                <a:gd name="T95" fmla="*/ 157 h 755"/>
                <a:gd name="T96" fmla="*/ 428 w 445"/>
                <a:gd name="T97" fmla="*/ 151 h 755"/>
                <a:gd name="T98" fmla="*/ 443 w 445"/>
                <a:gd name="T99" fmla="*/ 162 h 755"/>
                <a:gd name="T100" fmla="*/ 394 w 445"/>
                <a:gd name="T101" fmla="*/ 159 h 755"/>
                <a:gd name="T102" fmla="*/ 328 w 445"/>
                <a:gd name="T103" fmla="*/ 184 h 755"/>
                <a:gd name="T104" fmla="*/ 443 w 445"/>
                <a:gd name="T105" fmla="*/ 197 h 755"/>
                <a:gd name="T106" fmla="*/ 422 w 445"/>
                <a:gd name="T107" fmla="*/ 213 h 755"/>
                <a:gd name="T108" fmla="*/ 419 w 445"/>
                <a:gd name="T109" fmla="*/ 222 h 755"/>
                <a:gd name="T110" fmla="*/ 380 w 445"/>
                <a:gd name="T111" fmla="*/ 272 h 755"/>
                <a:gd name="T112" fmla="*/ 311 w 445"/>
                <a:gd name="T113" fmla="*/ 283 h 755"/>
                <a:gd name="T114" fmla="*/ 249 w 445"/>
                <a:gd name="T115" fmla="*/ 249 h 755"/>
                <a:gd name="T116" fmla="*/ 296 w 445"/>
                <a:gd name="T117" fmla="*/ 30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5" h="755">
                  <a:moveTo>
                    <a:pt x="191" y="185"/>
                  </a:moveTo>
                  <a:lnTo>
                    <a:pt x="189" y="175"/>
                  </a:lnTo>
                  <a:lnTo>
                    <a:pt x="186" y="166"/>
                  </a:lnTo>
                  <a:lnTo>
                    <a:pt x="183" y="157"/>
                  </a:lnTo>
                  <a:lnTo>
                    <a:pt x="179" y="148"/>
                  </a:lnTo>
                  <a:lnTo>
                    <a:pt x="175" y="139"/>
                  </a:lnTo>
                  <a:lnTo>
                    <a:pt x="170" y="131"/>
                  </a:lnTo>
                  <a:lnTo>
                    <a:pt x="164" y="122"/>
                  </a:lnTo>
                  <a:lnTo>
                    <a:pt x="157" y="114"/>
                  </a:lnTo>
                  <a:lnTo>
                    <a:pt x="151" y="107"/>
                  </a:lnTo>
                  <a:lnTo>
                    <a:pt x="144" y="100"/>
                  </a:lnTo>
                  <a:lnTo>
                    <a:pt x="191" y="185"/>
                  </a:lnTo>
                  <a:close/>
                  <a:moveTo>
                    <a:pt x="145" y="732"/>
                  </a:moveTo>
                  <a:lnTo>
                    <a:pt x="143" y="674"/>
                  </a:lnTo>
                  <a:lnTo>
                    <a:pt x="142" y="620"/>
                  </a:lnTo>
                  <a:lnTo>
                    <a:pt x="139" y="627"/>
                  </a:lnTo>
                  <a:lnTo>
                    <a:pt x="136" y="635"/>
                  </a:lnTo>
                  <a:lnTo>
                    <a:pt x="134" y="644"/>
                  </a:lnTo>
                  <a:lnTo>
                    <a:pt x="133" y="653"/>
                  </a:lnTo>
                  <a:lnTo>
                    <a:pt x="132" y="663"/>
                  </a:lnTo>
                  <a:lnTo>
                    <a:pt x="131" y="673"/>
                  </a:lnTo>
                  <a:lnTo>
                    <a:pt x="132" y="683"/>
                  </a:lnTo>
                  <a:lnTo>
                    <a:pt x="133" y="693"/>
                  </a:lnTo>
                  <a:lnTo>
                    <a:pt x="135" y="703"/>
                  </a:lnTo>
                  <a:lnTo>
                    <a:pt x="138" y="713"/>
                  </a:lnTo>
                  <a:lnTo>
                    <a:pt x="141" y="723"/>
                  </a:lnTo>
                  <a:lnTo>
                    <a:pt x="145" y="732"/>
                  </a:lnTo>
                  <a:close/>
                  <a:moveTo>
                    <a:pt x="152" y="622"/>
                  </a:moveTo>
                  <a:lnTo>
                    <a:pt x="152" y="648"/>
                  </a:lnTo>
                  <a:lnTo>
                    <a:pt x="153" y="674"/>
                  </a:lnTo>
                  <a:lnTo>
                    <a:pt x="154" y="729"/>
                  </a:lnTo>
                  <a:lnTo>
                    <a:pt x="158" y="716"/>
                  </a:lnTo>
                  <a:lnTo>
                    <a:pt x="160" y="703"/>
                  </a:lnTo>
                  <a:lnTo>
                    <a:pt x="161" y="689"/>
                  </a:lnTo>
                  <a:lnTo>
                    <a:pt x="162" y="675"/>
                  </a:lnTo>
                  <a:lnTo>
                    <a:pt x="161" y="661"/>
                  </a:lnTo>
                  <a:lnTo>
                    <a:pt x="160" y="655"/>
                  </a:lnTo>
                  <a:lnTo>
                    <a:pt x="159" y="648"/>
                  </a:lnTo>
                  <a:lnTo>
                    <a:pt x="158" y="641"/>
                  </a:lnTo>
                  <a:lnTo>
                    <a:pt x="156" y="635"/>
                  </a:lnTo>
                  <a:lnTo>
                    <a:pt x="152" y="622"/>
                  </a:lnTo>
                  <a:close/>
                  <a:moveTo>
                    <a:pt x="200" y="216"/>
                  </a:moveTo>
                  <a:lnTo>
                    <a:pt x="191" y="239"/>
                  </a:lnTo>
                  <a:lnTo>
                    <a:pt x="184" y="263"/>
                  </a:lnTo>
                  <a:lnTo>
                    <a:pt x="178" y="287"/>
                  </a:lnTo>
                  <a:lnTo>
                    <a:pt x="175" y="298"/>
                  </a:lnTo>
                  <a:lnTo>
                    <a:pt x="172" y="310"/>
                  </a:lnTo>
                  <a:lnTo>
                    <a:pt x="167" y="334"/>
                  </a:lnTo>
                  <a:lnTo>
                    <a:pt x="163" y="358"/>
                  </a:lnTo>
                  <a:lnTo>
                    <a:pt x="159" y="383"/>
                  </a:lnTo>
                  <a:lnTo>
                    <a:pt x="156" y="409"/>
                  </a:lnTo>
                  <a:lnTo>
                    <a:pt x="154" y="430"/>
                  </a:lnTo>
                  <a:lnTo>
                    <a:pt x="153" y="449"/>
                  </a:lnTo>
                  <a:lnTo>
                    <a:pt x="152" y="467"/>
                  </a:lnTo>
                  <a:lnTo>
                    <a:pt x="152" y="485"/>
                  </a:lnTo>
                  <a:lnTo>
                    <a:pt x="152" y="561"/>
                  </a:lnTo>
                  <a:lnTo>
                    <a:pt x="152" y="599"/>
                  </a:lnTo>
                  <a:lnTo>
                    <a:pt x="156" y="608"/>
                  </a:lnTo>
                  <a:lnTo>
                    <a:pt x="160" y="618"/>
                  </a:lnTo>
                  <a:lnTo>
                    <a:pt x="163" y="627"/>
                  </a:lnTo>
                  <a:lnTo>
                    <a:pt x="166" y="637"/>
                  </a:lnTo>
                  <a:lnTo>
                    <a:pt x="170" y="656"/>
                  </a:lnTo>
                  <a:lnTo>
                    <a:pt x="171" y="676"/>
                  </a:lnTo>
                  <a:lnTo>
                    <a:pt x="170" y="696"/>
                  </a:lnTo>
                  <a:lnTo>
                    <a:pt x="167" y="716"/>
                  </a:lnTo>
                  <a:lnTo>
                    <a:pt x="165" y="725"/>
                  </a:lnTo>
                  <a:lnTo>
                    <a:pt x="162" y="735"/>
                  </a:lnTo>
                  <a:lnTo>
                    <a:pt x="159" y="745"/>
                  </a:lnTo>
                  <a:lnTo>
                    <a:pt x="155" y="754"/>
                  </a:lnTo>
                  <a:lnTo>
                    <a:pt x="153" y="755"/>
                  </a:lnTo>
                  <a:lnTo>
                    <a:pt x="151" y="755"/>
                  </a:lnTo>
                  <a:lnTo>
                    <a:pt x="149" y="755"/>
                  </a:lnTo>
                  <a:lnTo>
                    <a:pt x="147" y="754"/>
                  </a:lnTo>
                  <a:lnTo>
                    <a:pt x="140" y="743"/>
                  </a:lnTo>
                  <a:lnTo>
                    <a:pt x="135" y="731"/>
                  </a:lnTo>
                  <a:lnTo>
                    <a:pt x="132" y="724"/>
                  </a:lnTo>
                  <a:lnTo>
                    <a:pt x="130" y="718"/>
                  </a:lnTo>
                  <a:lnTo>
                    <a:pt x="126" y="705"/>
                  </a:lnTo>
                  <a:lnTo>
                    <a:pt x="123" y="692"/>
                  </a:lnTo>
                  <a:lnTo>
                    <a:pt x="122" y="678"/>
                  </a:lnTo>
                  <a:lnTo>
                    <a:pt x="122" y="665"/>
                  </a:lnTo>
                  <a:lnTo>
                    <a:pt x="122" y="658"/>
                  </a:lnTo>
                  <a:lnTo>
                    <a:pt x="123" y="652"/>
                  </a:lnTo>
                  <a:lnTo>
                    <a:pt x="126" y="638"/>
                  </a:lnTo>
                  <a:lnTo>
                    <a:pt x="128" y="631"/>
                  </a:lnTo>
                  <a:lnTo>
                    <a:pt x="130" y="625"/>
                  </a:lnTo>
                  <a:lnTo>
                    <a:pt x="135" y="613"/>
                  </a:lnTo>
                  <a:lnTo>
                    <a:pt x="138" y="607"/>
                  </a:lnTo>
                  <a:lnTo>
                    <a:pt x="142" y="601"/>
                  </a:lnTo>
                  <a:lnTo>
                    <a:pt x="143" y="561"/>
                  </a:lnTo>
                  <a:lnTo>
                    <a:pt x="143" y="484"/>
                  </a:lnTo>
                  <a:lnTo>
                    <a:pt x="143" y="467"/>
                  </a:lnTo>
                  <a:lnTo>
                    <a:pt x="144" y="448"/>
                  </a:lnTo>
                  <a:lnTo>
                    <a:pt x="145" y="429"/>
                  </a:lnTo>
                  <a:lnTo>
                    <a:pt x="147" y="408"/>
                  </a:lnTo>
                  <a:lnTo>
                    <a:pt x="150" y="382"/>
                  </a:lnTo>
                  <a:lnTo>
                    <a:pt x="154" y="357"/>
                  </a:lnTo>
                  <a:lnTo>
                    <a:pt x="158" y="332"/>
                  </a:lnTo>
                  <a:lnTo>
                    <a:pt x="163" y="308"/>
                  </a:lnTo>
                  <a:lnTo>
                    <a:pt x="168" y="284"/>
                  </a:lnTo>
                  <a:lnTo>
                    <a:pt x="175" y="261"/>
                  </a:lnTo>
                  <a:lnTo>
                    <a:pt x="182" y="237"/>
                  </a:lnTo>
                  <a:lnTo>
                    <a:pt x="191" y="212"/>
                  </a:lnTo>
                  <a:lnTo>
                    <a:pt x="189" y="211"/>
                  </a:lnTo>
                  <a:lnTo>
                    <a:pt x="4" y="155"/>
                  </a:lnTo>
                  <a:lnTo>
                    <a:pt x="3" y="154"/>
                  </a:lnTo>
                  <a:lnTo>
                    <a:pt x="2" y="154"/>
                  </a:lnTo>
                  <a:lnTo>
                    <a:pt x="1" y="152"/>
                  </a:lnTo>
                  <a:lnTo>
                    <a:pt x="0" y="150"/>
                  </a:lnTo>
                  <a:lnTo>
                    <a:pt x="1" y="149"/>
                  </a:lnTo>
                  <a:lnTo>
                    <a:pt x="1" y="147"/>
                  </a:lnTo>
                  <a:lnTo>
                    <a:pt x="3" y="146"/>
                  </a:lnTo>
                  <a:lnTo>
                    <a:pt x="4" y="145"/>
                  </a:lnTo>
                  <a:lnTo>
                    <a:pt x="6" y="145"/>
                  </a:lnTo>
                  <a:lnTo>
                    <a:pt x="164" y="193"/>
                  </a:lnTo>
                  <a:lnTo>
                    <a:pt x="147" y="182"/>
                  </a:lnTo>
                  <a:lnTo>
                    <a:pt x="129" y="173"/>
                  </a:lnTo>
                  <a:lnTo>
                    <a:pt x="111" y="163"/>
                  </a:lnTo>
                  <a:lnTo>
                    <a:pt x="102" y="159"/>
                  </a:lnTo>
                  <a:lnTo>
                    <a:pt x="93" y="155"/>
                  </a:lnTo>
                  <a:lnTo>
                    <a:pt x="74" y="148"/>
                  </a:lnTo>
                  <a:lnTo>
                    <a:pt x="65" y="145"/>
                  </a:lnTo>
                  <a:lnTo>
                    <a:pt x="55" y="142"/>
                  </a:lnTo>
                  <a:lnTo>
                    <a:pt x="35" y="136"/>
                  </a:lnTo>
                  <a:lnTo>
                    <a:pt x="16" y="132"/>
                  </a:lnTo>
                  <a:lnTo>
                    <a:pt x="14" y="131"/>
                  </a:lnTo>
                  <a:lnTo>
                    <a:pt x="12" y="130"/>
                  </a:lnTo>
                  <a:lnTo>
                    <a:pt x="12" y="128"/>
                  </a:lnTo>
                  <a:lnTo>
                    <a:pt x="12" y="126"/>
                  </a:lnTo>
                  <a:lnTo>
                    <a:pt x="12" y="125"/>
                  </a:lnTo>
                  <a:lnTo>
                    <a:pt x="14" y="123"/>
                  </a:lnTo>
                  <a:lnTo>
                    <a:pt x="15" y="123"/>
                  </a:lnTo>
                  <a:lnTo>
                    <a:pt x="17" y="123"/>
                  </a:lnTo>
                  <a:lnTo>
                    <a:pt x="44" y="129"/>
                  </a:lnTo>
                  <a:lnTo>
                    <a:pt x="58" y="133"/>
                  </a:lnTo>
                  <a:lnTo>
                    <a:pt x="71" y="137"/>
                  </a:lnTo>
                  <a:lnTo>
                    <a:pt x="84" y="141"/>
                  </a:lnTo>
                  <a:lnTo>
                    <a:pt x="96" y="146"/>
                  </a:lnTo>
                  <a:lnTo>
                    <a:pt x="109" y="152"/>
                  </a:lnTo>
                  <a:lnTo>
                    <a:pt x="122" y="158"/>
                  </a:lnTo>
                  <a:lnTo>
                    <a:pt x="28" y="88"/>
                  </a:lnTo>
                  <a:lnTo>
                    <a:pt x="27" y="87"/>
                  </a:lnTo>
                  <a:lnTo>
                    <a:pt x="26" y="85"/>
                  </a:lnTo>
                  <a:lnTo>
                    <a:pt x="27" y="83"/>
                  </a:lnTo>
                  <a:lnTo>
                    <a:pt x="27" y="82"/>
                  </a:lnTo>
                  <a:lnTo>
                    <a:pt x="29" y="81"/>
                  </a:lnTo>
                  <a:lnTo>
                    <a:pt x="30" y="80"/>
                  </a:lnTo>
                  <a:lnTo>
                    <a:pt x="32" y="80"/>
                  </a:lnTo>
                  <a:lnTo>
                    <a:pt x="34" y="81"/>
                  </a:lnTo>
                  <a:lnTo>
                    <a:pt x="176" y="186"/>
                  </a:lnTo>
                  <a:lnTo>
                    <a:pt x="161" y="166"/>
                  </a:lnTo>
                  <a:lnTo>
                    <a:pt x="145" y="147"/>
                  </a:lnTo>
                  <a:lnTo>
                    <a:pt x="137" y="138"/>
                  </a:lnTo>
                  <a:lnTo>
                    <a:pt x="128" y="129"/>
                  </a:lnTo>
                  <a:lnTo>
                    <a:pt x="120" y="120"/>
                  </a:lnTo>
                  <a:lnTo>
                    <a:pt x="111" y="111"/>
                  </a:lnTo>
                  <a:lnTo>
                    <a:pt x="92" y="95"/>
                  </a:lnTo>
                  <a:lnTo>
                    <a:pt x="72" y="80"/>
                  </a:lnTo>
                  <a:lnTo>
                    <a:pt x="62" y="72"/>
                  </a:lnTo>
                  <a:lnTo>
                    <a:pt x="52" y="65"/>
                  </a:lnTo>
                  <a:lnTo>
                    <a:pt x="41" y="59"/>
                  </a:lnTo>
                  <a:lnTo>
                    <a:pt x="30" y="53"/>
                  </a:lnTo>
                  <a:lnTo>
                    <a:pt x="28" y="51"/>
                  </a:lnTo>
                  <a:lnTo>
                    <a:pt x="28" y="50"/>
                  </a:lnTo>
                  <a:lnTo>
                    <a:pt x="27" y="49"/>
                  </a:lnTo>
                  <a:lnTo>
                    <a:pt x="27" y="48"/>
                  </a:lnTo>
                  <a:lnTo>
                    <a:pt x="28" y="46"/>
                  </a:lnTo>
                  <a:lnTo>
                    <a:pt x="29" y="45"/>
                  </a:lnTo>
                  <a:lnTo>
                    <a:pt x="30" y="44"/>
                  </a:lnTo>
                  <a:lnTo>
                    <a:pt x="32" y="44"/>
                  </a:lnTo>
                  <a:lnTo>
                    <a:pt x="34" y="44"/>
                  </a:lnTo>
                  <a:lnTo>
                    <a:pt x="53" y="55"/>
                  </a:lnTo>
                  <a:lnTo>
                    <a:pt x="71" y="67"/>
                  </a:lnTo>
                  <a:lnTo>
                    <a:pt x="88" y="79"/>
                  </a:lnTo>
                  <a:lnTo>
                    <a:pt x="104" y="92"/>
                  </a:lnTo>
                  <a:lnTo>
                    <a:pt x="119" y="106"/>
                  </a:lnTo>
                  <a:lnTo>
                    <a:pt x="134" y="121"/>
                  </a:lnTo>
                  <a:lnTo>
                    <a:pt x="148" y="136"/>
                  </a:lnTo>
                  <a:lnTo>
                    <a:pt x="155" y="144"/>
                  </a:lnTo>
                  <a:lnTo>
                    <a:pt x="162" y="152"/>
                  </a:lnTo>
                  <a:lnTo>
                    <a:pt x="125" y="85"/>
                  </a:lnTo>
                  <a:lnTo>
                    <a:pt x="115" y="79"/>
                  </a:lnTo>
                  <a:lnTo>
                    <a:pt x="103" y="74"/>
                  </a:lnTo>
                  <a:lnTo>
                    <a:pt x="101" y="72"/>
                  </a:lnTo>
                  <a:lnTo>
                    <a:pt x="100" y="71"/>
                  </a:lnTo>
                  <a:lnTo>
                    <a:pt x="100" y="69"/>
                  </a:lnTo>
                  <a:lnTo>
                    <a:pt x="100" y="67"/>
                  </a:lnTo>
                  <a:lnTo>
                    <a:pt x="101" y="66"/>
                  </a:lnTo>
                  <a:lnTo>
                    <a:pt x="103" y="65"/>
                  </a:lnTo>
                  <a:lnTo>
                    <a:pt x="105" y="65"/>
                  </a:lnTo>
                  <a:lnTo>
                    <a:pt x="107" y="65"/>
                  </a:lnTo>
                  <a:lnTo>
                    <a:pt x="117" y="70"/>
                  </a:lnTo>
                  <a:lnTo>
                    <a:pt x="91" y="23"/>
                  </a:lnTo>
                  <a:lnTo>
                    <a:pt x="90" y="21"/>
                  </a:lnTo>
                  <a:lnTo>
                    <a:pt x="91" y="19"/>
                  </a:lnTo>
                  <a:lnTo>
                    <a:pt x="92" y="18"/>
                  </a:lnTo>
                  <a:lnTo>
                    <a:pt x="93" y="16"/>
                  </a:lnTo>
                  <a:lnTo>
                    <a:pt x="95" y="16"/>
                  </a:lnTo>
                  <a:lnTo>
                    <a:pt x="96" y="16"/>
                  </a:lnTo>
                  <a:lnTo>
                    <a:pt x="98" y="17"/>
                  </a:lnTo>
                  <a:lnTo>
                    <a:pt x="99" y="18"/>
                  </a:lnTo>
                  <a:lnTo>
                    <a:pt x="133" y="80"/>
                  </a:lnTo>
                  <a:lnTo>
                    <a:pt x="142" y="86"/>
                  </a:lnTo>
                  <a:lnTo>
                    <a:pt x="150" y="93"/>
                  </a:lnTo>
                  <a:lnTo>
                    <a:pt x="158" y="101"/>
                  </a:lnTo>
                  <a:lnTo>
                    <a:pt x="166" y="109"/>
                  </a:lnTo>
                  <a:lnTo>
                    <a:pt x="169" y="114"/>
                  </a:lnTo>
                  <a:lnTo>
                    <a:pt x="173" y="118"/>
                  </a:lnTo>
                  <a:lnTo>
                    <a:pt x="179" y="128"/>
                  </a:lnTo>
                  <a:lnTo>
                    <a:pt x="185" y="137"/>
                  </a:lnTo>
                  <a:lnTo>
                    <a:pt x="189" y="148"/>
                  </a:lnTo>
                  <a:lnTo>
                    <a:pt x="193" y="156"/>
                  </a:lnTo>
                  <a:lnTo>
                    <a:pt x="196" y="164"/>
                  </a:lnTo>
                  <a:lnTo>
                    <a:pt x="198" y="172"/>
                  </a:lnTo>
                  <a:lnTo>
                    <a:pt x="200" y="180"/>
                  </a:lnTo>
                  <a:lnTo>
                    <a:pt x="244" y="12"/>
                  </a:lnTo>
                  <a:lnTo>
                    <a:pt x="245" y="10"/>
                  </a:lnTo>
                  <a:lnTo>
                    <a:pt x="246" y="9"/>
                  </a:lnTo>
                  <a:lnTo>
                    <a:pt x="248" y="9"/>
                  </a:lnTo>
                  <a:lnTo>
                    <a:pt x="250" y="9"/>
                  </a:lnTo>
                  <a:lnTo>
                    <a:pt x="252" y="10"/>
                  </a:lnTo>
                  <a:lnTo>
                    <a:pt x="253" y="11"/>
                  </a:lnTo>
                  <a:lnTo>
                    <a:pt x="253" y="13"/>
                  </a:lnTo>
                  <a:lnTo>
                    <a:pt x="253" y="15"/>
                  </a:lnTo>
                  <a:lnTo>
                    <a:pt x="206" y="194"/>
                  </a:lnTo>
                  <a:lnTo>
                    <a:pt x="214" y="183"/>
                  </a:lnTo>
                  <a:lnTo>
                    <a:pt x="223" y="173"/>
                  </a:lnTo>
                  <a:lnTo>
                    <a:pt x="231" y="162"/>
                  </a:lnTo>
                  <a:lnTo>
                    <a:pt x="239" y="151"/>
                  </a:lnTo>
                  <a:lnTo>
                    <a:pt x="253" y="129"/>
                  </a:lnTo>
                  <a:lnTo>
                    <a:pt x="266" y="105"/>
                  </a:lnTo>
                  <a:lnTo>
                    <a:pt x="272" y="93"/>
                  </a:lnTo>
                  <a:lnTo>
                    <a:pt x="277" y="81"/>
                  </a:lnTo>
                  <a:lnTo>
                    <a:pt x="282" y="69"/>
                  </a:lnTo>
                  <a:lnTo>
                    <a:pt x="286" y="56"/>
                  </a:lnTo>
                  <a:lnTo>
                    <a:pt x="291" y="43"/>
                  </a:lnTo>
                  <a:lnTo>
                    <a:pt x="294" y="30"/>
                  </a:lnTo>
                  <a:lnTo>
                    <a:pt x="298" y="17"/>
                  </a:lnTo>
                  <a:lnTo>
                    <a:pt x="300" y="4"/>
                  </a:lnTo>
                  <a:lnTo>
                    <a:pt x="301" y="2"/>
                  </a:lnTo>
                  <a:lnTo>
                    <a:pt x="303" y="0"/>
                  </a:lnTo>
                  <a:lnTo>
                    <a:pt x="304" y="0"/>
                  </a:lnTo>
                  <a:lnTo>
                    <a:pt x="306" y="0"/>
                  </a:lnTo>
                  <a:lnTo>
                    <a:pt x="308" y="0"/>
                  </a:lnTo>
                  <a:lnTo>
                    <a:pt x="309" y="1"/>
                  </a:lnTo>
                  <a:lnTo>
                    <a:pt x="309" y="2"/>
                  </a:lnTo>
                  <a:lnTo>
                    <a:pt x="310" y="3"/>
                  </a:lnTo>
                  <a:lnTo>
                    <a:pt x="310" y="5"/>
                  </a:lnTo>
                  <a:lnTo>
                    <a:pt x="307" y="19"/>
                  </a:lnTo>
                  <a:lnTo>
                    <a:pt x="304" y="32"/>
                  </a:lnTo>
                  <a:lnTo>
                    <a:pt x="300" y="45"/>
                  </a:lnTo>
                  <a:lnTo>
                    <a:pt x="296" y="57"/>
                  </a:lnTo>
                  <a:lnTo>
                    <a:pt x="292" y="70"/>
                  </a:lnTo>
                  <a:lnTo>
                    <a:pt x="287" y="82"/>
                  </a:lnTo>
                  <a:lnTo>
                    <a:pt x="282" y="94"/>
                  </a:lnTo>
                  <a:lnTo>
                    <a:pt x="276" y="106"/>
                  </a:lnTo>
                  <a:lnTo>
                    <a:pt x="270" y="118"/>
                  </a:lnTo>
                  <a:lnTo>
                    <a:pt x="264" y="129"/>
                  </a:lnTo>
                  <a:lnTo>
                    <a:pt x="250" y="152"/>
                  </a:lnTo>
                  <a:lnTo>
                    <a:pt x="234" y="173"/>
                  </a:lnTo>
                  <a:lnTo>
                    <a:pt x="226" y="184"/>
                  </a:lnTo>
                  <a:lnTo>
                    <a:pt x="218" y="194"/>
                  </a:lnTo>
                  <a:lnTo>
                    <a:pt x="230" y="188"/>
                  </a:lnTo>
                  <a:lnTo>
                    <a:pt x="242" y="182"/>
                  </a:lnTo>
                  <a:lnTo>
                    <a:pt x="266" y="168"/>
                  </a:lnTo>
                  <a:lnTo>
                    <a:pt x="277" y="161"/>
                  </a:lnTo>
                  <a:lnTo>
                    <a:pt x="288" y="153"/>
                  </a:lnTo>
                  <a:lnTo>
                    <a:pt x="299" y="145"/>
                  </a:lnTo>
                  <a:lnTo>
                    <a:pt x="310" y="137"/>
                  </a:lnTo>
                  <a:lnTo>
                    <a:pt x="331" y="120"/>
                  </a:lnTo>
                  <a:lnTo>
                    <a:pt x="341" y="111"/>
                  </a:lnTo>
                  <a:lnTo>
                    <a:pt x="351" y="102"/>
                  </a:lnTo>
                  <a:lnTo>
                    <a:pt x="361" y="92"/>
                  </a:lnTo>
                  <a:lnTo>
                    <a:pt x="370" y="82"/>
                  </a:lnTo>
                  <a:lnTo>
                    <a:pt x="379" y="71"/>
                  </a:lnTo>
                  <a:lnTo>
                    <a:pt x="388" y="60"/>
                  </a:lnTo>
                  <a:lnTo>
                    <a:pt x="390" y="59"/>
                  </a:lnTo>
                  <a:lnTo>
                    <a:pt x="391" y="58"/>
                  </a:lnTo>
                  <a:lnTo>
                    <a:pt x="393" y="59"/>
                  </a:lnTo>
                  <a:lnTo>
                    <a:pt x="395" y="59"/>
                  </a:lnTo>
                  <a:lnTo>
                    <a:pt x="396" y="61"/>
                  </a:lnTo>
                  <a:lnTo>
                    <a:pt x="397" y="62"/>
                  </a:lnTo>
                  <a:lnTo>
                    <a:pt x="397" y="64"/>
                  </a:lnTo>
                  <a:lnTo>
                    <a:pt x="396" y="66"/>
                  </a:lnTo>
                  <a:lnTo>
                    <a:pt x="388" y="76"/>
                  </a:lnTo>
                  <a:lnTo>
                    <a:pt x="380" y="85"/>
                  </a:lnTo>
                  <a:lnTo>
                    <a:pt x="364" y="102"/>
                  </a:lnTo>
                  <a:lnTo>
                    <a:pt x="356" y="111"/>
                  </a:lnTo>
                  <a:lnTo>
                    <a:pt x="347" y="119"/>
                  </a:lnTo>
                  <a:lnTo>
                    <a:pt x="329" y="134"/>
                  </a:lnTo>
                  <a:lnTo>
                    <a:pt x="311" y="149"/>
                  </a:lnTo>
                  <a:lnTo>
                    <a:pt x="302" y="155"/>
                  </a:lnTo>
                  <a:lnTo>
                    <a:pt x="292" y="162"/>
                  </a:lnTo>
                  <a:lnTo>
                    <a:pt x="273" y="175"/>
                  </a:lnTo>
                  <a:lnTo>
                    <a:pt x="252" y="187"/>
                  </a:lnTo>
                  <a:lnTo>
                    <a:pt x="263" y="182"/>
                  </a:lnTo>
                  <a:lnTo>
                    <a:pt x="274" y="177"/>
                  </a:lnTo>
                  <a:lnTo>
                    <a:pt x="295" y="166"/>
                  </a:lnTo>
                  <a:lnTo>
                    <a:pt x="315" y="155"/>
                  </a:lnTo>
                  <a:lnTo>
                    <a:pt x="325" y="148"/>
                  </a:lnTo>
                  <a:lnTo>
                    <a:pt x="334" y="142"/>
                  </a:lnTo>
                  <a:lnTo>
                    <a:pt x="344" y="135"/>
                  </a:lnTo>
                  <a:lnTo>
                    <a:pt x="353" y="128"/>
                  </a:lnTo>
                  <a:lnTo>
                    <a:pt x="362" y="121"/>
                  </a:lnTo>
                  <a:lnTo>
                    <a:pt x="371" y="113"/>
                  </a:lnTo>
                  <a:lnTo>
                    <a:pt x="380" y="105"/>
                  </a:lnTo>
                  <a:lnTo>
                    <a:pt x="389" y="97"/>
                  </a:lnTo>
                  <a:lnTo>
                    <a:pt x="405" y="80"/>
                  </a:lnTo>
                  <a:lnTo>
                    <a:pt x="407" y="79"/>
                  </a:lnTo>
                  <a:lnTo>
                    <a:pt x="409" y="79"/>
                  </a:lnTo>
                  <a:lnTo>
                    <a:pt x="410" y="79"/>
                  </a:lnTo>
                  <a:lnTo>
                    <a:pt x="412" y="80"/>
                  </a:lnTo>
                  <a:lnTo>
                    <a:pt x="413" y="81"/>
                  </a:lnTo>
                  <a:lnTo>
                    <a:pt x="413" y="83"/>
                  </a:lnTo>
                  <a:lnTo>
                    <a:pt x="413" y="85"/>
                  </a:lnTo>
                  <a:lnTo>
                    <a:pt x="412" y="87"/>
                  </a:lnTo>
                  <a:lnTo>
                    <a:pt x="404" y="95"/>
                  </a:lnTo>
                  <a:lnTo>
                    <a:pt x="396" y="104"/>
                  </a:lnTo>
                  <a:lnTo>
                    <a:pt x="387" y="112"/>
                  </a:lnTo>
                  <a:lnTo>
                    <a:pt x="378" y="120"/>
                  </a:lnTo>
                  <a:lnTo>
                    <a:pt x="360" y="134"/>
                  </a:lnTo>
                  <a:lnTo>
                    <a:pt x="342" y="148"/>
                  </a:lnTo>
                  <a:lnTo>
                    <a:pt x="322" y="161"/>
                  </a:lnTo>
                  <a:lnTo>
                    <a:pt x="302" y="173"/>
                  </a:lnTo>
                  <a:lnTo>
                    <a:pt x="292" y="179"/>
                  </a:lnTo>
                  <a:lnTo>
                    <a:pt x="281" y="184"/>
                  </a:lnTo>
                  <a:lnTo>
                    <a:pt x="271" y="189"/>
                  </a:lnTo>
                  <a:lnTo>
                    <a:pt x="260" y="194"/>
                  </a:lnTo>
                  <a:lnTo>
                    <a:pt x="281" y="189"/>
                  </a:lnTo>
                  <a:lnTo>
                    <a:pt x="303" y="183"/>
                  </a:lnTo>
                  <a:lnTo>
                    <a:pt x="313" y="180"/>
                  </a:lnTo>
                  <a:lnTo>
                    <a:pt x="323" y="176"/>
                  </a:lnTo>
                  <a:lnTo>
                    <a:pt x="332" y="172"/>
                  </a:lnTo>
                  <a:lnTo>
                    <a:pt x="341" y="168"/>
                  </a:lnTo>
                  <a:lnTo>
                    <a:pt x="353" y="162"/>
                  </a:lnTo>
                  <a:lnTo>
                    <a:pt x="364" y="157"/>
                  </a:lnTo>
                  <a:lnTo>
                    <a:pt x="376" y="153"/>
                  </a:lnTo>
                  <a:lnTo>
                    <a:pt x="382" y="151"/>
                  </a:lnTo>
                  <a:lnTo>
                    <a:pt x="389" y="150"/>
                  </a:lnTo>
                  <a:lnTo>
                    <a:pt x="403" y="149"/>
                  </a:lnTo>
                  <a:lnTo>
                    <a:pt x="409" y="149"/>
                  </a:lnTo>
                  <a:lnTo>
                    <a:pt x="416" y="149"/>
                  </a:lnTo>
                  <a:lnTo>
                    <a:pt x="428" y="151"/>
                  </a:lnTo>
                  <a:lnTo>
                    <a:pt x="441" y="154"/>
                  </a:lnTo>
                  <a:lnTo>
                    <a:pt x="443" y="155"/>
                  </a:lnTo>
                  <a:lnTo>
                    <a:pt x="444" y="156"/>
                  </a:lnTo>
                  <a:lnTo>
                    <a:pt x="445" y="158"/>
                  </a:lnTo>
                  <a:lnTo>
                    <a:pt x="445" y="160"/>
                  </a:lnTo>
                  <a:lnTo>
                    <a:pt x="444" y="161"/>
                  </a:lnTo>
                  <a:lnTo>
                    <a:pt x="443" y="162"/>
                  </a:lnTo>
                  <a:lnTo>
                    <a:pt x="441" y="163"/>
                  </a:lnTo>
                  <a:lnTo>
                    <a:pt x="439" y="163"/>
                  </a:lnTo>
                  <a:lnTo>
                    <a:pt x="428" y="161"/>
                  </a:lnTo>
                  <a:lnTo>
                    <a:pt x="418" y="159"/>
                  </a:lnTo>
                  <a:lnTo>
                    <a:pt x="408" y="158"/>
                  </a:lnTo>
                  <a:lnTo>
                    <a:pt x="399" y="159"/>
                  </a:lnTo>
                  <a:lnTo>
                    <a:pt x="394" y="159"/>
                  </a:lnTo>
                  <a:lnTo>
                    <a:pt x="389" y="160"/>
                  </a:lnTo>
                  <a:lnTo>
                    <a:pt x="379" y="162"/>
                  </a:lnTo>
                  <a:lnTo>
                    <a:pt x="370" y="165"/>
                  </a:lnTo>
                  <a:lnTo>
                    <a:pt x="360" y="169"/>
                  </a:lnTo>
                  <a:lnTo>
                    <a:pt x="344" y="177"/>
                  </a:lnTo>
                  <a:lnTo>
                    <a:pt x="336" y="181"/>
                  </a:lnTo>
                  <a:lnTo>
                    <a:pt x="328" y="184"/>
                  </a:lnTo>
                  <a:lnTo>
                    <a:pt x="300" y="193"/>
                  </a:lnTo>
                  <a:lnTo>
                    <a:pt x="275" y="200"/>
                  </a:lnTo>
                  <a:lnTo>
                    <a:pt x="438" y="193"/>
                  </a:lnTo>
                  <a:lnTo>
                    <a:pt x="440" y="193"/>
                  </a:lnTo>
                  <a:lnTo>
                    <a:pt x="441" y="194"/>
                  </a:lnTo>
                  <a:lnTo>
                    <a:pt x="442" y="196"/>
                  </a:lnTo>
                  <a:lnTo>
                    <a:pt x="443" y="197"/>
                  </a:lnTo>
                  <a:lnTo>
                    <a:pt x="443" y="199"/>
                  </a:lnTo>
                  <a:lnTo>
                    <a:pt x="442" y="201"/>
                  </a:lnTo>
                  <a:lnTo>
                    <a:pt x="440" y="202"/>
                  </a:lnTo>
                  <a:lnTo>
                    <a:pt x="438" y="202"/>
                  </a:lnTo>
                  <a:lnTo>
                    <a:pt x="310" y="208"/>
                  </a:lnTo>
                  <a:lnTo>
                    <a:pt x="420" y="212"/>
                  </a:lnTo>
                  <a:lnTo>
                    <a:pt x="422" y="213"/>
                  </a:lnTo>
                  <a:lnTo>
                    <a:pt x="423" y="214"/>
                  </a:lnTo>
                  <a:lnTo>
                    <a:pt x="424" y="216"/>
                  </a:lnTo>
                  <a:lnTo>
                    <a:pt x="424" y="217"/>
                  </a:lnTo>
                  <a:lnTo>
                    <a:pt x="424" y="219"/>
                  </a:lnTo>
                  <a:lnTo>
                    <a:pt x="423" y="221"/>
                  </a:lnTo>
                  <a:lnTo>
                    <a:pt x="421" y="222"/>
                  </a:lnTo>
                  <a:lnTo>
                    <a:pt x="419" y="222"/>
                  </a:lnTo>
                  <a:lnTo>
                    <a:pt x="229" y="214"/>
                  </a:lnTo>
                  <a:lnTo>
                    <a:pt x="378" y="264"/>
                  </a:lnTo>
                  <a:lnTo>
                    <a:pt x="380" y="265"/>
                  </a:lnTo>
                  <a:lnTo>
                    <a:pt x="381" y="267"/>
                  </a:lnTo>
                  <a:lnTo>
                    <a:pt x="382" y="268"/>
                  </a:lnTo>
                  <a:lnTo>
                    <a:pt x="381" y="270"/>
                  </a:lnTo>
                  <a:lnTo>
                    <a:pt x="380" y="272"/>
                  </a:lnTo>
                  <a:lnTo>
                    <a:pt x="379" y="273"/>
                  </a:lnTo>
                  <a:lnTo>
                    <a:pt x="377" y="273"/>
                  </a:lnTo>
                  <a:lnTo>
                    <a:pt x="375" y="273"/>
                  </a:lnTo>
                  <a:lnTo>
                    <a:pt x="232" y="225"/>
                  </a:lnTo>
                  <a:lnTo>
                    <a:pt x="309" y="279"/>
                  </a:lnTo>
                  <a:lnTo>
                    <a:pt x="310" y="281"/>
                  </a:lnTo>
                  <a:lnTo>
                    <a:pt x="311" y="283"/>
                  </a:lnTo>
                  <a:lnTo>
                    <a:pt x="310" y="284"/>
                  </a:lnTo>
                  <a:lnTo>
                    <a:pt x="310" y="286"/>
                  </a:lnTo>
                  <a:lnTo>
                    <a:pt x="308" y="287"/>
                  </a:lnTo>
                  <a:lnTo>
                    <a:pt x="307" y="288"/>
                  </a:lnTo>
                  <a:lnTo>
                    <a:pt x="305" y="288"/>
                  </a:lnTo>
                  <a:lnTo>
                    <a:pt x="303" y="287"/>
                  </a:lnTo>
                  <a:lnTo>
                    <a:pt x="249" y="249"/>
                  </a:lnTo>
                  <a:lnTo>
                    <a:pt x="298" y="295"/>
                  </a:lnTo>
                  <a:lnTo>
                    <a:pt x="300" y="297"/>
                  </a:lnTo>
                  <a:lnTo>
                    <a:pt x="300" y="299"/>
                  </a:lnTo>
                  <a:lnTo>
                    <a:pt x="300" y="301"/>
                  </a:lnTo>
                  <a:lnTo>
                    <a:pt x="299" y="302"/>
                  </a:lnTo>
                  <a:lnTo>
                    <a:pt x="297" y="303"/>
                  </a:lnTo>
                  <a:lnTo>
                    <a:pt x="296" y="304"/>
                  </a:lnTo>
                  <a:lnTo>
                    <a:pt x="294" y="304"/>
                  </a:lnTo>
                  <a:lnTo>
                    <a:pt x="293" y="303"/>
                  </a:lnTo>
                  <a:lnTo>
                    <a:pt x="292" y="302"/>
                  </a:lnTo>
                  <a:lnTo>
                    <a:pt x="200"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1955"/>
            <p:cNvSpPr>
              <a:spLocks noEditPoints="1"/>
            </p:cNvSpPr>
            <p:nvPr userDrawn="1"/>
          </p:nvSpPr>
          <p:spPr bwMode="auto">
            <a:xfrm>
              <a:off x="7497763" y="2867397"/>
              <a:ext cx="1082675" cy="903288"/>
            </a:xfrm>
            <a:custGeom>
              <a:avLst/>
              <a:gdLst>
                <a:gd name="T0" fmla="*/ 478 w 682"/>
                <a:gd name="T1" fmla="*/ 163 h 569"/>
                <a:gd name="T2" fmla="*/ 56 w 682"/>
                <a:gd name="T3" fmla="*/ 508 h 569"/>
                <a:gd name="T4" fmla="*/ 50 w 682"/>
                <a:gd name="T5" fmla="*/ 497 h 569"/>
                <a:gd name="T6" fmla="*/ 101 w 682"/>
                <a:gd name="T7" fmla="*/ 479 h 569"/>
                <a:gd name="T8" fmla="*/ 63 w 682"/>
                <a:gd name="T9" fmla="*/ 526 h 569"/>
                <a:gd name="T10" fmla="*/ 98 w 682"/>
                <a:gd name="T11" fmla="*/ 485 h 569"/>
                <a:gd name="T12" fmla="*/ 343 w 682"/>
                <a:gd name="T13" fmla="*/ 287 h 569"/>
                <a:gd name="T14" fmla="*/ 230 w 682"/>
                <a:gd name="T15" fmla="*/ 365 h 569"/>
                <a:gd name="T16" fmla="*/ 100 w 682"/>
                <a:gd name="T17" fmla="*/ 499 h 569"/>
                <a:gd name="T18" fmla="*/ 59 w 682"/>
                <a:gd name="T19" fmla="*/ 542 h 569"/>
                <a:gd name="T20" fmla="*/ 3 w 682"/>
                <a:gd name="T21" fmla="*/ 568 h 569"/>
                <a:gd name="T22" fmla="*/ 19 w 682"/>
                <a:gd name="T23" fmla="*/ 521 h 569"/>
                <a:gd name="T24" fmla="*/ 60 w 682"/>
                <a:gd name="T25" fmla="*/ 477 h 569"/>
                <a:gd name="T26" fmla="*/ 111 w 682"/>
                <a:gd name="T27" fmla="*/ 458 h 569"/>
                <a:gd name="T28" fmla="*/ 279 w 682"/>
                <a:gd name="T29" fmla="*/ 315 h 569"/>
                <a:gd name="T30" fmla="*/ 384 w 682"/>
                <a:gd name="T31" fmla="*/ 254 h 569"/>
                <a:gd name="T32" fmla="*/ 350 w 682"/>
                <a:gd name="T33" fmla="*/ 52 h 569"/>
                <a:gd name="T34" fmla="*/ 428 w 682"/>
                <a:gd name="T35" fmla="*/ 201 h 569"/>
                <a:gd name="T36" fmla="*/ 394 w 682"/>
                <a:gd name="T37" fmla="*/ 85 h 569"/>
                <a:gd name="T38" fmla="*/ 378 w 682"/>
                <a:gd name="T39" fmla="*/ 42 h 569"/>
                <a:gd name="T40" fmla="*/ 408 w 682"/>
                <a:gd name="T41" fmla="*/ 94 h 569"/>
                <a:gd name="T42" fmla="*/ 418 w 682"/>
                <a:gd name="T43" fmla="*/ 25 h 569"/>
                <a:gd name="T44" fmla="*/ 441 w 682"/>
                <a:gd name="T45" fmla="*/ 205 h 569"/>
                <a:gd name="T46" fmla="*/ 453 w 682"/>
                <a:gd name="T47" fmla="*/ 81 h 569"/>
                <a:gd name="T48" fmla="*/ 443 w 682"/>
                <a:gd name="T49" fmla="*/ 4 h 569"/>
                <a:gd name="T50" fmla="*/ 451 w 682"/>
                <a:gd name="T51" fmla="*/ 2 h 569"/>
                <a:gd name="T52" fmla="*/ 462 w 682"/>
                <a:gd name="T53" fmla="*/ 68 h 569"/>
                <a:gd name="T54" fmla="*/ 480 w 682"/>
                <a:gd name="T55" fmla="*/ 88 h 569"/>
                <a:gd name="T56" fmla="*/ 484 w 682"/>
                <a:gd name="T57" fmla="*/ 70 h 569"/>
                <a:gd name="T58" fmla="*/ 512 w 682"/>
                <a:gd name="T59" fmla="*/ 30 h 569"/>
                <a:gd name="T60" fmla="*/ 493 w 682"/>
                <a:gd name="T61" fmla="*/ 118 h 569"/>
                <a:gd name="T62" fmla="*/ 479 w 682"/>
                <a:gd name="T63" fmla="*/ 189 h 569"/>
                <a:gd name="T64" fmla="*/ 620 w 682"/>
                <a:gd name="T65" fmla="*/ 139 h 569"/>
                <a:gd name="T66" fmla="*/ 456 w 682"/>
                <a:gd name="T67" fmla="*/ 232 h 569"/>
                <a:gd name="T68" fmla="*/ 574 w 682"/>
                <a:gd name="T69" fmla="*/ 214 h 569"/>
                <a:gd name="T70" fmla="*/ 660 w 682"/>
                <a:gd name="T71" fmla="*/ 175 h 569"/>
                <a:gd name="T72" fmla="*/ 667 w 682"/>
                <a:gd name="T73" fmla="*/ 182 h 569"/>
                <a:gd name="T74" fmla="*/ 593 w 682"/>
                <a:gd name="T75" fmla="*/ 218 h 569"/>
                <a:gd name="T76" fmla="*/ 490 w 682"/>
                <a:gd name="T77" fmla="*/ 240 h 569"/>
                <a:gd name="T78" fmla="*/ 568 w 682"/>
                <a:gd name="T79" fmla="*/ 272 h 569"/>
                <a:gd name="T80" fmla="*/ 677 w 682"/>
                <a:gd name="T81" fmla="*/ 278 h 569"/>
                <a:gd name="T82" fmla="*/ 680 w 682"/>
                <a:gd name="T83" fmla="*/ 287 h 569"/>
                <a:gd name="T84" fmla="*/ 571 w 682"/>
                <a:gd name="T85" fmla="*/ 282 h 569"/>
                <a:gd name="T86" fmla="*/ 536 w 682"/>
                <a:gd name="T87" fmla="*/ 280 h 569"/>
                <a:gd name="T88" fmla="*/ 650 w 682"/>
                <a:gd name="T89" fmla="*/ 303 h 569"/>
                <a:gd name="T90" fmla="*/ 677 w 682"/>
                <a:gd name="T91" fmla="*/ 312 h 569"/>
                <a:gd name="T92" fmla="*/ 603 w 682"/>
                <a:gd name="T93" fmla="*/ 307 h 569"/>
                <a:gd name="T94" fmla="*/ 510 w 682"/>
                <a:gd name="T95" fmla="*/ 285 h 569"/>
                <a:gd name="T96" fmla="*/ 600 w 682"/>
                <a:gd name="T97" fmla="*/ 331 h 569"/>
                <a:gd name="T98" fmla="*/ 643 w 682"/>
                <a:gd name="T99" fmla="*/ 380 h 569"/>
                <a:gd name="T100" fmla="*/ 636 w 682"/>
                <a:gd name="T101" fmla="*/ 386 h 569"/>
                <a:gd name="T102" fmla="*/ 604 w 682"/>
                <a:gd name="T103" fmla="*/ 345 h 569"/>
                <a:gd name="T104" fmla="*/ 520 w 682"/>
                <a:gd name="T105" fmla="*/ 302 h 569"/>
                <a:gd name="T106" fmla="*/ 610 w 682"/>
                <a:gd name="T107" fmla="*/ 412 h 569"/>
                <a:gd name="T108" fmla="*/ 586 w 682"/>
                <a:gd name="T109" fmla="*/ 407 h 569"/>
                <a:gd name="T110" fmla="*/ 456 w 682"/>
                <a:gd name="T111" fmla="*/ 263 h 569"/>
                <a:gd name="T112" fmla="*/ 513 w 682"/>
                <a:gd name="T113" fmla="*/ 414 h 569"/>
                <a:gd name="T114" fmla="*/ 458 w 682"/>
                <a:gd name="T115" fmla="*/ 370 h 569"/>
                <a:gd name="T116" fmla="*/ 444 w 682"/>
                <a:gd name="T117" fmla="*/ 301 h 569"/>
                <a:gd name="T118" fmla="*/ 434 w 682"/>
                <a:gd name="T119" fmla="*/ 372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69">
                  <a:moveTo>
                    <a:pt x="452" y="215"/>
                  </a:moveTo>
                  <a:lnTo>
                    <a:pt x="458" y="207"/>
                  </a:lnTo>
                  <a:lnTo>
                    <a:pt x="463" y="199"/>
                  </a:lnTo>
                  <a:lnTo>
                    <a:pt x="468" y="190"/>
                  </a:lnTo>
                  <a:lnTo>
                    <a:pt x="472" y="182"/>
                  </a:lnTo>
                  <a:lnTo>
                    <a:pt x="476" y="172"/>
                  </a:lnTo>
                  <a:lnTo>
                    <a:pt x="478" y="163"/>
                  </a:lnTo>
                  <a:lnTo>
                    <a:pt x="481" y="153"/>
                  </a:lnTo>
                  <a:lnTo>
                    <a:pt x="482" y="143"/>
                  </a:lnTo>
                  <a:lnTo>
                    <a:pt x="483" y="133"/>
                  </a:lnTo>
                  <a:lnTo>
                    <a:pt x="484" y="124"/>
                  </a:lnTo>
                  <a:lnTo>
                    <a:pt x="452" y="215"/>
                  </a:lnTo>
                  <a:close/>
                  <a:moveTo>
                    <a:pt x="15" y="547"/>
                  </a:moveTo>
                  <a:lnTo>
                    <a:pt x="56" y="508"/>
                  </a:lnTo>
                  <a:lnTo>
                    <a:pt x="97" y="470"/>
                  </a:lnTo>
                  <a:lnTo>
                    <a:pt x="89" y="473"/>
                  </a:lnTo>
                  <a:lnTo>
                    <a:pt x="81" y="476"/>
                  </a:lnTo>
                  <a:lnTo>
                    <a:pt x="74" y="480"/>
                  </a:lnTo>
                  <a:lnTo>
                    <a:pt x="65" y="485"/>
                  </a:lnTo>
                  <a:lnTo>
                    <a:pt x="57" y="491"/>
                  </a:lnTo>
                  <a:lnTo>
                    <a:pt x="50" y="497"/>
                  </a:lnTo>
                  <a:lnTo>
                    <a:pt x="43" y="505"/>
                  </a:lnTo>
                  <a:lnTo>
                    <a:pt x="36" y="512"/>
                  </a:lnTo>
                  <a:lnTo>
                    <a:pt x="30" y="520"/>
                  </a:lnTo>
                  <a:lnTo>
                    <a:pt x="24" y="529"/>
                  </a:lnTo>
                  <a:lnTo>
                    <a:pt x="19" y="538"/>
                  </a:lnTo>
                  <a:lnTo>
                    <a:pt x="15" y="547"/>
                  </a:lnTo>
                  <a:close/>
                  <a:moveTo>
                    <a:pt x="101" y="479"/>
                  </a:moveTo>
                  <a:lnTo>
                    <a:pt x="62" y="515"/>
                  </a:lnTo>
                  <a:lnTo>
                    <a:pt x="24" y="552"/>
                  </a:lnTo>
                  <a:lnTo>
                    <a:pt x="36" y="546"/>
                  </a:lnTo>
                  <a:lnTo>
                    <a:pt x="41" y="542"/>
                  </a:lnTo>
                  <a:lnTo>
                    <a:pt x="47" y="539"/>
                  </a:lnTo>
                  <a:lnTo>
                    <a:pt x="58" y="530"/>
                  </a:lnTo>
                  <a:lnTo>
                    <a:pt x="63" y="526"/>
                  </a:lnTo>
                  <a:lnTo>
                    <a:pt x="68" y="522"/>
                  </a:lnTo>
                  <a:lnTo>
                    <a:pt x="78" y="512"/>
                  </a:lnTo>
                  <a:lnTo>
                    <a:pt x="83" y="507"/>
                  </a:lnTo>
                  <a:lnTo>
                    <a:pt x="87" y="501"/>
                  </a:lnTo>
                  <a:lnTo>
                    <a:pt x="91" y="496"/>
                  </a:lnTo>
                  <a:lnTo>
                    <a:pt x="95" y="490"/>
                  </a:lnTo>
                  <a:lnTo>
                    <a:pt x="98" y="485"/>
                  </a:lnTo>
                  <a:lnTo>
                    <a:pt x="101" y="479"/>
                  </a:lnTo>
                  <a:close/>
                  <a:moveTo>
                    <a:pt x="436" y="242"/>
                  </a:moveTo>
                  <a:lnTo>
                    <a:pt x="420" y="249"/>
                  </a:lnTo>
                  <a:lnTo>
                    <a:pt x="404" y="256"/>
                  </a:lnTo>
                  <a:lnTo>
                    <a:pt x="373" y="271"/>
                  </a:lnTo>
                  <a:lnTo>
                    <a:pt x="358" y="279"/>
                  </a:lnTo>
                  <a:lnTo>
                    <a:pt x="343" y="287"/>
                  </a:lnTo>
                  <a:lnTo>
                    <a:pt x="313" y="304"/>
                  </a:lnTo>
                  <a:lnTo>
                    <a:pt x="299" y="314"/>
                  </a:lnTo>
                  <a:lnTo>
                    <a:pt x="285" y="323"/>
                  </a:lnTo>
                  <a:lnTo>
                    <a:pt x="271" y="333"/>
                  </a:lnTo>
                  <a:lnTo>
                    <a:pt x="257" y="343"/>
                  </a:lnTo>
                  <a:lnTo>
                    <a:pt x="243" y="354"/>
                  </a:lnTo>
                  <a:lnTo>
                    <a:pt x="230" y="365"/>
                  </a:lnTo>
                  <a:lnTo>
                    <a:pt x="204" y="387"/>
                  </a:lnTo>
                  <a:lnTo>
                    <a:pt x="161" y="425"/>
                  </a:lnTo>
                  <a:lnTo>
                    <a:pt x="118" y="463"/>
                  </a:lnTo>
                  <a:lnTo>
                    <a:pt x="114" y="473"/>
                  </a:lnTo>
                  <a:lnTo>
                    <a:pt x="110" y="482"/>
                  </a:lnTo>
                  <a:lnTo>
                    <a:pt x="105" y="491"/>
                  </a:lnTo>
                  <a:lnTo>
                    <a:pt x="100" y="499"/>
                  </a:lnTo>
                  <a:lnTo>
                    <a:pt x="94" y="507"/>
                  </a:lnTo>
                  <a:lnTo>
                    <a:pt x="88" y="515"/>
                  </a:lnTo>
                  <a:lnTo>
                    <a:pt x="85" y="519"/>
                  </a:lnTo>
                  <a:lnTo>
                    <a:pt x="81" y="522"/>
                  </a:lnTo>
                  <a:lnTo>
                    <a:pt x="74" y="529"/>
                  </a:lnTo>
                  <a:lnTo>
                    <a:pt x="67" y="536"/>
                  </a:lnTo>
                  <a:lnTo>
                    <a:pt x="59" y="542"/>
                  </a:lnTo>
                  <a:lnTo>
                    <a:pt x="51" y="547"/>
                  </a:lnTo>
                  <a:lnTo>
                    <a:pt x="42" y="553"/>
                  </a:lnTo>
                  <a:lnTo>
                    <a:pt x="33" y="557"/>
                  </a:lnTo>
                  <a:lnTo>
                    <a:pt x="24" y="562"/>
                  </a:lnTo>
                  <a:lnTo>
                    <a:pt x="15" y="566"/>
                  </a:lnTo>
                  <a:lnTo>
                    <a:pt x="5" y="569"/>
                  </a:lnTo>
                  <a:lnTo>
                    <a:pt x="3" y="568"/>
                  </a:lnTo>
                  <a:lnTo>
                    <a:pt x="1" y="567"/>
                  </a:lnTo>
                  <a:lnTo>
                    <a:pt x="0" y="565"/>
                  </a:lnTo>
                  <a:lnTo>
                    <a:pt x="0" y="564"/>
                  </a:lnTo>
                  <a:lnTo>
                    <a:pt x="4" y="551"/>
                  </a:lnTo>
                  <a:lnTo>
                    <a:pt x="9" y="538"/>
                  </a:lnTo>
                  <a:lnTo>
                    <a:pt x="15" y="526"/>
                  </a:lnTo>
                  <a:lnTo>
                    <a:pt x="19" y="521"/>
                  </a:lnTo>
                  <a:lnTo>
                    <a:pt x="23" y="515"/>
                  </a:lnTo>
                  <a:lnTo>
                    <a:pt x="31" y="504"/>
                  </a:lnTo>
                  <a:lnTo>
                    <a:pt x="35" y="499"/>
                  </a:lnTo>
                  <a:lnTo>
                    <a:pt x="40" y="494"/>
                  </a:lnTo>
                  <a:lnTo>
                    <a:pt x="49" y="485"/>
                  </a:lnTo>
                  <a:lnTo>
                    <a:pt x="55" y="481"/>
                  </a:lnTo>
                  <a:lnTo>
                    <a:pt x="60" y="477"/>
                  </a:lnTo>
                  <a:lnTo>
                    <a:pt x="66" y="473"/>
                  </a:lnTo>
                  <a:lnTo>
                    <a:pt x="73" y="470"/>
                  </a:lnTo>
                  <a:lnTo>
                    <a:pt x="78" y="467"/>
                  </a:lnTo>
                  <a:lnTo>
                    <a:pt x="84" y="464"/>
                  </a:lnTo>
                  <a:lnTo>
                    <a:pt x="97" y="460"/>
                  </a:lnTo>
                  <a:lnTo>
                    <a:pt x="103" y="459"/>
                  </a:lnTo>
                  <a:lnTo>
                    <a:pt x="111" y="458"/>
                  </a:lnTo>
                  <a:lnTo>
                    <a:pt x="154" y="418"/>
                  </a:lnTo>
                  <a:lnTo>
                    <a:pt x="197" y="380"/>
                  </a:lnTo>
                  <a:lnTo>
                    <a:pt x="211" y="368"/>
                  </a:lnTo>
                  <a:lnTo>
                    <a:pt x="224" y="357"/>
                  </a:lnTo>
                  <a:lnTo>
                    <a:pt x="251" y="336"/>
                  </a:lnTo>
                  <a:lnTo>
                    <a:pt x="265" y="325"/>
                  </a:lnTo>
                  <a:lnTo>
                    <a:pt x="279" y="315"/>
                  </a:lnTo>
                  <a:lnTo>
                    <a:pt x="294" y="306"/>
                  </a:lnTo>
                  <a:lnTo>
                    <a:pt x="308" y="296"/>
                  </a:lnTo>
                  <a:lnTo>
                    <a:pt x="323" y="287"/>
                  </a:lnTo>
                  <a:lnTo>
                    <a:pt x="338" y="279"/>
                  </a:lnTo>
                  <a:lnTo>
                    <a:pt x="353" y="270"/>
                  </a:lnTo>
                  <a:lnTo>
                    <a:pt x="369" y="262"/>
                  </a:lnTo>
                  <a:lnTo>
                    <a:pt x="384" y="254"/>
                  </a:lnTo>
                  <a:lnTo>
                    <a:pt x="400" y="247"/>
                  </a:lnTo>
                  <a:lnTo>
                    <a:pt x="416" y="240"/>
                  </a:lnTo>
                  <a:lnTo>
                    <a:pt x="432" y="234"/>
                  </a:lnTo>
                  <a:lnTo>
                    <a:pt x="432" y="230"/>
                  </a:lnTo>
                  <a:lnTo>
                    <a:pt x="350" y="56"/>
                  </a:lnTo>
                  <a:lnTo>
                    <a:pt x="349" y="54"/>
                  </a:lnTo>
                  <a:lnTo>
                    <a:pt x="350" y="52"/>
                  </a:lnTo>
                  <a:lnTo>
                    <a:pt x="351" y="50"/>
                  </a:lnTo>
                  <a:lnTo>
                    <a:pt x="352" y="49"/>
                  </a:lnTo>
                  <a:lnTo>
                    <a:pt x="354" y="49"/>
                  </a:lnTo>
                  <a:lnTo>
                    <a:pt x="355" y="49"/>
                  </a:lnTo>
                  <a:lnTo>
                    <a:pt x="357" y="50"/>
                  </a:lnTo>
                  <a:lnTo>
                    <a:pt x="358" y="52"/>
                  </a:lnTo>
                  <a:lnTo>
                    <a:pt x="428" y="201"/>
                  </a:lnTo>
                  <a:lnTo>
                    <a:pt x="425" y="181"/>
                  </a:lnTo>
                  <a:lnTo>
                    <a:pt x="420" y="161"/>
                  </a:lnTo>
                  <a:lnTo>
                    <a:pt x="415" y="142"/>
                  </a:lnTo>
                  <a:lnTo>
                    <a:pt x="409" y="122"/>
                  </a:lnTo>
                  <a:lnTo>
                    <a:pt x="402" y="104"/>
                  </a:lnTo>
                  <a:lnTo>
                    <a:pt x="398" y="94"/>
                  </a:lnTo>
                  <a:lnTo>
                    <a:pt x="394" y="85"/>
                  </a:lnTo>
                  <a:lnTo>
                    <a:pt x="384" y="67"/>
                  </a:lnTo>
                  <a:lnTo>
                    <a:pt x="374" y="49"/>
                  </a:lnTo>
                  <a:lnTo>
                    <a:pt x="374" y="47"/>
                  </a:lnTo>
                  <a:lnTo>
                    <a:pt x="374" y="46"/>
                  </a:lnTo>
                  <a:lnTo>
                    <a:pt x="375" y="44"/>
                  </a:lnTo>
                  <a:lnTo>
                    <a:pt x="376" y="43"/>
                  </a:lnTo>
                  <a:lnTo>
                    <a:pt x="378" y="42"/>
                  </a:lnTo>
                  <a:lnTo>
                    <a:pt x="379" y="42"/>
                  </a:lnTo>
                  <a:lnTo>
                    <a:pt x="381" y="43"/>
                  </a:lnTo>
                  <a:lnTo>
                    <a:pt x="383" y="44"/>
                  </a:lnTo>
                  <a:lnTo>
                    <a:pt x="389" y="56"/>
                  </a:lnTo>
                  <a:lnTo>
                    <a:pt x="396" y="69"/>
                  </a:lnTo>
                  <a:lnTo>
                    <a:pt x="402" y="81"/>
                  </a:lnTo>
                  <a:lnTo>
                    <a:pt x="408" y="94"/>
                  </a:lnTo>
                  <a:lnTo>
                    <a:pt x="413" y="106"/>
                  </a:lnTo>
                  <a:lnTo>
                    <a:pt x="418" y="119"/>
                  </a:lnTo>
                  <a:lnTo>
                    <a:pt x="426" y="145"/>
                  </a:lnTo>
                  <a:lnTo>
                    <a:pt x="415" y="30"/>
                  </a:lnTo>
                  <a:lnTo>
                    <a:pt x="416" y="28"/>
                  </a:lnTo>
                  <a:lnTo>
                    <a:pt x="416" y="26"/>
                  </a:lnTo>
                  <a:lnTo>
                    <a:pt x="418" y="25"/>
                  </a:lnTo>
                  <a:lnTo>
                    <a:pt x="420" y="25"/>
                  </a:lnTo>
                  <a:lnTo>
                    <a:pt x="421" y="25"/>
                  </a:lnTo>
                  <a:lnTo>
                    <a:pt x="423" y="25"/>
                  </a:lnTo>
                  <a:lnTo>
                    <a:pt x="424" y="26"/>
                  </a:lnTo>
                  <a:lnTo>
                    <a:pt x="424" y="27"/>
                  </a:lnTo>
                  <a:lnTo>
                    <a:pt x="425" y="29"/>
                  </a:lnTo>
                  <a:lnTo>
                    <a:pt x="441" y="205"/>
                  </a:lnTo>
                  <a:lnTo>
                    <a:pt x="446" y="180"/>
                  </a:lnTo>
                  <a:lnTo>
                    <a:pt x="450" y="155"/>
                  </a:lnTo>
                  <a:lnTo>
                    <a:pt x="452" y="131"/>
                  </a:lnTo>
                  <a:lnTo>
                    <a:pt x="453" y="118"/>
                  </a:lnTo>
                  <a:lnTo>
                    <a:pt x="453" y="106"/>
                  </a:lnTo>
                  <a:lnTo>
                    <a:pt x="453" y="94"/>
                  </a:lnTo>
                  <a:lnTo>
                    <a:pt x="453" y="81"/>
                  </a:lnTo>
                  <a:lnTo>
                    <a:pt x="452" y="69"/>
                  </a:lnTo>
                  <a:lnTo>
                    <a:pt x="451" y="57"/>
                  </a:lnTo>
                  <a:lnTo>
                    <a:pt x="450" y="44"/>
                  </a:lnTo>
                  <a:lnTo>
                    <a:pt x="448" y="32"/>
                  </a:lnTo>
                  <a:lnTo>
                    <a:pt x="446" y="19"/>
                  </a:lnTo>
                  <a:lnTo>
                    <a:pt x="443" y="7"/>
                  </a:lnTo>
                  <a:lnTo>
                    <a:pt x="443" y="4"/>
                  </a:lnTo>
                  <a:lnTo>
                    <a:pt x="443" y="3"/>
                  </a:lnTo>
                  <a:lnTo>
                    <a:pt x="444" y="2"/>
                  </a:lnTo>
                  <a:lnTo>
                    <a:pt x="445" y="1"/>
                  </a:lnTo>
                  <a:lnTo>
                    <a:pt x="446" y="0"/>
                  </a:lnTo>
                  <a:lnTo>
                    <a:pt x="448" y="0"/>
                  </a:lnTo>
                  <a:lnTo>
                    <a:pt x="450" y="0"/>
                  </a:lnTo>
                  <a:lnTo>
                    <a:pt x="451" y="2"/>
                  </a:lnTo>
                  <a:lnTo>
                    <a:pt x="452" y="2"/>
                  </a:lnTo>
                  <a:lnTo>
                    <a:pt x="452" y="4"/>
                  </a:lnTo>
                  <a:lnTo>
                    <a:pt x="454" y="15"/>
                  </a:lnTo>
                  <a:lnTo>
                    <a:pt x="456" y="26"/>
                  </a:lnTo>
                  <a:lnTo>
                    <a:pt x="460" y="47"/>
                  </a:lnTo>
                  <a:lnTo>
                    <a:pt x="461" y="57"/>
                  </a:lnTo>
                  <a:lnTo>
                    <a:pt x="462" y="68"/>
                  </a:lnTo>
                  <a:lnTo>
                    <a:pt x="463" y="89"/>
                  </a:lnTo>
                  <a:lnTo>
                    <a:pt x="463" y="109"/>
                  </a:lnTo>
                  <a:lnTo>
                    <a:pt x="462" y="130"/>
                  </a:lnTo>
                  <a:lnTo>
                    <a:pt x="460" y="151"/>
                  </a:lnTo>
                  <a:lnTo>
                    <a:pt x="457" y="172"/>
                  </a:lnTo>
                  <a:lnTo>
                    <a:pt x="482" y="100"/>
                  </a:lnTo>
                  <a:lnTo>
                    <a:pt x="480" y="88"/>
                  </a:lnTo>
                  <a:lnTo>
                    <a:pt x="476" y="75"/>
                  </a:lnTo>
                  <a:lnTo>
                    <a:pt x="476" y="73"/>
                  </a:lnTo>
                  <a:lnTo>
                    <a:pt x="476" y="71"/>
                  </a:lnTo>
                  <a:lnTo>
                    <a:pt x="478" y="70"/>
                  </a:lnTo>
                  <a:lnTo>
                    <a:pt x="479" y="69"/>
                  </a:lnTo>
                  <a:lnTo>
                    <a:pt x="483" y="69"/>
                  </a:lnTo>
                  <a:lnTo>
                    <a:pt x="484" y="70"/>
                  </a:lnTo>
                  <a:lnTo>
                    <a:pt x="485" y="72"/>
                  </a:lnTo>
                  <a:lnTo>
                    <a:pt x="488" y="83"/>
                  </a:lnTo>
                  <a:lnTo>
                    <a:pt x="506" y="33"/>
                  </a:lnTo>
                  <a:lnTo>
                    <a:pt x="507" y="31"/>
                  </a:lnTo>
                  <a:lnTo>
                    <a:pt x="509" y="30"/>
                  </a:lnTo>
                  <a:lnTo>
                    <a:pt x="510" y="29"/>
                  </a:lnTo>
                  <a:lnTo>
                    <a:pt x="512" y="30"/>
                  </a:lnTo>
                  <a:lnTo>
                    <a:pt x="514" y="31"/>
                  </a:lnTo>
                  <a:lnTo>
                    <a:pt x="515" y="32"/>
                  </a:lnTo>
                  <a:lnTo>
                    <a:pt x="515" y="34"/>
                  </a:lnTo>
                  <a:lnTo>
                    <a:pt x="515" y="36"/>
                  </a:lnTo>
                  <a:lnTo>
                    <a:pt x="492" y="102"/>
                  </a:lnTo>
                  <a:lnTo>
                    <a:pt x="493" y="113"/>
                  </a:lnTo>
                  <a:lnTo>
                    <a:pt x="493" y="118"/>
                  </a:lnTo>
                  <a:lnTo>
                    <a:pt x="493" y="124"/>
                  </a:lnTo>
                  <a:lnTo>
                    <a:pt x="493" y="135"/>
                  </a:lnTo>
                  <a:lnTo>
                    <a:pt x="492" y="146"/>
                  </a:lnTo>
                  <a:lnTo>
                    <a:pt x="490" y="157"/>
                  </a:lnTo>
                  <a:lnTo>
                    <a:pt x="487" y="168"/>
                  </a:lnTo>
                  <a:lnTo>
                    <a:pt x="483" y="179"/>
                  </a:lnTo>
                  <a:lnTo>
                    <a:pt x="479" y="189"/>
                  </a:lnTo>
                  <a:lnTo>
                    <a:pt x="475" y="197"/>
                  </a:lnTo>
                  <a:lnTo>
                    <a:pt x="471" y="205"/>
                  </a:lnTo>
                  <a:lnTo>
                    <a:pt x="467" y="212"/>
                  </a:lnTo>
                  <a:lnTo>
                    <a:pt x="462" y="218"/>
                  </a:lnTo>
                  <a:lnTo>
                    <a:pt x="616" y="139"/>
                  </a:lnTo>
                  <a:lnTo>
                    <a:pt x="618" y="139"/>
                  </a:lnTo>
                  <a:lnTo>
                    <a:pt x="620" y="139"/>
                  </a:lnTo>
                  <a:lnTo>
                    <a:pt x="622" y="140"/>
                  </a:lnTo>
                  <a:lnTo>
                    <a:pt x="623" y="141"/>
                  </a:lnTo>
                  <a:lnTo>
                    <a:pt x="623" y="143"/>
                  </a:lnTo>
                  <a:lnTo>
                    <a:pt x="623" y="145"/>
                  </a:lnTo>
                  <a:lnTo>
                    <a:pt x="622" y="146"/>
                  </a:lnTo>
                  <a:lnTo>
                    <a:pt x="621" y="148"/>
                  </a:lnTo>
                  <a:lnTo>
                    <a:pt x="456" y="232"/>
                  </a:lnTo>
                  <a:lnTo>
                    <a:pt x="469" y="232"/>
                  </a:lnTo>
                  <a:lnTo>
                    <a:pt x="483" y="231"/>
                  </a:lnTo>
                  <a:lnTo>
                    <a:pt x="496" y="230"/>
                  </a:lnTo>
                  <a:lnTo>
                    <a:pt x="509" y="228"/>
                  </a:lnTo>
                  <a:lnTo>
                    <a:pt x="536" y="224"/>
                  </a:lnTo>
                  <a:lnTo>
                    <a:pt x="562" y="217"/>
                  </a:lnTo>
                  <a:lnTo>
                    <a:pt x="574" y="214"/>
                  </a:lnTo>
                  <a:lnTo>
                    <a:pt x="587" y="210"/>
                  </a:lnTo>
                  <a:lnTo>
                    <a:pt x="600" y="205"/>
                  </a:lnTo>
                  <a:lnTo>
                    <a:pt x="612" y="200"/>
                  </a:lnTo>
                  <a:lnTo>
                    <a:pt x="624" y="194"/>
                  </a:lnTo>
                  <a:lnTo>
                    <a:pt x="637" y="188"/>
                  </a:lnTo>
                  <a:lnTo>
                    <a:pt x="649" y="182"/>
                  </a:lnTo>
                  <a:lnTo>
                    <a:pt x="660" y="175"/>
                  </a:lnTo>
                  <a:lnTo>
                    <a:pt x="662" y="174"/>
                  </a:lnTo>
                  <a:lnTo>
                    <a:pt x="664" y="175"/>
                  </a:lnTo>
                  <a:lnTo>
                    <a:pt x="666" y="175"/>
                  </a:lnTo>
                  <a:lnTo>
                    <a:pt x="667" y="177"/>
                  </a:lnTo>
                  <a:lnTo>
                    <a:pt x="668" y="178"/>
                  </a:lnTo>
                  <a:lnTo>
                    <a:pt x="668" y="180"/>
                  </a:lnTo>
                  <a:lnTo>
                    <a:pt x="667" y="182"/>
                  </a:lnTo>
                  <a:lnTo>
                    <a:pt x="665" y="183"/>
                  </a:lnTo>
                  <a:lnTo>
                    <a:pt x="654" y="190"/>
                  </a:lnTo>
                  <a:lnTo>
                    <a:pt x="642" y="196"/>
                  </a:lnTo>
                  <a:lnTo>
                    <a:pt x="630" y="202"/>
                  </a:lnTo>
                  <a:lnTo>
                    <a:pt x="618" y="208"/>
                  </a:lnTo>
                  <a:lnTo>
                    <a:pt x="605" y="213"/>
                  </a:lnTo>
                  <a:lnTo>
                    <a:pt x="593" y="218"/>
                  </a:lnTo>
                  <a:lnTo>
                    <a:pt x="581" y="222"/>
                  </a:lnTo>
                  <a:lnTo>
                    <a:pt x="568" y="226"/>
                  </a:lnTo>
                  <a:lnTo>
                    <a:pt x="555" y="229"/>
                  </a:lnTo>
                  <a:lnTo>
                    <a:pt x="542" y="232"/>
                  </a:lnTo>
                  <a:lnTo>
                    <a:pt x="529" y="234"/>
                  </a:lnTo>
                  <a:lnTo>
                    <a:pt x="516" y="237"/>
                  </a:lnTo>
                  <a:lnTo>
                    <a:pt x="490" y="240"/>
                  </a:lnTo>
                  <a:lnTo>
                    <a:pt x="463" y="241"/>
                  </a:lnTo>
                  <a:lnTo>
                    <a:pt x="489" y="251"/>
                  </a:lnTo>
                  <a:lnTo>
                    <a:pt x="515" y="259"/>
                  </a:lnTo>
                  <a:lnTo>
                    <a:pt x="528" y="263"/>
                  </a:lnTo>
                  <a:lnTo>
                    <a:pt x="541" y="266"/>
                  </a:lnTo>
                  <a:lnTo>
                    <a:pt x="554" y="269"/>
                  </a:lnTo>
                  <a:lnTo>
                    <a:pt x="568" y="272"/>
                  </a:lnTo>
                  <a:lnTo>
                    <a:pt x="581" y="274"/>
                  </a:lnTo>
                  <a:lnTo>
                    <a:pt x="594" y="276"/>
                  </a:lnTo>
                  <a:lnTo>
                    <a:pt x="608" y="277"/>
                  </a:lnTo>
                  <a:lnTo>
                    <a:pt x="621" y="278"/>
                  </a:lnTo>
                  <a:lnTo>
                    <a:pt x="649" y="279"/>
                  </a:lnTo>
                  <a:lnTo>
                    <a:pt x="663" y="279"/>
                  </a:lnTo>
                  <a:lnTo>
                    <a:pt x="677" y="278"/>
                  </a:lnTo>
                  <a:lnTo>
                    <a:pt x="679" y="279"/>
                  </a:lnTo>
                  <a:lnTo>
                    <a:pt x="681" y="280"/>
                  </a:lnTo>
                  <a:lnTo>
                    <a:pt x="682" y="281"/>
                  </a:lnTo>
                  <a:lnTo>
                    <a:pt x="682" y="283"/>
                  </a:lnTo>
                  <a:lnTo>
                    <a:pt x="682" y="284"/>
                  </a:lnTo>
                  <a:lnTo>
                    <a:pt x="681" y="286"/>
                  </a:lnTo>
                  <a:lnTo>
                    <a:pt x="680" y="287"/>
                  </a:lnTo>
                  <a:lnTo>
                    <a:pt x="678" y="288"/>
                  </a:lnTo>
                  <a:lnTo>
                    <a:pt x="653" y="289"/>
                  </a:lnTo>
                  <a:lnTo>
                    <a:pt x="630" y="288"/>
                  </a:lnTo>
                  <a:lnTo>
                    <a:pt x="618" y="288"/>
                  </a:lnTo>
                  <a:lnTo>
                    <a:pt x="606" y="287"/>
                  </a:lnTo>
                  <a:lnTo>
                    <a:pt x="583" y="284"/>
                  </a:lnTo>
                  <a:lnTo>
                    <a:pt x="571" y="282"/>
                  </a:lnTo>
                  <a:lnTo>
                    <a:pt x="560" y="280"/>
                  </a:lnTo>
                  <a:lnTo>
                    <a:pt x="537" y="275"/>
                  </a:lnTo>
                  <a:lnTo>
                    <a:pt x="515" y="269"/>
                  </a:lnTo>
                  <a:lnTo>
                    <a:pt x="492" y="262"/>
                  </a:lnTo>
                  <a:lnTo>
                    <a:pt x="503" y="267"/>
                  </a:lnTo>
                  <a:lnTo>
                    <a:pt x="514" y="271"/>
                  </a:lnTo>
                  <a:lnTo>
                    <a:pt x="536" y="280"/>
                  </a:lnTo>
                  <a:lnTo>
                    <a:pt x="558" y="287"/>
                  </a:lnTo>
                  <a:lnTo>
                    <a:pt x="580" y="293"/>
                  </a:lnTo>
                  <a:lnTo>
                    <a:pt x="592" y="295"/>
                  </a:lnTo>
                  <a:lnTo>
                    <a:pt x="603" y="298"/>
                  </a:lnTo>
                  <a:lnTo>
                    <a:pt x="615" y="300"/>
                  </a:lnTo>
                  <a:lnTo>
                    <a:pt x="626" y="301"/>
                  </a:lnTo>
                  <a:lnTo>
                    <a:pt x="650" y="303"/>
                  </a:lnTo>
                  <a:lnTo>
                    <a:pt x="673" y="304"/>
                  </a:lnTo>
                  <a:lnTo>
                    <a:pt x="675" y="305"/>
                  </a:lnTo>
                  <a:lnTo>
                    <a:pt x="677" y="306"/>
                  </a:lnTo>
                  <a:lnTo>
                    <a:pt x="678" y="307"/>
                  </a:lnTo>
                  <a:lnTo>
                    <a:pt x="678" y="309"/>
                  </a:lnTo>
                  <a:lnTo>
                    <a:pt x="678" y="311"/>
                  </a:lnTo>
                  <a:lnTo>
                    <a:pt x="677" y="312"/>
                  </a:lnTo>
                  <a:lnTo>
                    <a:pt x="675" y="313"/>
                  </a:lnTo>
                  <a:lnTo>
                    <a:pt x="673" y="314"/>
                  </a:lnTo>
                  <a:lnTo>
                    <a:pt x="661" y="314"/>
                  </a:lnTo>
                  <a:lnTo>
                    <a:pt x="650" y="313"/>
                  </a:lnTo>
                  <a:lnTo>
                    <a:pt x="626" y="311"/>
                  </a:lnTo>
                  <a:lnTo>
                    <a:pt x="615" y="309"/>
                  </a:lnTo>
                  <a:lnTo>
                    <a:pt x="603" y="307"/>
                  </a:lnTo>
                  <a:lnTo>
                    <a:pt x="592" y="305"/>
                  </a:lnTo>
                  <a:lnTo>
                    <a:pt x="580" y="303"/>
                  </a:lnTo>
                  <a:lnTo>
                    <a:pt x="558" y="297"/>
                  </a:lnTo>
                  <a:lnTo>
                    <a:pt x="535" y="290"/>
                  </a:lnTo>
                  <a:lnTo>
                    <a:pt x="514" y="282"/>
                  </a:lnTo>
                  <a:lnTo>
                    <a:pt x="492" y="272"/>
                  </a:lnTo>
                  <a:lnTo>
                    <a:pt x="510" y="285"/>
                  </a:lnTo>
                  <a:lnTo>
                    <a:pt x="529" y="297"/>
                  </a:lnTo>
                  <a:lnTo>
                    <a:pt x="547" y="307"/>
                  </a:lnTo>
                  <a:lnTo>
                    <a:pt x="556" y="312"/>
                  </a:lnTo>
                  <a:lnTo>
                    <a:pt x="565" y="316"/>
                  </a:lnTo>
                  <a:lnTo>
                    <a:pt x="578" y="321"/>
                  </a:lnTo>
                  <a:lnTo>
                    <a:pt x="589" y="325"/>
                  </a:lnTo>
                  <a:lnTo>
                    <a:pt x="600" y="331"/>
                  </a:lnTo>
                  <a:lnTo>
                    <a:pt x="606" y="335"/>
                  </a:lnTo>
                  <a:lnTo>
                    <a:pt x="611" y="339"/>
                  </a:lnTo>
                  <a:lnTo>
                    <a:pt x="621" y="349"/>
                  </a:lnTo>
                  <a:lnTo>
                    <a:pt x="625" y="353"/>
                  </a:lnTo>
                  <a:lnTo>
                    <a:pt x="629" y="358"/>
                  </a:lnTo>
                  <a:lnTo>
                    <a:pt x="636" y="368"/>
                  </a:lnTo>
                  <a:lnTo>
                    <a:pt x="643" y="380"/>
                  </a:lnTo>
                  <a:lnTo>
                    <a:pt x="644" y="382"/>
                  </a:lnTo>
                  <a:lnTo>
                    <a:pt x="643" y="384"/>
                  </a:lnTo>
                  <a:lnTo>
                    <a:pt x="642" y="386"/>
                  </a:lnTo>
                  <a:lnTo>
                    <a:pt x="641" y="387"/>
                  </a:lnTo>
                  <a:lnTo>
                    <a:pt x="639" y="387"/>
                  </a:lnTo>
                  <a:lnTo>
                    <a:pt x="637" y="387"/>
                  </a:lnTo>
                  <a:lnTo>
                    <a:pt x="636" y="386"/>
                  </a:lnTo>
                  <a:lnTo>
                    <a:pt x="635" y="385"/>
                  </a:lnTo>
                  <a:lnTo>
                    <a:pt x="629" y="375"/>
                  </a:lnTo>
                  <a:lnTo>
                    <a:pt x="624" y="367"/>
                  </a:lnTo>
                  <a:lnTo>
                    <a:pt x="618" y="359"/>
                  </a:lnTo>
                  <a:lnTo>
                    <a:pt x="614" y="355"/>
                  </a:lnTo>
                  <a:lnTo>
                    <a:pt x="611" y="352"/>
                  </a:lnTo>
                  <a:lnTo>
                    <a:pt x="604" y="345"/>
                  </a:lnTo>
                  <a:lnTo>
                    <a:pt x="596" y="340"/>
                  </a:lnTo>
                  <a:lnTo>
                    <a:pt x="587" y="335"/>
                  </a:lnTo>
                  <a:lnTo>
                    <a:pt x="577" y="330"/>
                  </a:lnTo>
                  <a:lnTo>
                    <a:pt x="561" y="324"/>
                  </a:lnTo>
                  <a:lnTo>
                    <a:pt x="553" y="320"/>
                  </a:lnTo>
                  <a:lnTo>
                    <a:pt x="545" y="316"/>
                  </a:lnTo>
                  <a:lnTo>
                    <a:pt x="520" y="302"/>
                  </a:lnTo>
                  <a:lnTo>
                    <a:pt x="498" y="288"/>
                  </a:lnTo>
                  <a:lnTo>
                    <a:pt x="612" y="404"/>
                  </a:lnTo>
                  <a:lnTo>
                    <a:pt x="613" y="406"/>
                  </a:lnTo>
                  <a:lnTo>
                    <a:pt x="613" y="407"/>
                  </a:lnTo>
                  <a:lnTo>
                    <a:pt x="613" y="409"/>
                  </a:lnTo>
                  <a:lnTo>
                    <a:pt x="612" y="411"/>
                  </a:lnTo>
                  <a:lnTo>
                    <a:pt x="610" y="412"/>
                  </a:lnTo>
                  <a:lnTo>
                    <a:pt x="609" y="412"/>
                  </a:lnTo>
                  <a:lnTo>
                    <a:pt x="607" y="412"/>
                  </a:lnTo>
                  <a:lnTo>
                    <a:pt x="605" y="411"/>
                  </a:lnTo>
                  <a:lnTo>
                    <a:pt x="515" y="319"/>
                  </a:lnTo>
                  <a:lnTo>
                    <a:pt x="585" y="403"/>
                  </a:lnTo>
                  <a:lnTo>
                    <a:pt x="586" y="405"/>
                  </a:lnTo>
                  <a:lnTo>
                    <a:pt x="586" y="407"/>
                  </a:lnTo>
                  <a:lnTo>
                    <a:pt x="586" y="409"/>
                  </a:lnTo>
                  <a:lnTo>
                    <a:pt x="584" y="410"/>
                  </a:lnTo>
                  <a:lnTo>
                    <a:pt x="583" y="411"/>
                  </a:lnTo>
                  <a:lnTo>
                    <a:pt x="581" y="411"/>
                  </a:lnTo>
                  <a:lnTo>
                    <a:pt x="579" y="411"/>
                  </a:lnTo>
                  <a:lnTo>
                    <a:pt x="578" y="409"/>
                  </a:lnTo>
                  <a:lnTo>
                    <a:pt x="456" y="263"/>
                  </a:lnTo>
                  <a:lnTo>
                    <a:pt x="519" y="407"/>
                  </a:lnTo>
                  <a:lnTo>
                    <a:pt x="519" y="410"/>
                  </a:lnTo>
                  <a:lnTo>
                    <a:pt x="519" y="411"/>
                  </a:lnTo>
                  <a:lnTo>
                    <a:pt x="518" y="413"/>
                  </a:lnTo>
                  <a:lnTo>
                    <a:pt x="516" y="414"/>
                  </a:lnTo>
                  <a:lnTo>
                    <a:pt x="515" y="414"/>
                  </a:lnTo>
                  <a:lnTo>
                    <a:pt x="513" y="414"/>
                  </a:lnTo>
                  <a:lnTo>
                    <a:pt x="511" y="413"/>
                  </a:lnTo>
                  <a:lnTo>
                    <a:pt x="510" y="411"/>
                  </a:lnTo>
                  <a:lnTo>
                    <a:pt x="450" y="272"/>
                  </a:lnTo>
                  <a:lnTo>
                    <a:pt x="461" y="366"/>
                  </a:lnTo>
                  <a:lnTo>
                    <a:pt x="461" y="368"/>
                  </a:lnTo>
                  <a:lnTo>
                    <a:pt x="460" y="369"/>
                  </a:lnTo>
                  <a:lnTo>
                    <a:pt x="458" y="370"/>
                  </a:lnTo>
                  <a:lnTo>
                    <a:pt x="457" y="371"/>
                  </a:lnTo>
                  <a:lnTo>
                    <a:pt x="455" y="371"/>
                  </a:lnTo>
                  <a:lnTo>
                    <a:pt x="454" y="371"/>
                  </a:lnTo>
                  <a:lnTo>
                    <a:pt x="453" y="370"/>
                  </a:lnTo>
                  <a:lnTo>
                    <a:pt x="452" y="369"/>
                  </a:lnTo>
                  <a:lnTo>
                    <a:pt x="451" y="367"/>
                  </a:lnTo>
                  <a:lnTo>
                    <a:pt x="444" y="301"/>
                  </a:lnTo>
                  <a:lnTo>
                    <a:pt x="442" y="369"/>
                  </a:lnTo>
                  <a:lnTo>
                    <a:pt x="442" y="371"/>
                  </a:lnTo>
                  <a:lnTo>
                    <a:pt x="441" y="373"/>
                  </a:lnTo>
                  <a:lnTo>
                    <a:pt x="439" y="373"/>
                  </a:lnTo>
                  <a:lnTo>
                    <a:pt x="437" y="374"/>
                  </a:lnTo>
                  <a:lnTo>
                    <a:pt x="436" y="373"/>
                  </a:lnTo>
                  <a:lnTo>
                    <a:pt x="434" y="372"/>
                  </a:lnTo>
                  <a:lnTo>
                    <a:pt x="433" y="371"/>
                  </a:lnTo>
                  <a:lnTo>
                    <a:pt x="433" y="370"/>
                  </a:lnTo>
                  <a:lnTo>
                    <a:pt x="433" y="369"/>
                  </a:lnTo>
                  <a:lnTo>
                    <a:pt x="43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8" name="Freeform 1956"/>
            <p:cNvSpPr>
              <a:spLocks noEditPoints="1"/>
            </p:cNvSpPr>
            <p:nvPr userDrawn="1"/>
          </p:nvSpPr>
          <p:spPr bwMode="auto">
            <a:xfrm>
              <a:off x="6311900" y="3792538"/>
              <a:ext cx="1062038" cy="923925"/>
            </a:xfrm>
            <a:custGeom>
              <a:avLst/>
              <a:gdLst>
                <a:gd name="T0" fmla="*/ 148 w 669"/>
                <a:gd name="T1" fmla="*/ 232 h 582"/>
                <a:gd name="T2" fmla="*/ 594 w 669"/>
                <a:gd name="T3" fmla="*/ 543 h 582"/>
                <a:gd name="T4" fmla="*/ 587 w 669"/>
                <a:gd name="T5" fmla="*/ 553 h 582"/>
                <a:gd name="T6" fmla="*/ 555 w 669"/>
                <a:gd name="T7" fmla="*/ 508 h 582"/>
                <a:gd name="T8" fmla="*/ 622 w 669"/>
                <a:gd name="T9" fmla="*/ 540 h 582"/>
                <a:gd name="T10" fmla="*/ 568 w 669"/>
                <a:gd name="T11" fmla="*/ 512 h 582"/>
                <a:gd name="T12" fmla="*/ 284 w 669"/>
                <a:gd name="T13" fmla="*/ 308 h 582"/>
                <a:gd name="T14" fmla="*/ 409 w 669"/>
                <a:gd name="T15" fmla="*/ 415 h 582"/>
                <a:gd name="T16" fmla="*/ 556 w 669"/>
                <a:gd name="T17" fmla="*/ 499 h 582"/>
                <a:gd name="T18" fmla="*/ 619 w 669"/>
                <a:gd name="T19" fmla="*/ 526 h 582"/>
                <a:gd name="T20" fmla="*/ 669 w 669"/>
                <a:gd name="T21" fmla="*/ 576 h 582"/>
                <a:gd name="T22" fmla="*/ 645 w 669"/>
                <a:gd name="T23" fmla="*/ 581 h 582"/>
                <a:gd name="T24" fmla="*/ 587 w 669"/>
                <a:gd name="T25" fmla="*/ 564 h 582"/>
                <a:gd name="T26" fmla="*/ 539 w 669"/>
                <a:gd name="T27" fmla="*/ 518 h 582"/>
                <a:gd name="T28" fmla="*/ 403 w 669"/>
                <a:gd name="T29" fmla="*/ 422 h 582"/>
                <a:gd name="T30" fmla="*/ 277 w 669"/>
                <a:gd name="T31" fmla="*/ 314 h 582"/>
                <a:gd name="T32" fmla="*/ 78 w 669"/>
                <a:gd name="T33" fmla="*/ 386 h 582"/>
                <a:gd name="T34" fmla="*/ 74 w 669"/>
                <a:gd name="T35" fmla="*/ 378 h 582"/>
                <a:gd name="T36" fmla="*/ 112 w 669"/>
                <a:gd name="T37" fmla="*/ 322 h 582"/>
                <a:gd name="T38" fmla="*/ 60 w 669"/>
                <a:gd name="T39" fmla="*/ 364 h 582"/>
                <a:gd name="T40" fmla="*/ 90 w 669"/>
                <a:gd name="T41" fmla="*/ 328 h 582"/>
                <a:gd name="T42" fmla="*/ 36 w 669"/>
                <a:gd name="T43" fmla="*/ 330 h 582"/>
                <a:gd name="T44" fmla="*/ 32 w 669"/>
                <a:gd name="T45" fmla="*/ 322 h 582"/>
                <a:gd name="T46" fmla="*/ 124 w 669"/>
                <a:gd name="T47" fmla="*/ 266 h 582"/>
                <a:gd name="T48" fmla="*/ 41 w 669"/>
                <a:gd name="T49" fmla="*/ 292 h 582"/>
                <a:gd name="T50" fmla="*/ 1 w 669"/>
                <a:gd name="T51" fmla="*/ 307 h 582"/>
                <a:gd name="T52" fmla="*/ 51 w 669"/>
                <a:gd name="T53" fmla="*/ 278 h 582"/>
                <a:gd name="T54" fmla="*/ 86 w 669"/>
                <a:gd name="T55" fmla="*/ 246 h 582"/>
                <a:gd name="T56" fmla="*/ 57 w 669"/>
                <a:gd name="T57" fmla="*/ 257 h 582"/>
                <a:gd name="T58" fmla="*/ 13 w 669"/>
                <a:gd name="T59" fmla="*/ 241 h 582"/>
                <a:gd name="T60" fmla="*/ 15 w 669"/>
                <a:gd name="T61" fmla="*/ 232 h 582"/>
                <a:gd name="T62" fmla="*/ 150 w 669"/>
                <a:gd name="T63" fmla="*/ 222 h 582"/>
                <a:gd name="T64" fmla="*/ 87 w 669"/>
                <a:gd name="T65" fmla="*/ 106 h 582"/>
                <a:gd name="T66" fmla="*/ 92 w 669"/>
                <a:gd name="T67" fmla="*/ 98 h 582"/>
                <a:gd name="T68" fmla="*/ 196 w 669"/>
                <a:gd name="T69" fmla="*/ 172 h 582"/>
                <a:gd name="T70" fmla="*/ 146 w 669"/>
                <a:gd name="T71" fmla="*/ 93 h 582"/>
                <a:gd name="T72" fmla="*/ 108 w 669"/>
                <a:gd name="T73" fmla="*/ 48 h 582"/>
                <a:gd name="T74" fmla="*/ 135 w 669"/>
                <a:gd name="T75" fmla="*/ 66 h 582"/>
                <a:gd name="T76" fmla="*/ 190 w 669"/>
                <a:gd name="T77" fmla="*/ 140 h 582"/>
                <a:gd name="T78" fmla="*/ 229 w 669"/>
                <a:gd name="T79" fmla="*/ 197 h 582"/>
                <a:gd name="T80" fmla="*/ 224 w 669"/>
                <a:gd name="T81" fmla="*/ 89 h 582"/>
                <a:gd name="T82" fmla="*/ 204 w 669"/>
                <a:gd name="T83" fmla="*/ 5 h 582"/>
                <a:gd name="T84" fmla="*/ 220 w 669"/>
                <a:gd name="T85" fmla="*/ 29 h 582"/>
                <a:gd name="T86" fmla="*/ 239 w 669"/>
                <a:gd name="T87" fmla="*/ 145 h 582"/>
                <a:gd name="T88" fmla="*/ 244 w 669"/>
                <a:gd name="T89" fmla="*/ 98 h 582"/>
                <a:gd name="T90" fmla="*/ 230 w 669"/>
                <a:gd name="T91" fmla="*/ 2 h 582"/>
                <a:gd name="T92" fmla="*/ 242 w 669"/>
                <a:gd name="T93" fmla="*/ 14 h 582"/>
                <a:gd name="T94" fmla="*/ 254 w 669"/>
                <a:gd name="T95" fmla="*/ 107 h 582"/>
                <a:gd name="T96" fmla="*/ 260 w 669"/>
                <a:gd name="T97" fmla="*/ 152 h 582"/>
                <a:gd name="T98" fmla="*/ 273 w 669"/>
                <a:gd name="T99" fmla="*/ 79 h 582"/>
                <a:gd name="T100" fmla="*/ 311 w 669"/>
                <a:gd name="T101" fmla="*/ 14 h 582"/>
                <a:gd name="T102" fmla="*/ 319 w 669"/>
                <a:gd name="T103" fmla="*/ 19 h 582"/>
                <a:gd name="T104" fmla="*/ 285 w 669"/>
                <a:gd name="T105" fmla="*/ 71 h 582"/>
                <a:gd name="T106" fmla="*/ 272 w 669"/>
                <a:gd name="T107" fmla="*/ 147 h 582"/>
                <a:gd name="T108" fmla="*/ 347 w 669"/>
                <a:gd name="T109" fmla="*/ 35 h 582"/>
                <a:gd name="T110" fmla="*/ 349 w 669"/>
                <a:gd name="T111" fmla="*/ 63 h 582"/>
                <a:gd name="T112" fmla="*/ 358 w 669"/>
                <a:gd name="T113" fmla="*/ 67 h 582"/>
                <a:gd name="T114" fmla="*/ 378 w 669"/>
                <a:gd name="T115" fmla="*/ 126 h 582"/>
                <a:gd name="T116" fmla="*/ 349 w 669"/>
                <a:gd name="T117" fmla="*/ 192 h 582"/>
                <a:gd name="T118" fmla="*/ 351 w 669"/>
                <a:gd name="T119" fmla="*/ 202 h 582"/>
                <a:gd name="T120" fmla="*/ 362 w 669"/>
                <a:gd name="T121" fmla="*/ 21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9" h="582">
                  <a:moveTo>
                    <a:pt x="205" y="243"/>
                  </a:moveTo>
                  <a:lnTo>
                    <a:pt x="196" y="239"/>
                  </a:lnTo>
                  <a:lnTo>
                    <a:pt x="186" y="236"/>
                  </a:lnTo>
                  <a:lnTo>
                    <a:pt x="177" y="234"/>
                  </a:lnTo>
                  <a:lnTo>
                    <a:pt x="167" y="233"/>
                  </a:lnTo>
                  <a:lnTo>
                    <a:pt x="157" y="232"/>
                  </a:lnTo>
                  <a:lnTo>
                    <a:pt x="148" y="232"/>
                  </a:lnTo>
                  <a:lnTo>
                    <a:pt x="137" y="233"/>
                  </a:lnTo>
                  <a:lnTo>
                    <a:pt x="127" y="234"/>
                  </a:lnTo>
                  <a:lnTo>
                    <a:pt x="117" y="235"/>
                  </a:lnTo>
                  <a:lnTo>
                    <a:pt x="109" y="237"/>
                  </a:lnTo>
                  <a:lnTo>
                    <a:pt x="205" y="243"/>
                  </a:lnTo>
                  <a:close/>
                  <a:moveTo>
                    <a:pt x="644" y="572"/>
                  </a:moveTo>
                  <a:lnTo>
                    <a:pt x="594" y="543"/>
                  </a:lnTo>
                  <a:lnTo>
                    <a:pt x="548" y="515"/>
                  </a:lnTo>
                  <a:lnTo>
                    <a:pt x="553" y="522"/>
                  </a:lnTo>
                  <a:lnTo>
                    <a:pt x="558" y="528"/>
                  </a:lnTo>
                  <a:lnTo>
                    <a:pt x="564" y="535"/>
                  </a:lnTo>
                  <a:lnTo>
                    <a:pt x="571" y="541"/>
                  </a:lnTo>
                  <a:lnTo>
                    <a:pt x="579" y="547"/>
                  </a:lnTo>
                  <a:lnTo>
                    <a:pt x="587" y="553"/>
                  </a:lnTo>
                  <a:lnTo>
                    <a:pt x="596" y="557"/>
                  </a:lnTo>
                  <a:lnTo>
                    <a:pt x="605" y="562"/>
                  </a:lnTo>
                  <a:lnTo>
                    <a:pt x="615" y="565"/>
                  </a:lnTo>
                  <a:lnTo>
                    <a:pt x="625" y="568"/>
                  </a:lnTo>
                  <a:lnTo>
                    <a:pt x="634" y="571"/>
                  </a:lnTo>
                  <a:lnTo>
                    <a:pt x="644" y="572"/>
                  </a:lnTo>
                  <a:close/>
                  <a:moveTo>
                    <a:pt x="555" y="508"/>
                  </a:moveTo>
                  <a:lnTo>
                    <a:pt x="599" y="535"/>
                  </a:lnTo>
                  <a:lnTo>
                    <a:pt x="647" y="563"/>
                  </a:lnTo>
                  <a:lnTo>
                    <a:pt x="642" y="558"/>
                  </a:lnTo>
                  <a:lnTo>
                    <a:pt x="638" y="553"/>
                  </a:lnTo>
                  <a:lnTo>
                    <a:pt x="633" y="549"/>
                  </a:lnTo>
                  <a:lnTo>
                    <a:pt x="628" y="544"/>
                  </a:lnTo>
                  <a:lnTo>
                    <a:pt x="622" y="540"/>
                  </a:lnTo>
                  <a:lnTo>
                    <a:pt x="617" y="536"/>
                  </a:lnTo>
                  <a:lnTo>
                    <a:pt x="611" y="532"/>
                  </a:lnTo>
                  <a:lnTo>
                    <a:pt x="605" y="528"/>
                  </a:lnTo>
                  <a:lnTo>
                    <a:pt x="593" y="522"/>
                  </a:lnTo>
                  <a:lnTo>
                    <a:pt x="587" y="519"/>
                  </a:lnTo>
                  <a:lnTo>
                    <a:pt x="581" y="516"/>
                  </a:lnTo>
                  <a:lnTo>
                    <a:pt x="568" y="512"/>
                  </a:lnTo>
                  <a:lnTo>
                    <a:pt x="561" y="510"/>
                  </a:lnTo>
                  <a:lnTo>
                    <a:pt x="555" y="508"/>
                  </a:lnTo>
                  <a:close/>
                  <a:moveTo>
                    <a:pt x="236" y="251"/>
                  </a:moveTo>
                  <a:lnTo>
                    <a:pt x="251" y="271"/>
                  </a:lnTo>
                  <a:lnTo>
                    <a:pt x="259" y="281"/>
                  </a:lnTo>
                  <a:lnTo>
                    <a:pt x="268" y="290"/>
                  </a:lnTo>
                  <a:lnTo>
                    <a:pt x="284" y="308"/>
                  </a:lnTo>
                  <a:lnTo>
                    <a:pt x="301" y="325"/>
                  </a:lnTo>
                  <a:lnTo>
                    <a:pt x="319" y="342"/>
                  </a:lnTo>
                  <a:lnTo>
                    <a:pt x="337" y="358"/>
                  </a:lnTo>
                  <a:lnTo>
                    <a:pt x="356" y="374"/>
                  </a:lnTo>
                  <a:lnTo>
                    <a:pt x="376" y="390"/>
                  </a:lnTo>
                  <a:lnTo>
                    <a:pt x="393" y="403"/>
                  </a:lnTo>
                  <a:lnTo>
                    <a:pt x="409" y="415"/>
                  </a:lnTo>
                  <a:lnTo>
                    <a:pt x="424" y="425"/>
                  </a:lnTo>
                  <a:lnTo>
                    <a:pt x="439" y="434"/>
                  </a:lnTo>
                  <a:lnTo>
                    <a:pt x="469" y="453"/>
                  </a:lnTo>
                  <a:lnTo>
                    <a:pt x="503" y="476"/>
                  </a:lnTo>
                  <a:lnTo>
                    <a:pt x="536" y="496"/>
                  </a:lnTo>
                  <a:lnTo>
                    <a:pt x="546" y="497"/>
                  </a:lnTo>
                  <a:lnTo>
                    <a:pt x="556" y="499"/>
                  </a:lnTo>
                  <a:lnTo>
                    <a:pt x="566" y="501"/>
                  </a:lnTo>
                  <a:lnTo>
                    <a:pt x="575" y="504"/>
                  </a:lnTo>
                  <a:lnTo>
                    <a:pt x="584" y="508"/>
                  </a:lnTo>
                  <a:lnTo>
                    <a:pt x="594" y="511"/>
                  </a:lnTo>
                  <a:lnTo>
                    <a:pt x="603" y="516"/>
                  </a:lnTo>
                  <a:lnTo>
                    <a:pt x="611" y="521"/>
                  </a:lnTo>
                  <a:lnTo>
                    <a:pt x="619" y="526"/>
                  </a:lnTo>
                  <a:lnTo>
                    <a:pt x="627" y="532"/>
                  </a:lnTo>
                  <a:lnTo>
                    <a:pt x="635" y="538"/>
                  </a:lnTo>
                  <a:lnTo>
                    <a:pt x="642" y="545"/>
                  </a:lnTo>
                  <a:lnTo>
                    <a:pt x="649" y="552"/>
                  </a:lnTo>
                  <a:lnTo>
                    <a:pt x="657" y="560"/>
                  </a:lnTo>
                  <a:lnTo>
                    <a:pt x="663" y="568"/>
                  </a:lnTo>
                  <a:lnTo>
                    <a:pt x="669" y="576"/>
                  </a:lnTo>
                  <a:lnTo>
                    <a:pt x="669" y="578"/>
                  </a:lnTo>
                  <a:lnTo>
                    <a:pt x="668" y="580"/>
                  </a:lnTo>
                  <a:lnTo>
                    <a:pt x="667" y="582"/>
                  </a:lnTo>
                  <a:lnTo>
                    <a:pt x="666" y="582"/>
                  </a:lnTo>
                  <a:lnTo>
                    <a:pt x="659" y="582"/>
                  </a:lnTo>
                  <a:lnTo>
                    <a:pt x="651" y="582"/>
                  </a:lnTo>
                  <a:lnTo>
                    <a:pt x="645" y="581"/>
                  </a:lnTo>
                  <a:lnTo>
                    <a:pt x="638" y="580"/>
                  </a:lnTo>
                  <a:lnTo>
                    <a:pt x="625" y="578"/>
                  </a:lnTo>
                  <a:lnTo>
                    <a:pt x="618" y="576"/>
                  </a:lnTo>
                  <a:lnTo>
                    <a:pt x="612" y="574"/>
                  </a:lnTo>
                  <a:lnTo>
                    <a:pt x="599" y="569"/>
                  </a:lnTo>
                  <a:lnTo>
                    <a:pt x="593" y="567"/>
                  </a:lnTo>
                  <a:lnTo>
                    <a:pt x="587" y="564"/>
                  </a:lnTo>
                  <a:lnTo>
                    <a:pt x="576" y="557"/>
                  </a:lnTo>
                  <a:lnTo>
                    <a:pt x="570" y="553"/>
                  </a:lnTo>
                  <a:lnTo>
                    <a:pt x="565" y="548"/>
                  </a:lnTo>
                  <a:lnTo>
                    <a:pt x="554" y="539"/>
                  </a:lnTo>
                  <a:lnTo>
                    <a:pt x="550" y="534"/>
                  </a:lnTo>
                  <a:lnTo>
                    <a:pt x="546" y="529"/>
                  </a:lnTo>
                  <a:lnTo>
                    <a:pt x="539" y="518"/>
                  </a:lnTo>
                  <a:lnTo>
                    <a:pt x="535" y="512"/>
                  </a:lnTo>
                  <a:lnTo>
                    <a:pt x="532" y="505"/>
                  </a:lnTo>
                  <a:lnTo>
                    <a:pt x="498" y="484"/>
                  </a:lnTo>
                  <a:lnTo>
                    <a:pt x="464" y="461"/>
                  </a:lnTo>
                  <a:lnTo>
                    <a:pt x="433" y="442"/>
                  </a:lnTo>
                  <a:lnTo>
                    <a:pt x="418" y="433"/>
                  </a:lnTo>
                  <a:lnTo>
                    <a:pt x="403" y="422"/>
                  </a:lnTo>
                  <a:lnTo>
                    <a:pt x="388" y="411"/>
                  </a:lnTo>
                  <a:lnTo>
                    <a:pt x="371" y="398"/>
                  </a:lnTo>
                  <a:lnTo>
                    <a:pt x="350" y="382"/>
                  </a:lnTo>
                  <a:lnTo>
                    <a:pt x="331" y="365"/>
                  </a:lnTo>
                  <a:lnTo>
                    <a:pt x="312" y="349"/>
                  </a:lnTo>
                  <a:lnTo>
                    <a:pt x="294" y="332"/>
                  </a:lnTo>
                  <a:lnTo>
                    <a:pt x="277" y="314"/>
                  </a:lnTo>
                  <a:lnTo>
                    <a:pt x="261" y="296"/>
                  </a:lnTo>
                  <a:lnTo>
                    <a:pt x="244" y="277"/>
                  </a:lnTo>
                  <a:lnTo>
                    <a:pt x="236" y="267"/>
                  </a:lnTo>
                  <a:lnTo>
                    <a:pt x="228" y="257"/>
                  </a:lnTo>
                  <a:lnTo>
                    <a:pt x="225" y="258"/>
                  </a:lnTo>
                  <a:lnTo>
                    <a:pt x="80" y="385"/>
                  </a:lnTo>
                  <a:lnTo>
                    <a:pt x="78" y="386"/>
                  </a:lnTo>
                  <a:lnTo>
                    <a:pt x="76" y="386"/>
                  </a:lnTo>
                  <a:lnTo>
                    <a:pt x="75" y="386"/>
                  </a:lnTo>
                  <a:lnTo>
                    <a:pt x="73" y="385"/>
                  </a:lnTo>
                  <a:lnTo>
                    <a:pt x="72" y="383"/>
                  </a:lnTo>
                  <a:lnTo>
                    <a:pt x="72" y="382"/>
                  </a:lnTo>
                  <a:lnTo>
                    <a:pt x="72" y="380"/>
                  </a:lnTo>
                  <a:lnTo>
                    <a:pt x="74" y="378"/>
                  </a:lnTo>
                  <a:lnTo>
                    <a:pt x="198" y="270"/>
                  </a:lnTo>
                  <a:lnTo>
                    <a:pt x="180" y="279"/>
                  </a:lnTo>
                  <a:lnTo>
                    <a:pt x="171" y="283"/>
                  </a:lnTo>
                  <a:lnTo>
                    <a:pt x="162" y="288"/>
                  </a:lnTo>
                  <a:lnTo>
                    <a:pt x="145" y="299"/>
                  </a:lnTo>
                  <a:lnTo>
                    <a:pt x="128" y="310"/>
                  </a:lnTo>
                  <a:lnTo>
                    <a:pt x="112" y="322"/>
                  </a:lnTo>
                  <a:lnTo>
                    <a:pt x="96" y="335"/>
                  </a:lnTo>
                  <a:lnTo>
                    <a:pt x="81" y="349"/>
                  </a:lnTo>
                  <a:lnTo>
                    <a:pt x="67" y="363"/>
                  </a:lnTo>
                  <a:lnTo>
                    <a:pt x="65" y="364"/>
                  </a:lnTo>
                  <a:lnTo>
                    <a:pt x="64" y="365"/>
                  </a:lnTo>
                  <a:lnTo>
                    <a:pt x="62" y="364"/>
                  </a:lnTo>
                  <a:lnTo>
                    <a:pt x="60" y="364"/>
                  </a:lnTo>
                  <a:lnTo>
                    <a:pt x="59" y="362"/>
                  </a:lnTo>
                  <a:lnTo>
                    <a:pt x="59" y="360"/>
                  </a:lnTo>
                  <a:lnTo>
                    <a:pt x="59" y="359"/>
                  </a:lnTo>
                  <a:lnTo>
                    <a:pt x="60" y="357"/>
                  </a:lnTo>
                  <a:lnTo>
                    <a:pt x="70" y="347"/>
                  </a:lnTo>
                  <a:lnTo>
                    <a:pt x="80" y="337"/>
                  </a:lnTo>
                  <a:lnTo>
                    <a:pt x="90" y="328"/>
                  </a:lnTo>
                  <a:lnTo>
                    <a:pt x="100" y="319"/>
                  </a:lnTo>
                  <a:lnTo>
                    <a:pt x="111" y="310"/>
                  </a:lnTo>
                  <a:lnTo>
                    <a:pt x="122" y="302"/>
                  </a:lnTo>
                  <a:lnTo>
                    <a:pt x="134" y="295"/>
                  </a:lnTo>
                  <a:lnTo>
                    <a:pt x="145" y="287"/>
                  </a:lnTo>
                  <a:lnTo>
                    <a:pt x="37" y="329"/>
                  </a:lnTo>
                  <a:lnTo>
                    <a:pt x="36" y="330"/>
                  </a:lnTo>
                  <a:lnTo>
                    <a:pt x="35" y="330"/>
                  </a:lnTo>
                  <a:lnTo>
                    <a:pt x="33" y="329"/>
                  </a:lnTo>
                  <a:lnTo>
                    <a:pt x="32" y="328"/>
                  </a:lnTo>
                  <a:lnTo>
                    <a:pt x="31" y="327"/>
                  </a:lnTo>
                  <a:lnTo>
                    <a:pt x="30" y="325"/>
                  </a:lnTo>
                  <a:lnTo>
                    <a:pt x="31" y="323"/>
                  </a:lnTo>
                  <a:lnTo>
                    <a:pt x="32" y="322"/>
                  </a:lnTo>
                  <a:lnTo>
                    <a:pt x="33" y="320"/>
                  </a:lnTo>
                  <a:lnTo>
                    <a:pt x="198" y="256"/>
                  </a:lnTo>
                  <a:lnTo>
                    <a:pt x="173" y="258"/>
                  </a:lnTo>
                  <a:lnTo>
                    <a:pt x="161" y="260"/>
                  </a:lnTo>
                  <a:lnTo>
                    <a:pt x="148" y="261"/>
                  </a:lnTo>
                  <a:lnTo>
                    <a:pt x="136" y="264"/>
                  </a:lnTo>
                  <a:lnTo>
                    <a:pt x="124" y="266"/>
                  </a:lnTo>
                  <a:lnTo>
                    <a:pt x="112" y="269"/>
                  </a:lnTo>
                  <a:lnTo>
                    <a:pt x="100" y="272"/>
                  </a:lnTo>
                  <a:lnTo>
                    <a:pt x="88" y="275"/>
                  </a:lnTo>
                  <a:lnTo>
                    <a:pt x="76" y="279"/>
                  </a:lnTo>
                  <a:lnTo>
                    <a:pt x="64" y="283"/>
                  </a:lnTo>
                  <a:lnTo>
                    <a:pt x="53" y="287"/>
                  </a:lnTo>
                  <a:lnTo>
                    <a:pt x="41" y="292"/>
                  </a:lnTo>
                  <a:lnTo>
                    <a:pt x="30" y="297"/>
                  </a:lnTo>
                  <a:lnTo>
                    <a:pt x="18" y="303"/>
                  </a:lnTo>
                  <a:lnTo>
                    <a:pt x="7" y="309"/>
                  </a:lnTo>
                  <a:lnTo>
                    <a:pt x="5" y="310"/>
                  </a:lnTo>
                  <a:lnTo>
                    <a:pt x="3" y="310"/>
                  </a:lnTo>
                  <a:lnTo>
                    <a:pt x="2" y="309"/>
                  </a:lnTo>
                  <a:lnTo>
                    <a:pt x="1" y="307"/>
                  </a:lnTo>
                  <a:lnTo>
                    <a:pt x="0" y="306"/>
                  </a:lnTo>
                  <a:lnTo>
                    <a:pt x="0" y="304"/>
                  </a:lnTo>
                  <a:lnTo>
                    <a:pt x="1" y="302"/>
                  </a:lnTo>
                  <a:lnTo>
                    <a:pt x="3" y="301"/>
                  </a:lnTo>
                  <a:lnTo>
                    <a:pt x="22" y="291"/>
                  </a:lnTo>
                  <a:lnTo>
                    <a:pt x="41" y="282"/>
                  </a:lnTo>
                  <a:lnTo>
                    <a:pt x="51" y="278"/>
                  </a:lnTo>
                  <a:lnTo>
                    <a:pt x="61" y="274"/>
                  </a:lnTo>
                  <a:lnTo>
                    <a:pt x="80" y="267"/>
                  </a:lnTo>
                  <a:lnTo>
                    <a:pt x="100" y="262"/>
                  </a:lnTo>
                  <a:lnTo>
                    <a:pt x="121" y="257"/>
                  </a:lnTo>
                  <a:lnTo>
                    <a:pt x="141" y="253"/>
                  </a:lnTo>
                  <a:lnTo>
                    <a:pt x="162" y="250"/>
                  </a:lnTo>
                  <a:lnTo>
                    <a:pt x="86" y="246"/>
                  </a:lnTo>
                  <a:lnTo>
                    <a:pt x="81" y="248"/>
                  </a:lnTo>
                  <a:lnTo>
                    <a:pt x="75" y="251"/>
                  </a:lnTo>
                  <a:lnTo>
                    <a:pt x="64" y="258"/>
                  </a:lnTo>
                  <a:lnTo>
                    <a:pt x="62" y="259"/>
                  </a:lnTo>
                  <a:lnTo>
                    <a:pt x="60" y="259"/>
                  </a:lnTo>
                  <a:lnTo>
                    <a:pt x="59" y="258"/>
                  </a:lnTo>
                  <a:lnTo>
                    <a:pt x="57" y="257"/>
                  </a:lnTo>
                  <a:lnTo>
                    <a:pt x="57" y="256"/>
                  </a:lnTo>
                  <a:lnTo>
                    <a:pt x="56" y="254"/>
                  </a:lnTo>
                  <a:lnTo>
                    <a:pt x="57" y="252"/>
                  </a:lnTo>
                  <a:lnTo>
                    <a:pt x="59" y="251"/>
                  </a:lnTo>
                  <a:lnTo>
                    <a:pt x="68" y="245"/>
                  </a:lnTo>
                  <a:lnTo>
                    <a:pt x="15" y="241"/>
                  </a:lnTo>
                  <a:lnTo>
                    <a:pt x="13" y="241"/>
                  </a:lnTo>
                  <a:lnTo>
                    <a:pt x="11" y="240"/>
                  </a:lnTo>
                  <a:lnTo>
                    <a:pt x="10" y="238"/>
                  </a:lnTo>
                  <a:lnTo>
                    <a:pt x="10" y="236"/>
                  </a:lnTo>
                  <a:lnTo>
                    <a:pt x="11" y="235"/>
                  </a:lnTo>
                  <a:lnTo>
                    <a:pt x="12" y="233"/>
                  </a:lnTo>
                  <a:lnTo>
                    <a:pt x="13" y="232"/>
                  </a:lnTo>
                  <a:lnTo>
                    <a:pt x="15" y="232"/>
                  </a:lnTo>
                  <a:lnTo>
                    <a:pt x="85" y="236"/>
                  </a:lnTo>
                  <a:lnTo>
                    <a:pt x="95" y="232"/>
                  </a:lnTo>
                  <a:lnTo>
                    <a:pt x="106" y="228"/>
                  </a:lnTo>
                  <a:lnTo>
                    <a:pt x="117" y="226"/>
                  </a:lnTo>
                  <a:lnTo>
                    <a:pt x="128" y="224"/>
                  </a:lnTo>
                  <a:lnTo>
                    <a:pt x="139" y="223"/>
                  </a:lnTo>
                  <a:lnTo>
                    <a:pt x="150" y="222"/>
                  </a:lnTo>
                  <a:lnTo>
                    <a:pt x="161" y="223"/>
                  </a:lnTo>
                  <a:lnTo>
                    <a:pt x="172" y="224"/>
                  </a:lnTo>
                  <a:lnTo>
                    <a:pt x="182" y="226"/>
                  </a:lnTo>
                  <a:lnTo>
                    <a:pt x="190" y="228"/>
                  </a:lnTo>
                  <a:lnTo>
                    <a:pt x="198" y="230"/>
                  </a:lnTo>
                  <a:lnTo>
                    <a:pt x="205" y="232"/>
                  </a:lnTo>
                  <a:lnTo>
                    <a:pt x="87" y="106"/>
                  </a:lnTo>
                  <a:lnTo>
                    <a:pt x="86" y="104"/>
                  </a:lnTo>
                  <a:lnTo>
                    <a:pt x="85" y="102"/>
                  </a:lnTo>
                  <a:lnTo>
                    <a:pt x="86" y="101"/>
                  </a:lnTo>
                  <a:lnTo>
                    <a:pt x="87" y="99"/>
                  </a:lnTo>
                  <a:lnTo>
                    <a:pt x="88" y="98"/>
                  </a:lnTo>
                  <a:lnTo>
                    <a:pt x="90" y="98"/>
                  </a:lnTo>
                  <a:lnTo>
                    <a:pt x="92" y="98"/>
                  </a:lnTo>
                  <a:lnTo>
                    <a:pt x="94" y="100"/>
                  </a:lnTo>
                  <a:lnTo>
                    <a:pt x="220" y="235"/>
                  </a:lnTo>
                  <a:lnTo>
                    <a:pt x="216" y="222"/>
                  </a:lnTo>
                  <a:lnTo>
                    <a:pt x="212" y="209"/>
                  </a:lnTo>
                  <a:lnTo>
                    <a:pt x="207" y="197"/>
                  </a:lnTo>
                  <a:lnTo>
                    <a:pt x="202" y="184"/>
                  </a:lnTo>
                  <a:lnTo>
                    <a:pt x="196" y="172"/>
                  </a:lnTo>
                  <a:lnTo>
                    <a:pt x="190" y="160"/>
                  </a:lnTo>
                  <a:lnTo>
                    <a:pt x="184" y="148"/>
                  </a:lnTo>
                  <a:lnTo>
                    <a:pt x="177" y="137"/>
                  </a:lnTo>
                  <a:lnTo>
                    <a:pt x="170" y="126"/>
                  </a:lnTo>
                  <a:lnTo>
                    <a:pt x="162" y="115"/>
                  </a:lnTo>
                  <a:lnTo>
                    <a:pt x="155" y="104"/>
                  </a:lnTo>
                  <a:lnTo>
                    <a:pt x="146" y="93"/>
                  </a:lnTo>
                  <a:lnTo>
                    <a:pt x="138" y="83"/>
                  </a:lnTo>
                  <a:lnTo>
                    <a:pt x="129" y="73"/>
                  </a:lnTo>
                  <a:lnTo>
                    <a:pt x="119" y="63"/>
                  </a:lnTo>
                  <a:lnTo>
                    <a:pt x="109" y="54"/>
                  </a:lnTo>
                  <a:lnTo>
                    <a:pt x="108" y="52"/>
                  </a:lnTo>
                  <a:lnTo>
                    <a:pt x="107" y="50"/>
                  </a:lnTo>
                  <a:lnTo>
                    <a:pt x="108" y="48"/>
                  </a:lnTo>
                  <a:lnTo>
                    <a:pt x="109" y="47"/>
                  </a:lnTo>
                  <a:lnTo>
                    <a:pt x="110" y="46"/>
                  </a:lnTo>
                  <a:lnTo>
                    <a:pt x="112" y="45"/>
                  </a:lnTo>
                  <a:lnTo>
                    <a:pt x="114" y="46"/>
                  </a:lnTo>
                  <a:lnTo>
                    <a:pt x="116" y="47"/>
                  </a:lnTo>
                  <a:lnTo>
                    <a:pt x="125" y="56"/>
                  </a:lnTo>
                  <a:lnTo>
                    <a:pt x="135" y="66"/>
                  </a:lnTo>
                  <a:lnTo>
                    <a:pt x="144" y="76"/>
                  </a:lnTo>
                  <a:lnTo>
                    <a:pt x="152" y="86"/>
                  </a:lnTo>
                  <a:lnTo>
                    <a:pt x="161" y="96"/>
                  </a:lnTo>
                  <a:lnTo>
                    <a:pt x="169" y="107"/>
                  </a:lnTo>
                  <a:lnTo>
                    <a:pt x="176" y="118"/>
                  </a:lnTo>
                  <a:lnTo>
                    <a:pt x="183" y="129"/>
                  </a:lnTo>
                  <a:lnTo>
                    <a:pt x="190" y="140"/>
                  </a:lnTo>
                  <a:lnTo>
                    <a:pt x="196" y="151"/>
                  </a:lnTo>
                  <a:lnTo>
                    <a:pt x="208" y="175"/>
                  </a:lnTo>
                  <a:lnTo>
                    <a:pt x="213" y="187"/>
                  </a:lnTo>
                  <a:lnTo>
                    <a:pt x="218" y="200"/>
                  </a:lnTo>
                  <a:lnTo>
                    <a:pt x="223" y="212"/>
                  </a:lnTo>
                  <a:lnTo>
                    <a:pt x="227" y="225"/>
                  </a:lnTo>
                  <a:lnTo>
                    <a:pt x="229" y="197"/>
                  </a:lnTo>
                  <a:lnTo>
                    <a:pt x="230" y="170"/>
                  </a:lnTo>
                  <a:lnTo>
                    <a:pt x="230" y="157"/>
                  </a:lnTo>
                  <a:lnTo>
                    <a:pt x="230" y="143"/>
                  </a:lnTo>
                  <a:lnTo>
                    <a:pt x="229" y="130"/>
                  </a:lnTo>
                  <a:lnTo>
                    <a:pt x="228" y="116"/>
                  </a:lnTo>
                  <a:lnTo>
                    <a:pt x="226" y="103"/>
                  </a:lnTo>
                  <a:lnTo>
                    <a:pt x="224" y="89"/>
                  </a:lnTo>
                  <a:lnTo>
                    <a:pt x="222" y="76"/>
                  </a:lnTo>
                  <a:lnTo>
                    <a:pt x="219" y="63"/>
                  </a:lnTo>
                  <a:lnTo>
                    <a:pt x="212" y="36"/>
                  </a:lnTo>
                  <a:lnTo>
                    <a:pt x="208" y="23"/>
                  </a:lnTo>
                  <a:lnTo>
                    <a:pt x="204" y="9"/>
                  </a:lnTo>
                  <a:lnTo>
                    <a:pt x="203" y="7"/>
                  </a:lnTo>
                  <a:lnTo>
                    <a:pt x="204" y="5"/>
                  </a:lnTo>
                  <a:lnTo>
                    <a:pt x="205" y="4"/>
                  </a:lnTo>
                  <a:lnTo>
                    <a:pt x="207" y="3"/>
                  </a:lnTo>
                  <a:lnTo>
                    <a:pt x="208" y="3"/>
                  </a:lnTo>
                  <a:lnTo>
                    <a:pt x="210" y="3"/>
                  </a:lnTo>
                  <a:lnTo>
                    <a:pt x="212" y="4"/>
                  </a:lnTo>
                  <a:lnTo>
                    <a:pt x="213" y="6"/>
                  </a:lnTo>
                  <a:lnTo>
                    <a:pt x="220" y="29"/>
                  </a:lnTo>
                  <a:lnTo>
                    <a:pt x="224" y="41"/>
                  </a:lnTo>
                  <a:lnTo>
                    <a:pt x="226" y="52"/>
                  </a:lnTo>
                  <a:lnTo>
                    <a:pt x="231" y="75"/>
                  </a:lnTo>
                  <a:lnTo>
                    <a:pt x="235" y="98"/>
                  </a:lnTo>
                  <a:lnTo>
                    <a:pt x="237" y="110"/>
                  </a:lnTo>
                  <a:lnTo>
                    <a:pt x="238" y="121"/>
                  </a:lnTo>
                  <a:lnTo>
                    <a:pt x="239" y="145"/>
                  </a:lnTo>
                  <a:lnTo>
                    <a:pt x="240" y="168"/>
                  </a:lnTo>
                  <a:lnTo>
                    <a:pt x="239" y="191"/>
                  </a:lnTo>
                  <a:lnTo>
                    <a:pt x="242" y="168"/>
                  </a:lnTo>
                  <a:lnTo>
                    <a:pt x="244" y="145"/>
                  </a:lnTo>
                  <a:lnTo>
                    <a:pt x="245" y="121"/>
                  </a:lnTo>
                  <a:lnTo>
                    <a:pt x="245" y="110"/>
                  </a:lnTo>
                  <a:lnTo>
                    <a:pt x="244" y="98"/>
                  </a:lnTo>
                  <a:lnTo>
                    <a:pt x="244" y="86"/>
                  </a:lnTo>
                  <a:lnTo>
                    <a:pt x="243" y="75"/>
                  </a:lnTo>
                  <a:lnTo>
                    <a:pt x="240" y="52"/>
                  </a:lnTo>
                  <a:lnTo>
                    <a:pt x="235" y="28"/>
                  </a:lnTo>
                  <a:lnTo>
                    <a:pt x="230" y="6"/>
                  </a:lnTo>
                  <a:lnTo>
                    <a:pt x="230" y="3"/>
                  </a:lnTo>
                  <a:lnTo>
                    <a:pt x="230" y="2"/>
                  </a:lnTo>
                  <a:lnTo>
                    <a:pt x="231" y="0"/>
                  </a:lnTo>
                  <a:lnTo>
                    <a:pt x="233" y="0"/>
                  </a:lnTo>
                  <a:lnTo>
                    <a:pt x="235" y="0"/>
                  </a:lnTo>
                  <a:lnTo>
                    <a:pt x="237" y="0"/>
                  </a:lnTo>
                  <a:lnTo>
                    <a:pt x="238" y="1"/>
                  </a:lnTo>
                  <a:lnTo>
                    <a:pt x="239" y="3"/>
                  </a:lnTo>
                  <a:lnTo>
                    <a:pt x="242" y="14"/>
                  </a:lnTo>
                  <a:lnTo>
                    <a:pt x="244" y="26"/>
                  </a:lnTo>
                  <a:lnTo>
                    <a:pt x="247" y="37"/>
                  </a:lnTo>
                  <a:lnTo>
                    <a:pt x="249" y="49"/>
                  </a:lnTo>
                  <a:lnTo>
                    <a:pt x="252" y="72"/>
                  </a:lnTo>
                  <a:lnTo>
                    <a:pt x="253" y="84"/>
                  </a:lnTo>
                  <a:lnTo>
                    <a:pt x="254" y="95"/>
                  </a:lnTo>
                  <a:lnTo>
                    <a:pt x="254" y="107"/>
                  </a:lnTo>
                  <a:lnTo>
                    <a:pt x="254" y="118"/>
                  </a:lnTo>
                  <a:lnTo>
                    <a:pt x="254" y="142"/>
                  </a:lnTo>
                  <a:lnTo>
                    <a:pt x="252" y="165"/>
                  </a:lnTo>
                  <a:lnTo>
                    <a:pt x="249" y="188"/>
                  </a:lnTo>
                  <a:lnTo>
                    <a:pt x="253" y="176"/>
                  </a:lnTo>
                  <a:lnTo>
                    <a:pt x="257" y="164"/>
                  </a:lnTo>
                  <a:lnTo>
                    <a:pt x="260" y="152"/>
                  </a:lnTo>
                  <a:lnTo>
                    <a:pt x="264" y="140"/>
                  </a:lnTo>
                  <a:lnTo>
                    <a:pt x="266" y="128"/>
                  </a:lnTo>
                  <a:lnTo>
                    <a:pt x="269" y="116"/>
                  </a:lnTo>
                  <a:lnTo>
                    <a:pt x="270" y="103"/>
                  </a:lnTo>
                  <a:lnTo>
                    <a:pt x="272" y="90"/>
                  </a:lnTo>
                  <a:lnTo>
                    <a:pt x="273" y="84"/>
                  </a:lnTo>
                  <a:lnTo>
                    <a:pt x="273" y="79"/>
                  </a:lnTo>
                  <a:lnTo>
                    <a:pt x="276" y="68"/>
                  </a:lnTo>
                  <a:lnTo>
                    <a:pt x="280" y="58"/>
                  </a:lnTo>
                  <a:lnTo>
                    <a:pt x="284" y="48"/>
                  </a:lnTo>
                  <a:lnTo>
                    <a:pt x="289" y="39"/>
                  </a:lnTo>
                  <a:lnTo>
                    <a:pt x="296" y="30"/>
                  </a:lnTo>
                  <a:lnTo>
                    <a:pt x="303" y="22"/>
                  </a:lnTo>
                  <a:lnTo>
                    <a:pt x="311" y="14"/>
                  </a:lnTo>
                  <a:lnTo>
                    <a:pt x="313" y="13"/>
                  </a:lnTo>
                  <a:lnTo>
                    <a:pt x="315" y="12"/>
                  </a:lnTo>
                  <a:lnTo>
                    <a:pt x="316" y="13"/>
                  </a:lnTo>
                  <a:lnTo>
                    <a:pt x="318" y="14"/>
                  </a:lnTo>
                  <a:lnTo>
                    <a:pt x="319" y="16"/>
                  </a:lnTo>
                  <a:lnTo>
                    <a:pt x="319" y="17"/>
                  </a:lnTo>
                  <a:lnTo>
                    <a:pt x="319" y="19"/>
                  </a:lnTo>
                  <a:lnTo>
                    <a:pt x="318" y="21"/>
                  </a:lnTo>
                  <a:lnTo>
                    <a:pt x="310" y="28"/>
                  </a:lnTo>
                  <a:lnTo>
                    <a:pt x="303" y="36"/>
                  </a:lnTo>
                  <a:lnTo>
                    <a:pt x="298" y="44"/>
                  </a:lnTo>
                  <a:lnTo>
                    <a:pt x="293" y="52"/>
                  </a:lnTo>
                  <a:lnTo>
                    <a:pt x="288" y="61"/>
                  </a:lnTo>
                  <a:lnTo>
                    <a:pt x="285" y="71"/>
                  </a:lnTo>
                  <a:lnTo>
                    <a:pt x="283" y="81"/>
                  </a:lnTo>
                  <a:lnTo>
                    <a:pt x="282" y="86"/>
                  </a:lnTo>
                  <a:lnTo>
                    <a:pt x="281" y="91"/>
                  </a:lnTo>
                  <a:lnTo>
                    <a:pt x="278" y="114"/>
                  </a:lnTo>
                  <a:lnTo>
                    <a:pt x="277" y="125"/>
                  </a:lnTo>
                  <a:lnTo>
                    <a:pt x="274" y="136"/>
                  </a:lnTo>
                  <a:lnTo>
                    <a:pt x="272" y="147"/>
                  </a:lnTo>
                  <a:lnTo>
                    <a:pt x="269" y="157"/>
                  </a:lnTo>
                  <a:lnTo>
                    <a:pt x="262" y="179"/>
                  </a:lnTo>
                  <a:lnTo>
                    <a:pt x="342" y="37"/>
                  </a:lnTo>
                  <a:lnTo>
                    <a:pt x="343" y="36"/>
                  </a:lnTo>
                  <a:lnTo>
                    <a:pt x="344" y="36"/>
                  </a:lnTo>
                  <a:lnTo>
                    <a:pt x="345" y="35"/>
                  </a:lnTo>
                  <a:lnTo>
                    <a:pt x="347" y="35"/>
                  </a:lnTo>
                  <a:lnTo>
                    <a:pt x="349" y="36"/>
                  </a:lnTo>
                  <a:lnTo>
                    <a:pt x="350" y="37"/>
                  </a:lnTo>
                  <a:lnTo>
                    <a:pt x="351" y="38"/>
                  </a:lnTo>
                  <a:lnTo>
                    <a:pt x="351" y="40"/>
                  </a:lnTo>
                  <a:lnTo>
                    <a:pt x="351" y="42"/>
                  </a:lnTo>
                  <a:lnTo>
                    <a:pt x="287" y="154"/>
                  </a:lnTo>
                  <a:lnTo>
                    <a:pt x="349" y="63"/>
                  </a:lnTo>
                  <a:lnTo>
                    <a:pt x="351" y="62"/>
                  </a:lnTo>
                  <a:lnTo>
                    <a:pt x="353" y="61"/>
                  </a:lnTo>
                  <a:lnTo>
                    <a:pt x="354" y="61"/>
                  </a:lnTo>
                  <a:lnTo>
                    <a:pt x="356" y="62"/>
                  </a:lnTo>
                  <a:lnTo>
                    <a:pt x="357" y="63"/>
                  </a:lnTo>
                  <a:lnTo>
                    <a:pt x="358" y="65"/>
                  </a:lnTo>
                  <a:lnTo>
                    <a:pt x="358" y="67"/>
                  </a:lnTo>
                  <a:lnTo>
                    <a:pt x="357" y="69"/>
                  </a:lnTo>
                  <a:lnTo>
                    <a:pt x="250" y="226"/>
                  </a:lnTo>
                  <a:lnTo>
                    <a:pt x="371" y="126"/>
                  </a:lnTo>
                  <a:lnTo>
                    <a:pt x="373" y="125"/>
                  </a:lnTo>
                  <a:lnTo>
                    <a:pt x="375" y="125"/>
                  </a:lnTo>
                  <a:lnTo>
                    <a:pt x="377" y="125"/>
                  </a:lnTo>
                  <a:lnTo>
                    <a:pt x="378" y="126"/>
                  </a:lnTo>
                  <a:lnTo>
                    <a:pt x="379" y="128"/>
                  </a:lnTo>
                  <a:lnTo>
                    <a:pt x="379" y="130"/>
                  </a:lnTo>
                  <a:lnTo>
                    <a:pt x="379" y="131"/>
                  </a:lnTo>
                  <a:lnTo>
                    <a:pt x="378" y="133"/>
                  </a:lnTo>
                  <a:lnTo>
                    <a:pt x="261" y="229"/>
                  </a:lnTo>
                  <a:lnTo>
                    <a:pt x="347" y="193"/>
                  </a:lnTo>
                  <a:lnTo>
                    <a:pt x="349" y="192"/>
                  </a:lnTo>
                  <a:lnTo>
                    <a:pt x="351" y="193"/>
                  </a:lnTo>
                  <a:lnTo>
                    <a:pt x="353" y="194"/>
                  </a:lnTo>
                  <a:lnTo>
                    <a:pt x="354" y="195"/>
                  </a:lnTo>
                  <a:lnTo>
                    <a:pt x="354" y="197"/>
                  </a:lnTo>
                  <a:lnTo>
                    <a:pt x="354" y="199"/>
                  </a:lnTo>
                  <a:lnTo>
                    <a:pt x="353" y="201"/>
                  </a:lnTo>
                  <a:lnTo>
                    <a:pt x="351" y="202"/>
                  </a:lnTo>
                  <a:lnTo>
                    <a:pt x="290" y="227"/>
                  </a:lnTo>
                  <a:lnTo>
                    <a:pt x="356" y="210"/>
                  </a:lnTo>
                  <a:lnTo>
                    <a:pt x="358" y="210"/>
                  </a:lnTo>
                  <a:lnTo>
                    <a:pt x="360" y="211"/>
                  </a:lnTo>
                  <a:lnTo>
                    <a:pt x="361" y="212"/>
                  </a:lnTo>
                  <a:lnTo>
                    <a:pt x="361" y="213"/>
                  </a:lnTo>
                  <a:lnTo>
                    <a:pt x="362" y="215"/>
                  </a:lnTo>
                  <a:lnTo>
                    <a:pt x="361" y="217"/>
                  </a:lnTo>
                  <a:lnTo>
                    <a:pt x="360" y="218"/>
                  </a:lnTo>
                  <a:lnTo>
                    <a:pt x="358" y="219"/>
                  </a:lnTo>
                  <a:lnTo>
                    <a:pt x="23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9" name="Freeform 1957"/>
            <p:cNvSpPr>
              <a:spLocks noEditPoints="1"/>
            </p:cNvSpPr>
            <p:nvPr userDrawn="1"/>
          </p:nvSpPr>
          <p:spPr bwMode="auto">
            <a:xfrm>
              <a:off x="10429678" y="3202657"/>
              <a:ext cx="836613" cy="1104900"/>
            </a:xfrm>
            <a:custGeom>
              <a:avLst/>
              <a:gdLst>
                <a:gd name="T0" fmla="*/ 285 w 527"/>
                <a:gd name="T1" fmla="*/ 138 h 696"/>
                <a:gd name="T2" fmla="*/ 32 w 527"/>
                <a:gd name="T3" fmla="*/ 619 h 696"/>
                <a:gd name="T4" fmla="*/ 22 w 527"/>
                <a:gd name="T5" fmla="*/ 613 h 696"/>
                <a:gd name="T6" fmla="*/ 62 w 527"/>
                <a:gd name="T7" fmla="*/ 576 h 696"/>
                <a:gd name="T8" fmla="*/ 53 w 527"/>
                <a:gd name="T9" fmla="*/ 615 h 696"/>
                <a:gd name="T10" fmla="*/ 242 w 527"/>
                <a:gd name="T11" fmla="*/ 264 h 696"/>
                <a:gd name="T12" fmla="*/ 156 w 527"/>
                <a:gd name="T13" fmla="*/ 384 h 696"/>
                <a:gd name="T14" fmla="*/ 71 w 527"/>
                <a:gd name="T15" fmla="*/ 575 h 696"/>
                <a:gd name="T16" fmla="*/ 52 w 527"/>
                <a:gd name="T17" fmla="*/ 642 h 696"/>
                <a:gd name="T18" fmla="*/ 8 w 527"/>
                <a:gd name="T19" fmla="*/ 696 h 696"/>
                <a:gd name="T20" fmla="*/ 1 w 527"/>
                <a:gd name="T21" fmla="*/ 653 h 696"/>
                <a:gd name="T22" fmla="*/ 32 w 527"/>
                <a:gd name="T23" fmla="*/ 579 h 696"/>
                <a:gd name="T24" fmla="*/ 79 w 527"/>
                <a:gd name="T25" fmla="*/ 516 h 696"/>
                <a:gd name="T26" fmla="*/ 161 w 527"/>
                <a:gd name="T27" fmla="*/ 357 h 696"/>
                <a:gd name="T28" fmla="*/ 261 w 527"/>
                <a:gd name="T29" fmla="*/ 230 h 696"/>
                <a:gd name="T30" fmla="*/ 125 w 527"/>
                <a:gd name="T31" fmla="*/ 83 h 696"/>
                <a:gd name="T32" fmla="*/ 231 w 527"/>
                <a:gd name="T33" fmla="*/ 159 h 696"/>
                <a:gd name="T34" fmla="*/ 145 w 527"/>
                <a:gd name="T35" fmla="*/ 74 h 696"/>
                <a:gd name="T36" fmla="*/ 149 w 527"/>
                <a:gd name="T37" fmla="*/ 65 h 696"/>
                <a:gd name="T38" fmla="*/ 212 w 527"/>
                <a:gd name="T39" fmla="*/ 121 h 696"/>
                <a:gd name="T40" fmla="*/ 177 w 527"/>
                <a:gd name="T41" fmla="*/ 33 h 696"/>
                <a:gd name="T42" fmla="*/ 259 w 527"/>
                <a:gd name="T43" fmla="*/ 154 h 696"/>
                <a:gd name="T44" fmla="*/ 225 w 527"/>
                <a:gd name="T45" fmla="*/ 61 h 696"/>
                <a:gd name="T46" fmla="*/ 191 w 527"/>
                <a:gd name="T47" fmla="*/ 4 h 696"/>
                <a:gd name="T48" fmla="*/ 199 w 527"/>
                <a:gd name="T49" fmla="*/ 2 h 696"/>
                <a:gd name="T50" fmla="*/ 257 w 527"/>
                <a:gd name="T51" fmla="*/ 114 h 696"/>
                <a:gd name="T52" fmla="*/ 248 w 527"/>
                <a:gd name="T53" fmla="*/ 56 h 696"/>
                <a:gd name="T54" fmla="*/ 256 w 527"/>
                <a:gd name="T55" fmla="*/ 52 h 696"/>
                <a:gd name="T56" fmla="*/ 266 w 527"/>
                <a:gd name="T57" fmla="*/ 2 h 696"/>
                <a:gd name="T58" fmla="*/ 288 w 527"/>
                <a:gd name="T59" fmla="*/ 106 h 696"/>
                <a:gd name="T60" fmla="*/ 295 w 527"/>
                <a:gd name="T61" fmla="*/ 179 h 696"/>
                <a:gd name="T62" fmla="*/ 410 w 527"/>
                <a:gd name="T63" fmla="*/ 61 h 696"/>
                <a:gd name="T64" fmla="*/ 316 w 527"/>
                <a:gd name="T65" fmla="*/ 198 h 696"/>
                <a:gd name="T66" fmla="*/ 404 w 527"/>
                <a:gd name="T67" fmla="*/ 138 h 696"/>
                <a:gd name="T68" fmla="*/ 461 w 527"/>
                <a:gd name="T69" fmla="*/ 76 h 696"/>
                <a:gd name="T70" fmla="*/ 457 w 527"/>
                <a:gd name="T71" fmla="*/ 94 h 696"/>
                <a:gd name="T72" fmla="*/ 392 w 527"/>
                <a:gd name="T73" fmla="*/ 160 h 696"/>
                <a:gd name="T74" fmla="*/ 316 w 527"/>
                <a:gd name="T75" fmla="*/ 215 h 696"/>
                <a:gd name="T76" fmla="*/ 436 w 527"/>
                <a:gd name="T77" fmla="*/ 196 h 696"/>
                <a:gd name="T78" fmla="*/ 517 w 527"/>
                <a:gd name="T79" fmla="*/ 166 h 696"/>
                <a:gd name="T80" fmla="*/ 507 w 527"/>
                <a:gd name="T81" fmla="*/ 180 h 696"/>
                <a:gd name="T82" fmla="*/ 383 w 527"/>
                <a:gd name="T83" fmla="*/ 218 h 696"/>
                <a:gd name="T84" fmla="*/ 430 w 527"/>
                <a:gd name="T85" fmla="*/ 217 h 696"/>
                <a:gd name="T86" fmla="*/ 524 w 527"/>
                <a:gd name="T87" fmla="*/ 192 h 696"/>
                <a:gd name="T88" fmla="*/ 513 w 527"/>
                <a:gd name="T89" fmla="*/ 205 h 696"/>
                <a:gd name="T90" fmla="*/ 411 w 527"/>
                <a:gd name="T91" fmla="*/ 230 h 696"/>
                <a:gd name="T92" fmla="*/ 391 w 527"/>
                <a:gd name="T93" fmla="*/ 242 h 696"/>
                <a:gd name="T94" fmla="*/ 474 w 527"/>
                <a:gd name="T95" fmla="*/ 247 h 696"/>
                <a:gd name="T96" fmla="*/ 524 w 527"/>
                <a:gd name="T97" fmla="*/ 277 h 696"/>
                <a:gd name="T98" fmla="*/ 507 w 527"/>
                <a:gd name="T99" fmla="*/ 274 h 696"/>
                <a:gd name="T100" fmla="*/ 442 w 527"/>
                <a:gd name="T101" fmla="*/ 253 h 696"/>
                <a:gd name="T102" fmla="*/ 505 w 527"/>
                <a:gd name="T103" fmla="*/ 310 h 696"/>
                <a:gd name="T104" fmla="*/ 499 w 527"/>
                <a:gd name="T105" fmla="*/ 316 h 696"/>
                <a:gd name="T106" fmla="*/ 478 w 527"/>
                <a:gd name="T107" fmla="*/ 325 h 696"/>
                <a:gd name="T108" fmla="*/ 420 w 527"/>
                <a:gd name="T109" fmla="*/ 350 h 696"/>
                <a:gd name="T110" fmla="*/ 412 w 527"/>
                <a:gd name="T111" fmla="*/ 354 h 696"/>
                <a:gd name="T112" fmla="*/ 345 w 527"/>
                <a:gd name="T113" fmla="*/ 338 h 696"/>
                <a:gd name="T114" fmla="*/ 332 w 527"/>
                <a:gd name="T115" fmla="*/ 345 h 696"/>
                <a:gd name="T116" fmla="*/ 277 w 527"/>
                <a:gd name="T117" fmla="*/ 22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7" h="696">
                  <a:moveTo>
                    <a:pt x="281" y="196"/>
                  </a:moveTo>
                  <a:lnTo>
                    <a:pt x="284" y="186"/>
                  </a:lnTo>
                  <a:lnTo>
                    <a:pt x="286" y="177"/>
                  </a:lnTo>
                  <a:lnTo>
                    <a:pt x="287" y="167"/>
                  </a:lnTo>
                  <a:lnTo>
                    <a:pt x="287" y="157"/>
                  </a:lnTo>
                  <a:lnTo>
                    <a:pt x="286" y="148"/>
                  </a:lnTo>
                  <a:lnTo>
                    <a:pt x="285" y="138"/>
                  </a:lnTo>
                  <a:lnTo>
                    <a:pt x="284" y="128"/>
                  </a:lnTo>
                  <a:lnTo>
                    <a:pt x="281" y="118"/>
                  </a:lnTo>
                  <a:lnTo>
                    <a:pt x="278" y="108"/>
                  </a:lnTo>
                  <a:lnTo>
                    <a:pt x="275" y="100"/>
                  </a:lnTo>
                  <a:lnTo>
                    <a:pt x="281" y="196"/>
                  </a:lnTo>
                  <a:close/>
                  <a:moveTo>
                    <a:pt x="9" y="672"/>
                  </a:moveTo>
                  <a:lnTo>
                    <a:pt x="32" y="619"/>
                  </a:lnTo>
                  <a:lnTo>
                    <a:pt x="54" y="570"/>
                  </a:lnTo>
                  <a:lnTo>
                    <a:pt x="48" y="575"/>
                  </a:lnTo>
                  <a:lnTo>
                    <a:pt x="42" y="581"/>
                  </a:lnTo>
                  <a:lnTo>
                    <a:pt x="37" y="588"/>
                  </a:lnTo>
                  <a:lnTo>
                    <a:pt x="31" y="596"/>
                  </a:lnTo>
                  <a:lnTo>
                    <a:pt x="26" y="604"/>
                  </a:lnTo>
                  <a:lnTo>
                    <a:pt x="22" y="613"/>
                  </a:lnTo>
                  <a:lnTo>
                    <a:pt x="18" y="622"/>
                  </a:lnTo>
                  <a:lnTo>
                    <a:pt x="15" y="632"/>
                  </a:lnTo>
                  <a:lnTo>
                    <a:pt x="12" y="642"/>
                  </a:lnTo>
                  <a:lnTo>
                    <a:pt x="11" y="652"/>
                  </a:lnTo>
                  <a:lnTo>
                    <a:pt x="9" y="662"/>
                  </a:lnTo>
                  <a:lnTo>
                    <a:pt x="9" y="672"/>
                  </a:lnTo>
                  <a:close/>
                  <a:moveTo>
                    <a:pt x="62" y="576"/>
                  </a:moveTo>
                  <a:lnTo>
                    <a:pt x="40" y="623"/>
                  </a:lnTo>
                  <a:lnTo>
                    <a:pt x="19" y="673"/>
                  </a:lnTo>
                  <a:lnTo>
                    <a:pt x="27" y="663"/>
                  </a:lnTo>
                  <a:lnTo>
                    <a:pt x="35" y="652"/>
                  </a:lnTo>
                  <a:lnTo>
                    <a:pt x="42" y="640"/>
                  </a:lnTo>
                  <a:lnTo>
                    <a:pt x="48" y="628"/>
                  </a:lnTo>
                  <a:lnTo>
                    <a:pt x="53" y="615"/>
                  </a:lnTo>
                  <a:lnTo>
                    <a:pt x="57" y="602"/>
                  </a:lnTo>
                  <a:lnTo>
                    <a:pt x="60" y="589"/>
                  </a:lnTo>
                  <a:lnTo>
                    <a:pt x="62" y="576"/>
                  </a:lnTo>
                  <a:close/>
                  <a:moveTo>
                    <a:pt x="277" y="227"/>
                  </a:moveTo>
                  <a:lnTo>
                    <a:pt x="268" y="237"/>
                  </a:lnTo>
                  <a:lnTo>
                    <a:pt x="259" y="246"/>
                  </a:lnTo>
                  <a:lnTo>
                    <a:pt x="242" y="264"/>
                  </a:lnTo>
                  <a:lnTo>
                    <a:pt x="227" y="282"/>
                  </a:lnTo>
                  <a:lnTo>
                    <a:pt x="219" y="292"/>
                  </a:lnTo>
                  <a:lnTo>
                    <a:pt x="212" y="301"/>
                  </a:lnTo>
                  <a:lnTo>
                    <a:pt x="197" y="321"/>
                  </a:lnTo>
                  <a:lnTo>
                    <a:pt x="183" y="341"/>
                  </a:lnTo>
                  <a:lnTo>
                    <a:pt x="169" y="362"/>
                  </a:lnTo>
                  <a:lnTo>
                    <a:pt x="156" y="384"/>
                  </a:lnTo>
                  <a:lnTo>
                    <a:pt x="145" y="402"/>
                  </a:lnTo>
                  <a:lnTo>
                    <a:pt x="136" y="419"/>
                  </a:lnTo>
                  <a:lnTo>
                    <a:pt x="120" y="451"/>
                  </a:lnTo>
                  <a:lnTo>
                    <a:pt x="88" y="521"/>
                  </a:lnTo>
                  <a:lnTo>
                    <a:pt x="71" y="555"/>
                  </a:lnTo>
                  <a:lnTo>
                    <a:pt x="71" y="565"/>
                  </a:lnTo>
                  <a:lnTo>
                    <a:pt x="71" y="575"/>
                  </a:lnTo>
                  <a:lnTo>
                    <a:pt x="70" y="585"/>
                  </a:lnTo>
                  <a:lnTo>
                    <a:pt x="68" y="595"/>
                  </a:lnTo>
                  <a:lnTo>
                    <a:pt x="66" y="605"/>
                  </a:lnTo>
                  <a:lnTo>
                    <a:pt x="63" y="614"/>
                  </a:lnTo>
                  <a:lnTo>
                    <a:pt x="60" y="624"/>
                  </a:lnTo>
                  <a:lnTo>
                    <a:pt x="56" y="633"/>
                  </a:lnTo>
                  <a:lnTo>
                    <a:pt x="52" y="642"/>
                  </a:lnTo>
                  <a:lnTo>
                    <a:pt x="47" y="650"/>
                  </a:lnTo>
                  <a:lnTo>
                    <a:pt x="42" y="659"/>
                  </a:lnTo>
                  <a:lnTo>
                    <a:pt x="36" y="667"/>
                  </a:lnTo>
                  <a:lnTo>
                    <a:pt x="30" y="675"/>
                  </a:lnTo>
                  <a:lnTo>
                    <a:pt x="23" y="682"/>
                  </a:lnTo>
                  <a:lnTo>
                    <a:pt x="16" y="689"/>
                  </a:lnTo>
                  <a:lnTo>
                    <a:pt x="8" y="696"/>
                  </a:lnTo>
                  <a:lnTo>
                    <a:pt x="6" y="696"/>
                  </a:lnTo>
                  <a:lnTo>
                    <a:pt x="4" y="696"/>
                  </a:lnTo>
                  <a:lnTo>
                    <a:pt x="3" y="695"/>
                  </a:lnTo>
                  <a:lnTo>
                    <a:pt x="1" y="693"/>
                  </a:lnTo>
                  <a:lnTo>
                    <a:pt x="0" y="680"/>
                  </a:lnTo>
                  <a:lnTo>
                    <a:pt x="0" y="667"/>
                  </a:lnTo>
                  <a:lnTo>
                    <a:pt x="1" y="653"/>
                  </a:lnTo>
                  <a:lnTo>
                    <a:pt x="3" y="640"/>
                  </a:lnTo>
                  <a:lnTo>
                    <a:pt x="6" y="627"/>
                  </a:lnTo>
                  <a:lnTo>
                    <a:pt x="11" y="614"/>
                  </a:lnTo>
                  <a:lnTo>
                    <a:pt x="16" y="602"/>
                  </a:lnTo>
                  <a:lnTo>
                    <a:pt x="20" y="596"/>
                  </a:lnTo>
                  <a:lnTo>
                    <a:pt x="23" y="591"/>
                  </a:lnTo>
                  <a:lnTo>
                    <a:pt x="32" y="579"/>
                  </a:lnTo>
                  <a:lnTo>
                    <a:pt x="36" y="574"/>
                  </a:lnTo>
                  <a:lnTo>
                    <a:pt x="40" y="569"/>
                  </a:lnTo>
                  <a:lnTo>
                    <a:pt x="45" y="565"/>
                  </a:lnTo>
                  <a:lnTo>
                    <a:pt x="50" y="561"/>
                  </a:lnTo>
                  <a:lnTo>
                    <a:pt x="56" y="557"/>
                  </a:lnTo>
                  <a:lnTo>
                    <a:pt x="62" y="553"/>
                  </a:lnTo>
                  <a:lnTo>
                    <a:pt x="79" y="516"/>
                  </a:lnTo>
                  <a:lnTo>
                    <a:pt x="96" y="479"/>
                  </a:lnTo>
                  <a:lnTo>
                    <a:pt x="111" y="447"/>
                  </a:lnTo>
                  <a:lnTo>
                    <a:pt x="119" y="431"/>
                  </a:lnTo>
                  <a:lnTo>
                    <a:pt x="128" y="415"/>
                  </a:lnTo>
                  <a:lnTo>
                    <a:pt x="137" y="398"/>
                  </a:lnTo>
                  <a:lnTo>
                    <a:pt x="148" y="379"/>
                  </a:lnTo>
                  <a:lnTo>
                    <a:pt x="161" y="357"/>
                  </a:lnTo>
                  <a:lnTo>
                    <a:pt x="175" y="336"/>
                  </a:lnTo>
                  <a:lnTo>
                    <a:pt x="189" y="315"/>
                  </a:lnTo>
                  <a:lnTo>
                    <a:pt x="204" y="296"/>
                  </a:lnTo>
                  <a:lnTo>
                    <a:pt x="219" y="276"/>
                  </a:lnTo>
                  <a:lnTo>
                    <a:pt x="235" y="258"/>
                  </a:lnTo>
                  <a:lnTo>
                    <a:pt x="252" y="239"/>
                  </a:lnTo>
                  <a:lnTo>
                    <a:pt x="261" y="230"/>
                  </a:lnTo>
                  <a:lnTo>
                    <a:pt x="270" y="221"/>
                  </a:lnTo>
                  <a:lnTo>
                    <a:pt x="269" y="218"/>
                  </a:lnTo>
                  <a:lnTo>
                    <a:pt x="125" y="89"/>
                  </a:lnTo>
                  <a:lnTo>
                    <a:pt x="124" y="88"/>
                  </a:lnTo>
                  <a:lnTo>
                    <a:pt x="123" y="86"/>
                  </a:lnTo>
                  <a:lnTo>
                    <a:pt x="124" y="84"/>
                  </a:lnTo>
                  <a:lnTo>
                    <a:pt x="125" y="83"/>
                  </a:lnTo>
                  <a:lnTo>
                    <a:pt x="126" y="81"/>
                  </a:lnTo>
                  <a:lnTo>
                    <a:pt x="128" y="81"/>
                  </a:lnTo>
                  <a:lnTo>
                    <a:pt x="129" y="81"/>
                  </a:lnTo>
                  <a:lnTo>
                    <a:pt x="131" y="82"/>
                  </a:lnTo>
                  <a:lnTo>
                    <a:pt x="254" y="192"/>
                  </a:lnTo>
                  <a:lnTo>
                    <a:pt x="243" y="175"/>
                  </a:lnTo>
                  <a:lnTo>
                    <a:pt x="231" y="159"/>
                  </a:lnTo>
                  <a:lnTo>
                    <a:pt x="225" y="151"/>
                  </a:lnTo>
                  <a:lnTo>
                    <a:pt x="219" y="143"/>
                  </a:lnTo>
                  <a:lnTo>
                    <a:pt x="205" y="128"/>
                  </a:lnTo>
                  <a:lnTo>
                    <a:pt x="192" y="113"/>
                  </a:lnTo>
                  <a:lnTo>
                    <a:pt x="177" y="99"/>
                  </a:lnTo>
                  <a:lnTo>
                    <a:pt x="161" y="86"/>
                  </a:lnTo>
                  <a:lnTo>
                    <a:pt x="145" y="74"/>
                  </a:lnTo>
                  <a:lnTo>
                    <a:pt x="144" y="72"/>
                  </a:lnTo>
                  <a:lnTo>
                    <a:pt x="143" y="71"/>
                  </a:lnTo>
                  <a:lnTo>
                    <a:pt x="143" y="69"/>
                  </a:lnTo>
                  <a:lnTo>
                    <a:pt x="144" y="67"/>
                  </a:lnTo>
                  <a:lnTo>
                    <a:pt x="145" y="66"/>
                  </a:lnTo>
                  <a:lnTo>
                    <a:pt x="147" y="65"/>
                  </a:lnTo>
                  <a:lnTo>
                    <a:pt x="149" y="65"/>
                  </a:lnTo>
                  <a:lnTo>
                    <a:pt x="151" y="66"/>
                  </a:lnTo>
                  <a:lnTo>
                    <a:pt x="162" y="74"/>
                  </a:lnTo>
                  <a:lnTo>
                    <a:pt x="173" y="83"/>
                  </a:lnTo>
                  <a:lnTo>
                    <a:pt x="183" y="92"/>
                  </a:lnTo>
                  <a:lnTo>
                    <a:pt x="193" y="101"/>
                  </a:lnTo>
                  <a:lnTo>
                    <a:pt x="203" y="111"/>
                  </a:lnTo>
                  <a:lnTo>
                    <a:pt x="212" y="121"/>
                  </a:lnTo>
                  <a:lnTo>
                    <a:pt x="222" y="131"/>
                  </a:lnTo>
                  <a:lnTo>
                    <a:pt x="230" y="142"/>
                  </a:lnTo>
                  <a:lnTo>
                    <a:pt x="175" y="40"/>
                  </a:lnTo>
                  <a:lnTo>
                    <a:pt x="175" y="38"/>
                  </a:lnTo>
                  <a:lnTo>
                    <a:pt x="175" y="36"/>
                  </a:lnTo>
                  <a:lnTo>
                    <a:pt x="176" y="34"/>
                  </a:lnTo>
                  <a:lnTo>
                    <a:pt x="177" y="33"/>
                  </a:lnTo>
                  <a:lnTo>
                    <a:pt x="179" y="33"/>
                  </a:lnTo>
                  <a:lnTo>
                    <a:pt x="181" y="33"/>
                  </a:lnTo>
                  <a:lnTo>
                    <a:pt x="182" y="34"/>
                  </a:lnTo>
                  <a:lnTo>
                    <a:pt x="184" y="35"/>
                  </a:lnTo>
                  <a:lnTo>
                    <a:pt x="267" y="191"/>
                  </a:lnTo>
                  <a:lnTo>
                    <a:pt x="262" y="166"/>
                  </a:lnTo>
                  <a:lnTo>
                    <a:pt x="259" y="154"/>
                  </a:lnTo>
                  <a:lnTo>
                    <a:pt x="256" y="142"/>
                  </a:lnTo>
                  <a:lnTo>
                    <a:pt x="249" y="118"/>
                  </a:lnTo>
                  <a:lnTo>
                    <a:pt x="245" y="107"/>
                  </a:lnTo>
                  <a:lnTo>
                    <a:pt x="240" y="95"/>
                  </a:lnTo>
                  <a:lnTo>
                    <a:pt x="235" y="84"/>
                  </a:lnTo>
                  <a:lnTo>
                    <a:pt x="230" y="72"/>
                  </a:lnTo>
                  <a:lnTo>
                    <a:pt x="225" y="61"/>
                  </a:lnTo>
                  <a:lnTo>
                    <a:pt x="219" y="50"/>
                  </a:lnTo>
                  <a:lnTo>
                    <a:pt x="213" y="40"/>
                  </a:lnTo>
                  <a:lnTo>
                    <a:pt x="206" y="29"/>
                  </a:lnTo>
                  <a:lnTo>
                    <a:pt x="199" y="18"/>
                  </a:lnTo>
                  <a:lnTo>
                    <a:pt x="192" y="8"/>
                  </a:lnTo>
                  <a:lnTo>
                    <a:pt x="191" y="6"/>
                  </a:lnTo>
                  <a:lnTo>
                    <a:pt x="191" y="4"/>
                  </a:lnTo>
                  <a:lnTo>
                    <a:pt x="191" y="3"/>
                  </a:lnTo>
                  <a:lnTo>
                    <a:pt x="191" y="2"/>
                  </a:lnTo>
                  <a:lnTo>
                    <a:pt x="193" y="1"/>
                  </a:lnTo>
                  <a:lnTo>
                    <a:pt x="194" y="0"/>
                  </a:lnTo>
                  <a:lnTo>
                    <a:pt x="196" y="0"/>
                  </a:lnTo>
                  <a:lnTo>
                    <a:pt x="198" y="1"/>
                  </a:lnTo>
                  <a:lnTo>
                    <a:pt x="199" y="2"/>
                  </a:lnTo>
                  <a:lnTo>
                    <a:pt x="211" y="20"/>
                  </a:lnTo>
                  <a:lnTo>
                    <a:pt x="223" y="38"/>
                  </a:lnTo>
                  <a:lnTo>
                    <a:pt x="233" y="56"/>
                  </a:lnTo>
                  <a:lnTo>
                    <a:pt x="242" y="75"/>
                  </a:lnTo>
                  <a:lnTo>
                    <a:pt x="246" y="85"/>
                  </a:lnTo>
                  <a:lnTo>
                    <a:pt x="250" y="94"/>
                  </a:lnTo>
                  <a:lnTo>
                    <a:pt x="257" y="114"/>
                  </a:lnTo>
                  <a:lnTo>
                    <a:pt x="261" y="124"/>
                  </a:lnTo>
                  <a:lnTo>
                    <a:pt x="264" y="134"/>
                  </a:lnTo>
                  <a:lnTo>
                    <a:pt x="269" y="154"/>
                  </a:lnTo>
                  <a:lnTo>
                    <a:pt x="264" y="78"/>
                  </a:lnTo>
                  <a:lnTo>
                    <a:pt x="257" y="68"/>
                  </a:lnTo>
                  <a:lnTo>
                    <a:pt x="249" y="58"/>
                  </a:lnTo>
                  <a:lnTo>
                    <a:pt x="248" y="56"/>
                  </a:lnTo>
                  <a:lnTo>
                    <a:pt x="248" y="54"/>
                  </a:lnTo>
                  <a:lnTo>
                    <a:pt x="248" y="53"/>
                  </a:lnTo>
                  <a:lnTo>
                    <a:pt x="249" y="51"/>
                  </a:lnTo>
                  <a:lnTo>
                    <a:pt x="251" y="50"/>
                  </a:lnTo>
                  <a:lnTo>
                    <a:pt x="253" y="50"/>
                  </a:lnTo>
                  <a:lnTo>
                    <a:pt x="254" y="50"/>
                  </a:lnTo>
                  <a:lnTo>
                    <a:pt x="256" y="52"/>
                  </a:lnTo>
                  <a:lnTo>
                    <a:pt x="263" y="60"/>
                  </a:lnTo>
                  <a:lnTo>
                    <a:pt x="260" y="7"/>
                  </a:lnTo>
                  <a:lnTo>
                    <a:pt x="260" y="5"/>
                  </a:lnTo>
                  <a:lnTo>
                    <a:pt x="261" y="3"/>
                  </a:lnTo>
                  <a:lnTo>
                    <a:pt x="262" y="2"/>
                  </a:lnTo>
                  <a:lnTo>
                    <a:pt x="264" y="2"/>
                  </a:lnTo>
                  <a:lnTo>
                    <a:pt x="266" y="2"/>
                  </a:lnTo>
                  <a:lnTo>
                    <a:pt x="268" y="3"/>
                  </a:lnTo>
                  <a:lnTo>
                    <a:pt x="269" y="4"/>
                  </a:lnTo>
                  <a:lnTo>
                    <a:pt x="269" y="6"/>
                  </a:lnTo>
                  <a:lnTo>
                    <a:pt x="274" y="76"/>
                  </a:lnTo>
                  <a:lnTo>
                    <a:pt x="279" y="86"/>
                  </a:lnTo>
                  <a:lnTo>
                    <a:pt x="284" y="96"/>
                  </a:lnTo>
                  <a:lnTo>
                    <a:pt x="288" y="106"/>
                  </a:lnTo>
                  <a:lnTo>
                    <a:pt x="291" y="117"/>
                  </a:lnTo>
                  <a:lnTo>
                    <a:pt x="293" y="128"/>
                  </a:lnTo>
                  <a:lnTo>
                    <a:pt x="295" y="139"/>
                  </a:lnTo>
                  <a:lnTo>
                    <a:pt x="296" y="150"/>
                  </a:lnTo>
                  <a:lnTo>
                    <a:pt x="296" y="161"/>
                  </a:lnTo>
                  <a:lnTo>
                    <a:pt x="296" y="171"/>
                  </a:lnTo>
                  <a:lnTo>
                    <a:pt x="295" y="179"/>
                  </a:lnTo>
                  <a:lnTo>
                    <a:pt x="294" y="187"/>
                  </a:lnTo>
                  <a:lnTo>
                    <a:pt x="292" y="195"/>
                  </a:lnTo>
                  <a:lnTo>
                    <a:pt x="403" y="62"/>
                  </a:lnTo>
                  <a:lnTo>
                    <a:pt x="405" y="61"/>
                  </a:lnTo>
                  <a:lnTo>
                    <a:pt x="406" y="60"/>
                  </a:lnTo>
                  <a:lnTo>
                    <a:pt x="408" y="61"/>
                  </a:lnTo>
                  <a:lnTo>
                    <a:pt x="410" y="61"/>
                  </a:lnTo>
                  <a:lnTo>
                    <a:pt x="411" y="63"/>
                  </a:lnTo>
                  <a:lnTo>
                    <a:pt x="411" y="64"/>
                  </a:lnTo>
                  <a:lnTo>
                    <a:pt x="411" y="66"/>
                  </a:lnTo>
                  <a:lnTo>
                    <a:pt x="410" y="68"/>
                  </a:lnTo>
                  <a:lnTo>
                    <a:pt x="291" y="210"/>
                  </a:lnTo>
                  <a:lnTo>
                    <a:pt x="304" y="204"/>
                  </a:lnTo>
                  <a:lnTo>
                    <a:pt x="316" y="198"/>
                  </a:lnTo>
                  <a:lnTo>
                    <a:pt x="339" y="185"/>
                  </a:lnTo>
                  <a:lnTo>
                    <a:pt x="351" y="178"/>
                  </a:lnTo>
                  <a:lnTo>
                    <a:pt x="362" y="171"/>
                  </a:lnTo>
                  <a:lnTo>
                    <a:pt x="373" y="163"/>
                  </a:lnTo>
                  <a:lnTo>
                    <a:pt x="383" y="155"/>
                  </a:lnTo>
                  <a:lnTo>
                    <a:pt x="394" y="147"/>
                  </a:lnTo>
                  <a:lnTo>
                    <a:pt x="404" y="138"/>
                  </a:lnTo>
                  <a:lnTo>
                    <a:pt x="423" y="120"/>
                  </a:lnTo>
                  <a:lnTo>
                    <a:pt x="432" y="110"/>
                  </a:lnTo>
                  <a:lnTo>
                    <a:pt x="441" y="99"/>
                  </a:lnTo>
                  <a:lnTo>
                    <a:pt x="449" y="89"/>
                  </a:lnTo>
                  <a:lnTo>
                    <a:pt x="458" y="78"/>
                  </a:lnTo>
                  <a:lnTo>
                    <a:pt x="459" y="76"/>
                  </a:lnTo>
                  <a:lnTo>
                    <a:pt x="461" y="76"/>
                  </a:lnTo>
                  <a:lnTo>
                    <a:pt x="463" y="76"/>
                  </a:lnTo>
                  <a:lnTo>
                    <a:pt x="464" y="77"/>
                  </a:lnTo>
                  <a:lnTo>
                    <a:pt x="466" y="78"/>
                  </a:lnTo>
                  <a:lnTo>
                    <a:pt x="466" y="80"/>
                  </a:lnTo>
                  <a:lnTo>
                    <a:pt x="466" y="81"/>
                  </a:lnTo>
                  <a:lnTo>
                    <a:pt x="465" y="83"/>
                  </a:lnTo>
                  <a:lnTo>
                    <a:pt x="457" y="94"/>
                  </a:lnTo>
                  <a:lnTo>
                    <a:pt x="449" y="105"/>
                  </a:lnTo>
                  <a:lnTo>
                    <a:pt x="440" y="115"/>
                  </a:lnTo>
                  <a:lnTo>
                    <a:pt x="431" y="125"/>
                  </a:lnTo>
                  <a:lnTo>
                    <a:pt x="422" y="134"/>
                  </a:lnTo>
                  <a:lnTo>
                    <a:pt x="412" y="143"/>
                  </a:lnTo>
                  <a:lnTo>
                    <a:pt x="402" y="152"/>
                  </a:lnTo>
                  <a:lnTo>
                    <a:pt x="392" y="160"/>
                  </a:lnTo>
                  <a:lnTo>
                    <a:pt x="382" y="168"/>
                  </a:lnTo>
                  <a:lnTo>
                    <a:pt x="371" y="176"/>
                  </a:lnTo>
                  <a:lnTo>
                    <a:pt x="349" y="191"/>
                  </a:lnTo>
                  <a:lnTo>
                    <a:pt x="326" y="204"/>
                  </a:lnTo>
                  <a:lnTo>
                    <a:pt x="314" y="210"/>
                  </a:lnTo>
                  <a:lnTo>
                    <a:pt x="302" y="216"/>
                  </a:lnTo>
                  <a:lnTo>
                    <a:pt x="316" y="215"/>
                  </a:lnTo>
                  <a:lnTo>
                    <a:pt x="330" y="215"/>
                  </a:lnTo>
                  <a:lnTo>
                    <a:pt x="343" y="213"/>
                  </a:lnTo>
                  <a:lnTo>
                    <a:pt x="357" y="212"/>
                  </a:lnTo>
                  <a:lnTo>
                    <a:pt x="370" y="210"/>
                  </a:lnTo>
                  <a:lnTo>
                    <a:pt x="384" y="208"/>
                  </a:lnTo>
                  <a:lnTo>
                    <a:pt x="410" y="203"/>
                  </a:lnTo>
                  <a:lnTo>
                    <a:pt x="436" y="196"/>
                  </a:lnTo>
                  <a:lnTo>
                    <a:pt x="462" y="188"/>
                  </a:lnTo>
                  <a:lnTo>
                    <a:pt x="475" y="183"/>
                  </a:lnTo>
                  <a:lnTo>
                    <a:pt x="488" y="178"/>
                  </a:lnTo>
                  <a:lnTo>
                    <a:pt x="500" y="172"/>
                  </a:lnTo>
                  <a:lnTo>
                    <a:pt x="513" y="166"/>
                  </a:lnTo>
                  <a:lnTo>
                    <a:pt x="515" y="166"/>
                  </a:lnTo>
                  <a:lnTo>
                    <a:pt x="517" y="166"/>
                  </a:lnTo>
                  <a:lnTo>
                    <a:pt x="519" y="167"/>
                  </a:lnTo>
                  <a:lnTo>
                    <a:pt x="520" y="168"/>
                  </a:lnTo>
                  <a:lnTo>
                    <a:pt x="520" y="170"/>
                  </a:lnTo>
                  <a:lnTo>
                    <a:pt x="520" y="172"/>
                  </a:lnTo>
                  <a:lnTo>
                    <a:pt x="519" y="173"/>
                  </a:lnTo>
                  <a:lnTo>
                    <a:pt x="517" y="175"/>
                  </a:lnTo>
                  <a:lnTo>
                    <a:pt x="507" y="180"/>
                  </a:lnTo>
                  <a:lnTo>
                    <a:pt x="496" y="185"/>
                  </a:lnTo>
                  <a:lnTo>
                    <a:pt x="473" y="194"/>
                  </a:lnTo>
                  <a:lnTo>
                    <a:pt x="451" y="202"/>
                  </a:lnTo>
                  <a:lnTo>
                    <a:pt x="440" y="205"/>
                  </a:lnTo>
                  <a:lnTo>
                    <a:pt x="429" y="208"/>
                  </a:lnTo>
                  <a:lnTo>
                    <a:pt x="406" y="214"/>
                  </a:lnTo>
                  <a:lnTo>
                    <a:pt x="383" y="218"/>
                  </a:lnTo>
                  <a:lnTo>
                    <a:pt x="360" y="221"/>
                  </a:lnTo>
                  <a:lnTo>
                    <a:pt x="337" y="224"/>
                  </a:lnTo>
                  <a:lnTo>
                    <a:pt x="360" y="224"/>
                  </a:lnTo>
                  <a:lnTo>
                    <a:pt x="372" y="223"/>
                  </a:lnTo>
                  <a:lnTo>
                    <a:pt x="384" y="223"/>
                  </a:lnTo>
                  <a:lnTo>
                    <a:pt x="407" y="221"/>
                  </a:lnTo>
                  <a:lnTo>
                    <a:pt x="430" y="217"/>
                  </a:lnTo>
                  <a:lnTo>
                    <a:pt x="453" y="213"/>
                  </a:lnTo>
                  <a:lnTo>
                    <a:pt x="476" y="207"/>
                  </a:lnTo>
                  <a:lnTo>
                    <a:pt x="498" y="200"/>
                  </a:lnTo>
                  <a:lnTo>
                    <a:pt x="509" y="196"/>
                  </a:lnTo>
                  <a:lnTo>
                    <a:pt x="520" y="192"/>
                  </a:lnTo>
                  <a:lnTo>
                    <a:pt x="522" y="191"/>
                  </a:lnTo>
                  <a:lnTo>
                    <a:pt x="524" y="192"/>
                  </a:lnTo>
                  <a:lnTo>
                    <a:pt x="525" y="193"/>
                  </a:lnTo>
                  <a:lnTo>
                    <a:pt x="526" y="194"/>
                  </a:lnTo>
                  <a:lnTo>
                    <a:pt x="527" y="196"/>
                  </a:lnTo>
                  <a:lnTo>
                    <a:pt x="526" y="198"/>
                  </a:lnTo>
                  <a:lnTo>
                    <a:pt x="525" y="199"/>
                  </a:lnTo>
                  <a:lnTo>
                    <a:pt x="524" y="200"/>
                  </a:lnTo>
                  <a:lnTo>
                    <a:pt x="513" y="205"/>
                  </a:lnTo>
                  <a:lnTo>
                    <a:pt x="502" y="209"/>
                  </a:lnTo>
                  <a:lnTo>
                    <a:pt x="491" y="212"/>
                  </a:lnTo>
                  <a:lnTo>
                    <a:pt x="479" y="216"/>
                  </a:lnTo>
                  <a:lnTo>
                    <a:pt x="468" y="219"/>
                  </a:lnTo>
                  <a:lnTo>
                    <a:pt x="457" y="222"/>
                  </a:lnTo>
                  <a:lnTo>
                    <a:pt x="434" y="226"/>
                  </a:lnTo>
                  <a:lnTo>
                    <a:pt x="411" y="230"/>
                  </a:lnTo>
                  <a:lnTo>
                    <a:pt x="388" y="232"/>
                  </a:lnTo>
                  <a:lnTo>
                    <a:pt x="376" y="233"/>
                  </a:lnTo>
                  <a:lnTo>
                    <a:pt x="365" y="233"/>
                  </a:lnTo>
                  <a:lnTo>
                    <a:pt x="341" y="233"/>
                  </a:lnTo>
                  <a:lnTo>
                    <a:pt x="366" y="238"/>
                  </a:lnTo>
                  <a:lnTo>
                    <a:pt x="378" y="240"/>
                  </a:lnTo>
                  <a:lnTo>
                    <a:pt x="391" y="242"/>
                  </a:lnTo>
                  <a:lnTo>
                    <a:pt x="403" y="243"/>
                  </a:lnTo>
                  <a:lnTo>
                    <a:pt x="416" y="244"/>
                  </a:lnTo>
                  <a:lnTo>
                    <a:pt x="428" y="244"/>
                  </a:lnTo>
                  <a:lnTo>
                    <a:pt x="441" y="244"/>
                  </a:lnTo>
                  <a:lnTo>
                    <a:pt x="453" y="244"/>
                  </a:lnTo>
                  <a:lnTo>
                    <a:pt x="464" y="245"/>
                  </a:lnTo>
                  <a:lnTo>
                    <a:pt x="474" y="247"/>
                  </a:lnTo>
                  <a:lnTo>
                    <a:pt x="484" y="251"/>
                  </a:lnTo>
                  <a:lnTo>
                    <a:pt x="494" y="255"/>
                  </a:lnTo>
                  <a:lnTo>
                    <a:pt x="504" y="260"/>
                  </a:lnTo>
                  <a:lnTo>
                    <a:pt x="513" y="266"/>
                  </a:lnTo>
                  <a:lnTo>
                    <a:pt x="522" y="273"/>
                  </a:lnTo>
                  <a:lnTo>
                    <a:pt x="523" y="275"/>
                  </a:lnTo>
                  <a:lnTo>
                    <a:pt x="524" y="277"/>
                  </a:lnTo>
                  <a:lnTo>
                    <a:pt x="523" y="279"/>
                  </a:lnTo>
                  <a:lnTo>
                    <a:pt x="522" y="280"/>
                  </a:lnTo>
                  <a:lnTo>
                    <a:pt x="521" y="281"/>
                  </a:lnTo>
                  <a:lnTo>
                    <a:pt x="519" y="282"/>
                  </a:lnTo>
                  <a:lnTo>
                    <a:pt x="518" y="282"/>
                  </a:lnTo>
                  <a:lnTo>
                    <a:pt x="516" y="281"/>
                  </a:lnTo>
                  <a:lnTo>
                    <a:pt x="507" y="274"/>
                  </a:lnTo>
                  <a:lnTo>
                    <a:pt x="499" y="269"/>
                  </a:lnTo>
                  <a:lnTo>
                    <a:pt x="490" y="264"/>
                  </a:lnTo>
                  <a:lnTo>
                    <a:pt x="481" y="260"/>
                  </a:lnTo>
                  <a:lnTo>
                    <a:pt x="472" y="257"/>
                  </a:lnTo>
                  <a:lnTo>
                    <a:pt x="462" y="255"/>
                  </a:lnTo>
                  <a:lnTo>
                    <a:pt x="452" y="253"/>
                  </a:lnTo>
                  <a:lnTo>
                    <a:pt x="442" y="253"/>
                  </a:lnTo>
                  <a:lnTo>
                    <a:pt x="419" y="253"/>
                  </a:lnTo>
                  <a:lnTo>
                    <a:pt x="396" y="252"/>
                  </a:lnTo>
                  <a:lnTo>
                    <a:pt x="374" y="249"/>
                  </a:lnTo>
                  <a:lnTo>
                    <a:pt x="352" y="245"/>
                  </a:lnTo>
                  <a:lnTo>
                    <a:pt x="502" y="307"/>
                  </a:lnTo>
                  <a:lnTo>
                    <a:pt x="504" y="309"/>
                  </a:lnTo>
                  <a:lnTo>
                    <a:pt x="505" y="310"/>
                  </a:lnTo>
                  <a:lnTo>
                    <a:pt x="505" y="312"/>
                  </a:lnTo>
                  <a:lnTo>
                    <a:pt x="505" y="314"/>
                  </a:lnTo>
                  <a:lnTo>
                    <a:pt x="504" y="315"/>
                  </a:lnTo>
                  <a:lnTo>
                    <a:pt x="502" y="316"/>
                  </a:lnTo>
                  <a:lnTo>
                    <a:pt x="501" y="317"/>
                  </a:lnTo>
                  <a:lnTo>
                    <a:pt x="500" y="316"/>
                  </a:lnTo>
                  <a:lnTo>
                    <a:pt x="499" y="316"/>
                  </a:lnTo>
                  <a:lnTo>
                    <a:pt x="380" y="267"/>
                  </a:lnTo>
                  <a:lnTo>
                    <a:pt x="477" y="317"/>
                  </a:lnTo>
                  <a:lnTo>
                    <a:pt x="479" y="319"/>
                  </a:lnTo>
                  <a:lnTo>
                    <a:pt x="480" y="320"/>
                  </a:lnTo>
                  <a:lnTo>
                    <a:pt x="480" y="322"/>
                  </a:lnTo>
                  <a:lnTo>
                    <a:pt x="479" y="324"/>
                  </a:lnTo>
                  <a:lnTo>
                    <a:pt x="478" y="325"/>
                  </a:lnTo>
                  <a:lnTo>
                    <a:pt x="477" y="326"/>
                  </a:lnTo>
                  <a:lnTo>
                    <a:pt x="475" y="326"/>
                  </a:lnTo>
                  <a:lnTo>
                    <a:pt x="473" y="326"/>
                  </a:lnTo>
                  <a:lnTo>
                    <a:pt x="304" y="238"/>
                  </a:lnTo>
                  <a:lnTo>
                    <a:pt x="418" y="347"/>
                  </a:lnTo>
                  <a:lnTo>
                    <a:pt x="419" y="349"/>
                  </a:lnTo>
                  <a:lnTo>
                    <a:pt x="420" y="350"/>
                  </a:lnTo>
                  <a:lnTo>
                    <a:pt x="419" y="352"/>
                  </a:lnTo>
                  <a:lnTo>
                    <a:pt x="418" y="354"/>
                  </a:lnTo>
                  <a:lnTo>
                    <a:pt x="417" y="355"/>
                  </a:lnTo>
                  <a:lnTo>
                    <a:pt x="415" y="355"/>
                  </a:lnTo>
                  <a:lnTo>
                    <a:pt x="413" y="355"/>
                  </a:lnTo>
                  <a:lnTo>
                    <a:pt x="412" y="355"/>
                  </a:lnTo>
                  <a:lnTo>
                    <a:pt x="412" y="354"/>
                  </a:lnTo>
                  <a:lnTo>
                    <a:pt x="302" y="249"/>
                  </a:lnTo>
                  <a:lnTo>
                    <a:pt x="348" y="331"/>
                  </a:lnTo>
                  <a:lnTo>
                    <a:pt x="349" y="333"/>
                  </a:lnTo>
                  <a:lnTo>
                    <a:pt x="349" y="335"/>
                  </a:lnTo>
                  <a:lnTo>
                    <a:pt x="348" y="337"/>
                  </a:lnTo>
                  <a:lnTo>
                    <a:pt x="347" y="338"/>
                  </a:lnTo>
                  <a:lnTo>
                    <a:pt x="345" y="338"/>
                  </a:lnTo>
                  <a:lnTo>
                    <a:pt x="343" y="338"/>
                  </a:lnTo>
                  <a:lnTo>
                    <a:pt x="342" y="337"/>
                  </a:lnTo>
                  <a:lnTo>
                    <a:pt x="340" y="336"/>
                  </a:lnTo>
                  <a:lnTo>
                    <a:pt x="307" y="278"/>
                  </a:lnTo>
                  <a:lnTo>
                    <a:pt x="333" y="342"/>
                  </a:lnTo>
                  <a:lnTo>
                    <a:pt x="333" y="344"/>
                  </a:lnTo>
                  <a:lnTo>
                    <a:pt x="332" y="345"/>
                  </a:lnTo>
                  <a:lnTo>
                    <a:pt x="331" y="347"/>
                  </a:lnTo>
                  <a:lnTo>
                    <a:pt x="330" y="348"/>
                  </a:lnTo>
                  <a:lnTo>
                    <a:pt x="328" y="348"/>
                  </a:lnTo>
                  <a:lnTo>
                    <a:pt x="326" y="348"/>
                  </a:lnTo>
                  <a:lnTo>
                    <a:pt x="325" y="347"/>
                  </a:lnTo>
                  <a:lnTo>
                    <a:pt x="324" y="345"/>
                  </a:lnTo>
                  <a:lnTo>
                    <a:pt x="277"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0" name="Freeform 1958"/>
            <p:cNvSpPr>
              <a:spLocks/>
            </p:cNvSpPr>
            <p:nvPr userDrawn="1"/>
          </p:nvSpPr>
          <p:spPr bwMode="auto">
            <a:xfrm>
              <a:off x="1065835" y="1882775"/>
              <a:ext cx="2381250" cy="3765550"/>
            </a:xfrm>
            <a:custGeom>
              <a:avLst/>
              <a:gdLst>
                <a:gd name="T0" fmla="*/ 460 w 1500"/>
                <a:gd name="T1" fmla="*/ 1507 h 2372"/>
                <a:gd name="T2" fmla="*/ 542 w 1500"/>
                <a:gd name="T3" fmla="*/ 1919 h 2372"/>
                <a:gd name="T4" fmla="*/ 668 w 1500"/>
                <a:gd name="T5" fmla="*/ 2372 h 2372"/>
                <a:gd name="T6" fmla="*/ 518 w 1500"/>
                <a:gd name="T7" fmla="*/ 1889 h 2372"/>
                <a:gd name="T8" fmla="*/ 444 w 1500"/>
                <a:gd name="T9" fmla="*/ 1510 h 2372"/>
                <a:gd name="T10" fmla="*/ 385 w 1500"/>
                <a:gd name="T11" fmla="*/ 1153 h 2372"/>
                <a:gd name="T12" fmla="*/ 186 w 1500"/>
                <a:gd name="T13" fmla="*/ 1111 h 2372"/>
                <a:gd name="T14" fmla="*/ 72 w 1500"/>
                <a:gd name="T15" fmla="*/ 1082 h 2372"/>
                <a:gd name="T16" fmla="*/ 262 w 1500"/>
                <a:gd name="T17" fmla="*/ 1056 h 2372"/>
                <a:gd name="T18" fmla="*/ 37 w 1500"/>
                <a:gd name="T19" fmla="*/ 916 h 2372"/>
                <a:gd name="T20" fmla="*/ 333 w 1500"/>
                <a:gd name="T21" fmla="*/ 1080 h 2372"/>
                <a:gd name="T22" fmla="*/ 332 w 1500"/>
                <a:gd name="T23" fmla="*/ 1001 h 2372"/>
                <a:gd name="T24" fmla="*/ 222 w 1500"/>
                <a:gd name="T25" fmla="*/ 883 h 2372"/>
                <a:gd name="T26" fmla="*/ 63 w 1500"/>
                <a:gd name="T27" fmla="*/ 779 h 2372"/>
                <a:gd name="T28" fmla="*/ 98 w 1500"/>
                <a:gd name="T29" fmla="*/ 779 h 2372"/>
                <a:gd name="T30" fmla="*/ 280 w 1500"/>
                <a:gd name="T31" fmla="*/ 917 h 2372"/>
                <a:gd name="T32" fmla="*/ 387 w 1500"/>
                <a:gd name="T33" fmla="*/ 1059 h 2372"/>
                <a:gd name="T34" fmla="*/ 276 w 1500"/>
                <a:gd name="T35" fmla="*/ 150 h 2372"/>
                <a:gd name="T36" fmla="*/ 439 w 1500"/>
                <a:gd name="T37" fmla="*/ 1081 h 2372"/>
                <a:gd name="T38" fmla="*/ 524 w 1500"/>
                <a:gd name="T39" fmla="*/ 734 h 2372"/>
                <a:gd name="T40" fmla="*/ 551 w 1500"/>
                <a:gd name="T41" fmla="*/ 405 h 2372"/>
                <a:gd name="T42" fmla="*/ 535 w 1500"/>
                <a:gd name="T43" fmla="*/ 157 h 2372"/>
                <a:gd name="T44" fmla="*/ 512 w 1500"/>
                <a:gd name="T45" fmla="*/ 0 h 2372"/>
                <a:gd name="T46" fmla="*/ 542 w 1500"/>
                <a:gd name="T47" fmla="*/ 99 h 2372"/>
                <a:gd name="T48" fmla="*/ 567 w 1500"/>
                <a:gd name="T49" fmla="*/ 405 h 2372"/>
                <a:gd name="T50" fmla="*/ 540 w 1500"/>
                <a:gd name="T51" fmla="*/ 736 h 2372"/>
                <a:gd name="T52" fmla="*/ 448 w 1500"/>
                <a:gd name="T53" fmla="*/ 1104 h 2372"/>
                <a:gd name="T54" fmla="*/ 688 w 1500"/>
                <a:gd name="T55" fmla="*/ 800 h 2372"/>
                <a:gd name="T56" fmla="*/ 865 w 1500"/>
                <a:gd name="T57" fmla="*/ 506 h 2372"/>
                <a:gd name="T58" fmla="*/ 969 w 1500"/>
                <a:gd name="T59" fmla="*/ 260 h 2372"/>
                <a:gd name="T60" fmla="*/ 1023 w 1500"/>
                <a:gd name="T61" fmla="*/ 99 h 2372"/>
                <a:gd name="T62" fmla="*/ 1012 w 1500"/>
                <a:gd name="T63" fmla="*/ 176 h 2372"/>
                <a:gd name="T64" fmla="*/ 920 w 1500"/>
                <a:gd name="T65" fmla="*/ 429 h 2372"/>
                <a:gd name="T66" fmla="*/ 774 w 1500"/>
                <a:gd name="T67" fmla="*/ 700 h 2372"/>
                <a:gd name="T68" fmla="*/ 533 w 1500"/>
                <a:gd name="T69" fmla="*/ 1031 h 2372"/>
                <a:gd name="T70" fmla="*/ 623 w 1500"/>
                <a:gd name="T71" fmla="*/ 967 h 2372"/>
                <a:gd name="T72" fmla="*/ 853 w 1500"/>
                <a:gd name="T73" fmla="*/ 694 h 2372"/>
                <a:gd name="T74" fmla="*/ 1044 w 1500"/>
                <a:gd name="T75" fmla="*/ 378 h 2372"/>
                <a:gd name="T76" fmla="*/ 1135 w 1500"/>
                <a:gd name="T77" fmla="*/ 160 h 2372"/>
                <a:gd name="T78" fmla="*/ 1147 w 1500"/>
                <a:gd name="T79" fmla="*/ 169 h 2372"/>
                <a:gd name="T80" fmla="*/ 989 w 1500"/>
                <a:gd name="T81" fmla="*/ 512 h 2372"/>
                <a:gd name="T82" fmla="*/ 747 w 1500"/>
                <a:gd name="T83" fmla="*/ 851 h 2372"/>
                <a:gd name="T84" fmla="*/ 635 w 1500"/>
                <a:gd name="T85" fmla="*/ 1001 h 2372"/>
                <a:gd name="T86" fmla="*/ 946 w 1500"/>
                <a:gd name="T87" fmla="*/ 756 h 2372"/>
                <a:gd name="T88" fmla="*/ 1109 w 1500"/>
                <a:gd name="T89" fmla="*/ 580 h 2372"/>
                <a:gd name="T90" fmla="*/ 1260 w 1500"/>
                <a:gd name="T91" fmla="*/ 483 h 2372"/>
                <a:gd name="T92" fmla="*/ 1390 w 1500"/>
                <a:gd name="T93" fmla="*/ 445 h 2372"/>
                <a:gd name="T94" fmla="*/ 1432 w 1500"/>
                <a:gd name="T95" fmla="*/ 452 h 2372"/>
                <a:gd name="T96" fmla="*/ 1280 w 1500"/>
                <a:gd name="T97" fmla="*/ 492 h 2372"/>
                <a:gd name="T98" fmla="*/ 1126 w 1500"/>
                <a:gd name="T99" fmla="*/ 585 h 2372"/>
                <a:gd name="T100" fmla="*/ 987 w 1500"/>
                <a:gd name="T101" fmla="*/ 738 h 2372"/>
                <a:gd name="T102" fmla="*/ 731 w 1500"/>
                <a:gd name="T103" fmla="*/ 953 h 2372"/>
                <a:gd name="T104" fmla="*/ 1497 w 1500"/>
                <a:gd name="T105" fmla="*/ 623 h 2372"/>
                <a:gd name="T106" fmla="*/ 1019 w 1500"/>
                <a:gd name="T107" fmla="*/ 905 h 2372"/>
                <a:gd name="T108" fmla="*/ 1452 w 1500"/>
                <a:gd name="T109" fmla="*/ 758 h 2372"/>
                <a:gd name="T110" fmla="*/ 1357 w 1500"/>
                <a:gd name="T111" fmla="*/ 1064 h 2372"/>
                <a:gd name="T112" fmla="*/ 1058 w 1500"/>
                <a:gd name="T113" fmla="*/ 1265 h 2372"/>
                <a:gd name="T114" fmla="*/ 1059 w 1500"/>
                <a:gd name="T115" fmla="*/ 1281 h 2372"/>
                <a:gd name="T116" fmla="*/ 1045 w 1500"/>
                <a:gd name="T117" fmla="*/ 1370 h 2372"/>
                <a:gd name="T118" fmla="*/ 431 w 1500"/>
                <a:gd name="T119" fmla="*/ 1156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0" h="2372">
                  <a:moveTo>
                    <a:pt x="429" y="1155"/>
                  </a:moveTo>
                  <a:lnTo>
                    <a:pt x="431" y="1210"/>
                  </a:lnTo>
                  <a:lnTo>
                    <a:pt x="434" y="1261"/>
                  </a:lnTo>
                  <a:lnTo>
                    <a:pt x="437" y="1310"/>
                  </a:lnTo>
                  <a:lnTo>
                    <a:pt x="442" y="1357"/>
                  </a:lnTo>
                  <a:lnTo>
                    <a:pt x="447" y="1405"/>
                  </a:lnTo>
                  <a:lnTo>
                    <a:pt x="450" y="1429"/>
                  </a:lnTo>
                  <a:lnTo>
                    <a:pt x="453" y="1454"/>
                  </a:lnTo>
                  <a:lnTo>
                    <a:pt x="460" y="1507"/>
                  </a:lnTo>
                  <a:lnTo>
                    <a:pt x="469" y="1564"/>
                  </a:lnTo>
                  <a:lnTo>
                    <a:pt x="475" y="1605"/>
                  </a:lnTo>
                  <a:lnTo>
                    <a:pt x="482" y="1645"/>
                  </a:lnTo>
                  <a:lnTo>
                    <a:pt x="495" y="1719"/>
                  </a:lnTo>
                  <a:lnTo>
                    <a:pt x="502" y="1754"/>
                  </a:lnTo>
                  <a:lnTo>
                    <a:pt x="510" y="1787"/>
                  </a:lnTo>
                  <a:lnTo>
                    <a:pt x="525" y="1853"/>
                  </a:lnTo>
                  <a:lnTo>
                    <a:pt x="533" y="1886"/>
                  </a:lnTo>
                  <a:lnTo>
                    <a:pt x="542" y="1919"/>
                  </a:lnTo>
                  <a:lnTo>
                    <a:pt x="551" y="1952"/>
                  </a:lnTo>
                  <a:lnTo>
                    <a:pt x="560" y="1986"/>
                  </a:lnTo>
                  <a:lnTo>
                    <a:pt x="581" y="2058"/>
                  </a:lnTo>
                  <a:lnTo>
                    <a:pt x="605" y="2136"/>
                  </a:lnTo>
                  <a:lnTo>
                    <a:pt x="625" y="2200"/>
                  </a:lnTo>
                  <a:lnTo>
                    <a:pt x="645" y="2261"/>
                  </a:lnTo>
                  <a:lnTo>
                    <a:pt x="665" y="2318"/>
                  </a:lnTo>
                  <a:lnTo>
                    <a:pt x="685" y="2372"/>
                  </a:lnTo>
                  <a:lnTo>
                    <a:pt x="668" y="2372"/>
                  </a:lnTo>
                  <a:lnTo>
                    <a:pt x="649" y="2319"/>
                  </a:lnTo>
                  <a:lnTo>
                    <a:pt x="629" y="2263"/>
                  </a:lnTo>
                  <a:lnTo>
                    <a:pt x="609" y="2204"/>
                  </a:lnTo>
                  <a:lnTo>
                    <a:pt x="600" y="2172"/>
                  </a:lnTo>
                  <a:lnTo>
                    <a:pt x="590" y="2140"/>
                  </a:lnTo>
                  <a:lnTo>
                    <a:pt x="566" y="2062"/>
                  </a:lnTo>
                  <a:lnTo>
                    <a:pt x="545" y="1990"/>
                  </a:lnTo>
                  <a:lnTo>
                    <a:pt x="526" y="1922"/>
                  </a:lnTo>
                  <a:lnTo>
                    <a:pt x="518" y="1889"/>
                  </a:lnTo>
                  <a:lnTo>
                    <a:pt x="509" y="1857"/>
                  </a:lnTo>
                  <a:lnTo>
                    <a:pt x="494" y="1791"/>
                  </a:lnTo>
                  <a:lnTo>
                    <a:pt x="487" y="1757"/>
                  </a:lnTo>
                  <a:lnTo>
                    <a:pt x="480" y="1722"/>
                  </a:lnTo>
                  <a:lnTo>
                    <a:pt x="473" y="1686"/>
                  </a:lnTo>
                  <a:lnTo>
                    <a:pt x="466" y="1647"/>
                  </a:lnTo>
                  <a:lnTo>
                    <a:pt x="459" y="1608"/>
                  </a:lnTo>
                  <a:lnTo>
                    <a:pt x="453" y="1567"/>
                  </a:lnTo>
                  <a:lnTo>
                    <a:pt x="444" y="1510"/>
                  </a:lnTo>
                  <a:lnTo>
                    <a:pt x="437" y="1457"/>
                  </a:lnTo>
                  <a:lnTo>
                    <a:pt x="431" y="1408"/>
                  </a:lnTo>
                  <a:lnTo>
                    <a:pt x="426" y="1361"/>
                  </a:lnTo>
                  <a:lnTo>
                    <a:pt x="422" y="1313"/>
                  </a:lnTo>
                  <a:lnTo>
                    <a:pt x="418" y="1265"/>
                  </a:lnTo>
                  <a:lnTo>
                    <a:pt x="415" y="1214"/>
                  </a:lnTo>
                  <a:lnTo>
                    <a:pt x="413" y="1160"/>
                  </a:lnTo>
                  <a:lnTo>
                    <a:pt x="410" y="1160"/>
                  </a:lnTo>
                  <a:lnTo>
                    <a:pt x="385" y="1153"/>
                  </a:lnTo>
                  <a:lnTo>
                    <a:pt x="0" y="1195"/>
                  </a:lnTo>
                  <a:lnTo>
                    <a:pt x="0" y="1178"/>
                  </a:lnTo>
                  <a:lnTo>
                    <a:pt x="340" y="1142"/>
                  </a:lnTo>
                  <a:lnTo>
                    <a:pt x="320" y="1137"/>
                  </a:lnTo>
                  <a:lnTo>
                    <a:pt x="300" y="1133"/>
                  </a:lnTo>
                  <a:lnTo>
                    <a:pt x="280" y="1128"/>
                  </a:lnTo>
                  <a:lnTo>
                    <a:pt x="261" y="1125"/>
                  </a:lnTo>
                  <a:lnTo>
                    <a:pt x="224" y="1118"/>
                  </a:lnTo>
                  <a:lnTo>
                    <a:pt x="186" y="1111"/>
                  </a:lnTo>
                  <a:lnTo>
                    <a:pt x="167" y="1109"/>
                  </a:lnTo>
                  <a:lnTo>
                    <a:pt x="148" y="1106"/>
                  </a:lnTo>
                  <a:lnTo>
                    <a:pt x="108" y="1102"/>
                  </a:lnTo>
                  <a:lnTo>
                    <a:pt x="65" y="1097"/>
                  </a:lnTo>
                  <a:lnTo>
                    <a:pt x="19" y="1094"/>
                  </a:lnTo>
                  <a:lnTo>
                    <a:pt x="0" y="1092"/>
                  </a:lnTo>
                  <a:lnTo>
                    <a:pt x="0" y="1076"/>
                  </a:lnTo>
                  <a:lnTo>
                    <a:pt x="21" y="1078"/>
                  </a:lnTo>
                  <a:lnTo>
                    <a:pt x="72" y="1082"/>
                  </a:lnTo>
                  <a:lnTo>
                    <a:pt x="120" y="1087"/>
                  </a:lnTo>
                  <a:lnTo>
                    <a:pt x="164" y="1092"/>
                  </a:lnTo>
                  <a:lnTo>
                    <a:pt x="207" y="1098"/>
                  </a:lnTo>
                  <a:lnTo>
                    <a:pt x="0" y="1048"/>
                  </a:lnTo>
                  <a:lnTo>
                    <a:pt x="0" y="1032"/>
                  </a:lnTo>
                  <a:lnTo>
                    <a:pt x="364" y="1120"/>
                  </a:lnTo>
                  <a:lnTo>
                    <a:pt x="338" y="1103"/>
                  </a:lnTo>
                  <a:lnTo>
                    <a:pt x="312" y="1086"/>
                  </a:lnTo>
                  <a:lnTo>
                    <a:pt x="262" y="1056"/>
                  </a:lnTo>
                  <a:lnTo>
                    <a:pt x="237" y="1041"/>
                  </a:lnTo>
                  <a:lnTo>
                    <a:pt x="210" y="1026"/>
                  </a:lnTo>
                  <a:lnTo>
                    <a:pt x="182" y="1010"/>
                  </a:lnTo>
                  <a:lnTo>
                    <a:pt x="151" y="993"/>
                  </a:lnTo>
                  <a:lnTo>
                    <a:pt x="71" y="951"/>
                  </a:lnTo>
                  <a:lnTo>
                    <a:pt x="35" y="933"/>
                  </a:lnTo>
                  <a:lnTo>
                    <a:pt x="0" y="916"/>
                  </a:lnTo>
                  <a:lnTo>
                    <a:pt x="0" y="899"/>
                  </a:lnTo>
                  <a:lnTo>
                    <a:pt x="37" y="916"/>
                  </a:lnTo>
                  <a:lnTo>
                    <a:pt x="75" y="935"/>
                  </a:lnTo>
                  <a:lnTo>
                    <a:pt x="115" y="956"/>
                  </a:lnTo>
                  <a:lnTo>
                    <a:pt x="158" y="979"/>
                  </a:lnTo>
                  <a:lnTo>
                    <a:pt x="208" y="1006"/>
                  </a:lnTo>
                  <a:lnTo>
                    <a:pt x="230" y="1018"/>
                  </a:lnTo>
                  <a:lnTo>
                    <a:pt x="251" y="1030"/>
                  </a:lnTo>
                  <a:lnTo>
                    <a:pt x="272" y="1043"/>
                  </a:lnTo>
                  <a:lnTo>
                    <a:pt x="292" y="1055"/>
                  </a:lnTo>
                  <a:lnTo>
                    <a:pt x="333" y="1080"/>
                  </a:lnTo>
                  <a:lnTo>
                    <a:pt x="0" y="817"/>
                  </a:lnTo>
                  <a:lnTo>
                    <a:pt x="0" y="797"/>
                  </a:lnTo>
                  <a:lnTo>
                    <a:pt x="393" y="1108"/>
                  </a:lnTo>
                  <a:lnTo>
                    <a:pt x="379" y="1078"/>
                  </a:lnTo>
                  <a:lnTo>
                    <a:pt x="371" y="1064"/>
                  </a:lnTo>
                  <a:lnTo>
                    <a:pt x="364" y="1051"/>
                  </a:lnTo>
                  <a:lnTo>
                    <a:pt x="348" y="1025"/>
                  </a:lnTo>
                  <a:lnTo>
                    <a:pt x="340" y="1013"/>
                  </a:lnTo>
                  <a:lnTo>
                    <a:pt x="332" y="1001"/>
                  </a:lnTo>
                  <a:lnTo>
                    <a:pt x="323" y="989"/>
                  </a:lnTo>
                  <a:lnTo>
                    <a:pt x="313" y="977"/>
                  </a:lnTo>
                  <a:lnTo>
                    <a:pt x="303" y="965"/>
                  </a:lnTo>
                  <a:lnTo>
                    <a:pt x="293" y="953"/>
                  </a:lnTo>
                  <a:lnTo>
                    <a:pt x="282" y="941"/>
                  </a:lnTo>
                  <a:lnTo>
                    <a:pt x="270" y="929"/>
                  </a:lnTo>
                  <a:lnTo>
                    <a:pt x="258" y="917"/>
                  </a:lnTo>
                  <a:lnTo>
                    <a:pt x="245" y="904"/>
                  </a:lnTo>
                  <a:lnTo>
                    <a:pt x="222" y="883"/>
                  </a:lnTo>
                  <a:lnTo>
                    <a:pt x="201" y="865"/>
                  </a:lnTo>
                  <a:lnTo>
                    <a:pt x="180" y="848"/>
                  </a:lnTo>
                  <a:lnTo>
                    <a:pt x="170" y="841"/>
                  </a:lnTo>
                  <a:lnTo>
                    <a:pt x="160" y="834"/>
                  </a:lnTo>
                  <a:lnTo>
                    <a:pt x="149" y="826"/>
                  </a:lnTo>
                  <a:lnTo>
                    <a:pt x="138" y="820"/>
                  </a:lnTo>
                  <a:lnTo>
                    <a:pt x="115" y="806"/>
                  </a:lnTo>
                  <a:lnTo>
                    <a:pt x="91" y="793"/>
                  </a:lnTo>
                  <a:lnTo>
                    <a:pt x="63" y="779"/>
                  </a:lnTo>
                  <a:lnTo>
                    <a:pt x="31" y="763"/>
                  </a:lnTo>
                  <a:lnTo>
                    <a:pt x="15" y="756"/>
                  </a:lnTo>
                  <a:lnTo>
                    <a:pt x="0" y="750"/>
                  </a:lnTo>
                  <a:lnTo>
                    <a:pt x="0" y="732"/>
                  </a:lnTo>
                  <a:lnTo>
                    <a:pt x="17" y="739"/>
                  </a:lnTo>
                  <a:lnTo>
                    <a:pt x="34" y="747"/>
                  </a:lnTo>
                  <a:lnTo>
                    <a:pt x="52" y="755"/>
                  </a:lnTo>
                  <a:lnTo>
                    <a:pt x="70" y="764"/>
                  </a:lnTo>
                  <a:lnTo>
                    <a:pt x="98" y="779"/>
                  </a:lnTo>
                  <a:lnTo>
                    <a:pt x="123" y="792"/>
                  </a:lnTo>
                  <a:lnTo>
                    <a:pt x="147" y="806"/>
                  </a:lnTo>
                  <a:lnTo>
                    <a:pt x="169" y="820"/>
                  </a:lnTo>
                  <a:lnTo>
                    <a:pt x="190" y="836"/>
                  </a:lnTo>
                  <a:lnTo>
                    <a:pt x="211" y="852"/>
                  </a:lnTo>
                  <a:lnTo>
                    <a:pt x="233" y="871"/>
                  </a:lnTo>
                  <a:lnTo>
                    <a:pt x="256" y="893"/>
                  </a:lnTo>
                  <a:lnTo>
                    <a:pt x="268" y="905"/>
                  </a:lnTo>
                  <a:lnTo>
                    <a:pt x="280" y="917"/>
                  </a:lnTo>
                  <a:lnTo>
                    <a:pt x="303" y="940"/>
                  </a:lnTo>
                  <a:lnTo>
                    <a:pt x="313" y="952"/>
                  </a:lnTo>
                  <a:lnTo>
                    <a:pt x="323" y="963"/>
                  </a:lnTo>
                  <a:lnTo>
                    <a:pt x="341" y="986"/>
                  </a:lnTo>
                  <a:lnTo>
                    <a:pt x="349" y="998"/>
                  </a:lnTo>
                  <a:lnTo>
                    <a:pt x="357" y="1009"/>
                  </a:lnTo>
                  <a:lnTo>
                    <a:pt x="373" y="1034"/>
                  </a:lnTo>
                  <a:lnTo>
                    <a:pt x="380" y="1046"/>
                  </a:lnTo>
                  <a:lnTo>
                    <a:pt x="387" y="1059"/>
                  </a:lnTo>
                  <a:lnTo>
                    <a:pt x="401" y="1087"/>
                  </a:lnTo>
                  <a:lnTo>
                    <a:pt x="335" y="623"/>
                  </a:lnTo>
                  <a:lnTo>
                    <a:pt x="269" y="159"/>
                  </a:lnTo>
                  <a:lnTo>
                    <a:pt x="269" y="157"/>
                  </a:lnTo>
                  <a:lnTo>
                    <a:pt x="270" y="156"/>
                  </a:lnTo>
                  <a:lnTo>
                    <a:pt x="270" y="154"/>
                  </a:lnTo>
                  <a:lnTo>
                    <a:pt x="271" y="153"/>
                  </a:lnTo>
                  <a:lnTo>
                    <a:pt x="273" y="151"/>
                  </a:lnTo>
                  <a:lnTo>
                    <a:pt x="276" y="150"/>
                  </a:lnTo>
                  <a:lnTo>
                    <a:pt x="279" y="150"/>
                  </a:lnTo>
                  <a:lnTo>
                    <a:pt x="282" y="151"/>
                  </a:lnTo>
                  <a:lnTo>
                    <a:pt x="284" y="154"/>
                  </a:lnTo>
                  <a:lnTo>
                    <a:pt x="285" y="157"/>
                  </a:lnTo>
                  <a:lnTo>
                    <a:pt x="353" y="637"/>
                  </a:lnTo>
                  <a:lnTo>
                    <a:pt x="421" y="1117"/>
                  </a:lnTo>
                  <a:lnTo>
                    <a:pt x="424" y="1117"/>
                  </a:lnTo>
                  <a:lnTo>
                    <a:pt x="425" y="1119"/>
                  </a:lnTo>
                  <a:lnTo>
                    <a:pt x="439" y="1081"/>
                  </a:lnTo>
                  <a:lnTo>
                    <a:pt x="450" y="1045"/>
                  </a:lnTo>
                  <a:lnTo>
                    <a:pt x="461" y="1011"/>
                  </a:lnTo>
                  <a:lnTo>
                    <a:pt x="471" y="977"/>
                  </a:lnTo>
                  <a:lnTo>
                    <a:pt x="480" y="943"/>
                  </a:lnTo>
                  <a:lnTo>
                    <a:pt x="488" y="908"/>
                  </a:lnTo>
                  <a:lnTo>
                    <a:pt x="497" y="870"/>
                  </a:lnTo>
                  <a:lnTo>
                    <a:pt x="506" y="828"/>
                  </a:lnTo>
                  <a:lnTo>
                    <a:pt x="516" y="779"/>
                  </a:lnTo>
                  <a:lnTo>
                    <a:pt x="524" y="734"/>
                  </a:lnTo>
                  <a:lnTo>
                    <a:pt x="531" y="691"/>
                  </a:lnTo>
                  <a:lnTo>
                    <a:pt x="537" y="650"/>
                  </a:lnTo>
                  <a:lnTo>
                    <a:pt x="542" y="608"/>
                  </a:lnTo>
                  <a:lnTo>
                    <a:pt x="544" y="587"/>
                  </a:lnTo>
                  <a:lnTo>
                    <a:pt x="546" y="565"/>
                  </a:lnTo>
                  <a:lnTo>
                    <a:pt x="548" y="519"/>
                  </a:lnTo>
                  <a:lnTo>
                    <a:pt x="550" y="469"/>
                  </a:lnTo>
                  <a:lnTo>
                    <a:pt x="551" y="436"/>
                  </a:lnTo>
                  <a:lnTo>
                    <a:pt x="551" y="405"/>
                  </a:lnTo>
                  <a:lnTo>
                    <a:pt x="551" y="375"/>
                  </a:lnTo>
                  <a:lnTo>
                    <a:pt x="551" y="346"/>
                  </a:lnTo>
                  <a:lnTo>
                    <a:pt x="550" y="318"/>
                  </a:lnTo>
                  <a:lnTo>
                    <a:pt x="549" y="291"/>
                  </a:lnTo>
                  <a:lnTo>
                    <a:pt x="547" y="264"/>
                  </a:lnTo>
                  <a:lnTo>
                    <a:pt x="545" y="237"/>
                  </a:lnTo>
                  <a:lnTo>
                    <a:pt x="542" y="211"/>
                  </a:lnTo>
                  <a:lnTo>
                    <a:pt x="539" y="184"/>
                  </a:lnTo>
                  <a:lnTo>
                    <a:pt x="535" y="157"/>
                  </a:lnTo>
                  <a:lnTo>
                    <a:pt x="531" y="130"/>
                  </a:lnTo>
                  <a:lnTo>
                    <a:pt x="526" y="102"/>
                  </a:lnTo>
                  <a:lnTo>
                    <a:pt x="521" y="72"/>
                  </a:lnTo>
                  <a:lnTo>
                    <a:pt x="508" y="10"/>
                  </a:lnTo>
                  <a:lnTo>
                    <a:pt x="507" y="6"/>
                  </a:lnTo>
                  <a:lnTo>
                    <a:pt x="509" y="3"/>
                  </a:lnTo>
                  <a:lnTo>
                    <a:pt x="510" y="2"/>
                  </a:lnTo>
                  <a:lnTo>
                    <a:pt x="511" y="1"/>
                  </a:lnTo>
                  <a:lnTo>
                    <a:pt x="512" y="0"/>
                  </a:lnTo>
                  <a:lnTo>
                    <a:pt x="514" y="0"/>
                  </a:lnTo>
                  <a:lnTo>
                    <a:pt x="517" y="0"/>
                  </a:lnTo>
                  <a:lnTo>
                    <a:pt x="519" y="1"/>
                  </a:lnTo>
                  <a:lnTo>
                    <a:pt x="522" y="3"/>
                  </a:lnTo>
                  <a:lnTo>
                    <a:pt x="523" y="4"/>
                  </a:lnTo>
                  <a:lnTo>
                    <a:pt x="523" y="6"/>
                  </a:lnTo>
                  <a:lnTo>
                    <a:pt x="530" y="39"/>
                  </a:lnTo>
                  <a:lnTo>
                    <a:pt x="536" y="69"/>
                  </a:lnTo>
                  <a:lnTo>
                    <a:pt x="542" y="99"/>
                  </a:lnTo>
                  <a:lnTo>
                    <a:pt x="547" y="128"/>
                  </a:lnTo>
                  <a:lnTo>
                    <a:pt x="555" y="182"/>
                  </a:lnTo>
                  <a:lnTo>
                    <a:pt x="561" y="236"/>
                  </a:lnTo>
                  <a:lnTo>
                    <a:pt x="563" y="262"/>
                  </a:lnTo>
                  <a:lnTo>
                    <a:pt x="565" y="290"/>
                  </a:lnTo>
                  <a:lnTo>
                    <a:pt x="566" y="318"/>
                  </a:lnTo>
                  <a:lnTo>
                    <a:pt x="567" y="346"/>
                  </a:lnTo>
                  <a:lnTo>
                    <a:pt x="567" y="375"/>
                  </a:lnTo>
                  <a:lnTo>
                    <a:pt x="567" y="405"/>
                  </a:lnTo>
                  <a:lnTo>
                    <a:pt x="567" y="436"/>
                  </a:lnTo>
                  <a:lnTo>
                    <a:pt x="566" y="469"/>
                  </a:lnTo>
                  <a:lnTo>
                    <a:pt x="564" y="520"/>
                  </a:lnTo>
                  <a:lnTo>
                    <a:pt x="562" y="566"/>
                  </a:lnTo>
                  <a:lnTo>
                    <a:pt x="560" y="588"/>
                  </a:lnTo>
                  <a:lnTo>
                    <a:pt x="558" y="610"/>
                  </a:lnTo>
                  <a:lnTo>
                    <a:pt x="553" y="652"/>
                  </a:lnTo>
                  <a:lnTo>
                    <a:pt x="547" y="693"/>
                  </a:lnTo>
                  <a:lnTo>
                    <a:pt x="540" y="736"/>
                  </a:lnTo>
                  <a:lnTo>
                    <a:pt x="531" y="782"/>
                  </a:lnTo>
                  <a:lnTo>
                    <a:pt x="521" y="832"/>
                  </a:lnTo>
                  <a:lnTo>
                    <a:pt x="505" y="907"/>
                  </a:lnTo>
                  <a:lnTo>
                    <a:pt x="497" y="941"/>
                  </a:lnTo>
                  <a:lnTo>
                    <a:pt x="488" y="973"/>
                  </a:lnTo>
                  <a:lnTo>
                    <a:pt x="480" y="1005"/>
                  </a:lnTo>
                  <a:lnTo>
                    <a:pt x="470" y="1037"/>
                  </a:lnTo>
                  <a:lnTo>
                    <a:pt x="459" y="1069"/>
                  </a:lnTo>
                  <a:lnTo>
                    <a:pt x="448" y="1104"/>
                  </a:lnTo>
                  <a:lnTo>
                    <a:pt x="473" y="1076"/>
                  </a:lnTo>
                  <a:lnTo>
                    <a:pt x="496" y="1050"/>
                  </a:lnTo>
                  <a:lnTo>
                    <a:pt x="518" y="1024"/>
                  </a:lnTo>
                  <a:lnTo>
                    <a:pt x="539" y="998"/>
                  </a:lnTo>
                  <a:lnTo>
                    <a:pt x="561" y="971"/>
                  </a:lnTo>
                  <a:lnTo>
                    <a:pt x="583" y="943"/>
                  </a:lnTo>
                  <a:lnTo>
                    <a:pt x="630" y="880"/>
                  </a:lnTo>
                  <a:lnTo>
                    <a:pt x="660" y="838"/>
                  </a:lnTo>
                  <a:lnTo>
                    <a:pt x="688" y="800"/>
                  </a:lnTo>
                  <a:lnTo>
                    <a:pt x="714" y="763"/>
                  </a:lnTo>
                  <a:lnTo>
                    <a:pt x="738" y="728"/>
                  </a:lnTo>
                  <a:lnTo>
                    <a:pt x="761" y="691"/>
                  </a:lnTo>
                  <a:lnTo>
                    <a:pt x="772" y="673"/>
                  </a:lnTo>
                  <a:lnTo>
                    <a:pt x="784" y="653"/>
                  </a:lnTo>
                  <a:lnTo>
                    <a:pt x="808" y="612"/>
                  </a:lnTo>
                  <a:lnTo>
                    <a:pt x="833" y="567"/>
                  </a:lnTo>
                  <a:lnTo>
                    <a:pt x="850" y="536"/>
                  </a:lnTo>
                  <a:lnTo>
                    <a:pt x="865" y="506"/>
                  </a:lnTo>
                  <a:lnTo>
                    <a:pt x="879" y="477"/>
                  </a:lnTo>
                  <a:lnTo>
                    <a:pt x="893" y="449"/>
                  </a:lnTo>
                  <a:lnTo>
                    <a:pt x="906" y="422"/>
                  </a:lnTo>
                  <a:lnTo>
                    <a:pt x="917" y="395"/>
                  </a:lnTo>
                  <a:lnTo>
                    <a:pt x="929" y="369"/>
                  </a:lnTo>
                  <a:lnTo>
                    <a:pt x="939" y="343"/>
                  </a:lnTo>
                  <a:lnTo>
                    <a:pt x="950" y="316"/>
                  </a:lnTo>
                  <a:lnTo>
                    <a:pt x="960" y="289"/>
                  </a:lnTo>
                  <a:lnTo>
                    <a:pt x="969" y="260"/>
                  </a:lnTo>
                  <a:lnTo>
                    <a:pt x="979" y="232"/>
                  </a:lnTo>
                  <a:lnTo>
                    <a:pt x="988" y="202"/>
                  </a:lnTo>
                  <a:lnTo>
                    <a:pt x="997" y="172"/>
                  </a:lnTo>
                  <a:lnTo>
                    <a:pt x="1006" y="139"/>
                  </a:lnTo>
                  <a:lnTo>
                    <a:pt x="1016" y="105"/>
                  </a:lnTo>
                  <a:lnTo>
                    <a:pt x="1016" y="103"/>
                  </a:lnTo>
                  <a:lnTo>
                    <a:pt x="1017" y="102"/>
                  </a:lnTo>
                  <a:lnTo>
                    <a:pt x="1020" y="100"/>
                  </a:lnTo>
                  <a:lnTo>
                    <a:pt x="1023" y="99"/>
                  </a:lnTo>
                  <a:lnTo>
                    <a:pt x="1026" y="100"/>
                  </a:lnTo>
                  <a:lnTo>
                    <a:pt x="1028" y="101"/>
                  </a:lnTo>
                  <a:lnTo>
                    <a:pt x="1030" y="103"/>
                  </a:lnTo>
                  <a:lnTo>
                    <a:pt x="1031" y="104"/>
                  </a:lnTo>
                  <a:lnTo>
                    <a:pt x="1031" y="106"/>
                  </a:lnTo>
                  <a:lnTo>
                    <a:pt x="1032" y="108"/>
                  </a:lnTo>
                  <a:lnTo>
                    <a:pt x="1031" y="109"/>
                  </a:lnTo>
                  <a:lnTo>
                    <a:pt x="1022" y="144"/>
                  </a:lnTo>
                  <a:lnTo>
                    <a:pt x="1012" y="176"/>
                  </a:lnTo>
                  <a:lnTo>
                    <a:pt x="1003" y="207"/>
                  </a:lnTo>
                  <a:lnTo>
                    <a:pt x="994" y="237"/>
                  </a:lnTo>
                  <a:lnTo>
                    <a:pt x="984" y="266"/>
                  </a:lnTo>
                  <a:lnTo>
                    <a:pt x="975" y="294"/>
                  </a:lnTo>
                  <a:lnTo>
                    <a:pt x="965" y="322"/>
                  </a:lnTo>
                  <a:lnTo>
                    <a:pt x="954" y="348"/>
                  </a:lnTo>
                  <a:lnTo>
                    <a:pt x="944" y="375"/>
                  </a:lnTo>
                  <a:lnTo>
                    <a:pt x="932" y="402"/>
                  </a:lnTo>
                  <a:lnTo>
                    <a:pt x="920" y="429"/>
                  </a:lnTo>
                  <a:lnTo>
                    <a:pt x="907" y="456"/>
                  </a:lnTo>
                  <a:lnTo>
                    <a:pt x="894" y="484"/>
                  </a:lnTo>
                  <a:lnTo>
                    <a:pt x="879" y="513"/>
                  </a:lnTo>
                  <a:lnTo>
                    <a:pt x="847" y="574"/>
                  </a:lnTo>
                  <a:lnTo>
                    <a:pt x="835" y="598"/>
                  </a:lnTo>
                  <a:lnTo>
                    <a:pt x="822" y="620"/>
                  </a:lnTo>
                  <a:lnTo>
                    <a:pt x="810" y="641"/>
                  </a:lnTo>
                  <a:lnTo>
                    <a:pt x="799" y="662"/>
                  </a:lnTo>
                  <a:lnTo>
                    <a:pt x="774" y="700"/>
                  </a:lnTo>
                  <a:lnTo>
                    <a:pt x="751" y="736"/>
                  </a:lnTo>
                  <a:lnTo>
                    <a:pt x="727" y="772"/>
                  </a:lnTo>
                  <a:lnTo>
                    <a:pt x="701" y="809"/>
                  </a:lnTo>
                  <a:lnTo>
                    <a:pt x="674" y="847"/>
                  </a:lnTo>
                  <a:lnTo>
                    <a:pt x="643" y="889"/>
                  </a:lnTo>
                  <a:lnTo>
                    <a:pt x="596" y="951"/>
                  </a:lnTo>
                  <a:lnTo>
                    <a:pt x="575" y="979"/>
                  </a:lnTo>
                  <a:lnTo>
                    <a:pt x="554" y="1005"/>
                  </a:lnTo>
                  <a:lnTo>
                    <a:pt x="533" y="1031"/>
                  </a:lnTo>
                  <a:lnTo>
                    <a:pt x="512" y="1056"/>
                  </a:lnTo>
                  <a:lnTo>
                    <a:pt x="489" y="1082"/>
                  </a:lnTo>
                  <a:lnTo>
                    <a:pt x="465" y="1109"/>
                  </a:lnTo>
                  <a:lnTo>
                    <a:pt x="472" y="1106"/>
                  </a:lnTo>
                  <a:lnTo>
                    <a:pt x="514" y="1070"/>
                  </a:lnTo>
                  <a:lnTo>
                    <a:pt x="552" y="1035"/>
                  </a:lnTo>
                  <a:lnTo>
                    <a:pt x="588" y="1001"/>
                  </a:lnTo>
                  <a:lnTo>
                    <a:pt x="606" y="984"/>
                  </a:lnTo>
                  <a:lnTo>
                    <a:pt x="623" y="967"/>
                  </a:lnTo>
                  <a:lnTo>
                    <a:pt x="640" y="949"/>
                  </a:lnTo>
                  <a:lnTo>
                    <a:pt x="657" y="931"/>
                  </a:lnTo>
                  <a:lnTo>
                    <a:pt x="691" y="893"/>
                  </a:lnTo>
                  <a:lnTo>
                    <a:pt x="727" y="851"/>
                  </a:lnTo>
                  <a:lnTo>
                    <a:pt x="765" y="805"/>
                  </a:lnTo>
                  <a:lnTo>
                    <a:pt x="798" y="766"/>
                  </a:lnTo>
                  <a:lnTo>
                    <a:pt x="827" y="729"/>
                  </a:lnTo>
                  <a:lnTo>
                    <a:pt x="840" y="712"/>
                  </a:lnTo>
                  <a:lnTo>
                    <a:pt x="853" y="694"/>
                  </a:lnTo>
                  <a:lnTo>
                    <a:pt x="878" y="660"/>
                  </a:lnTo>
                  <a:lnTo>
                    <a:pt x="890" y="643"/>
                  </a:lnTo>
                  <a:lnTo>
                    <a:pt x="902" y="625"/>
                  </a:lnTo>
                  <a:lnTo>
                    <a:pt x="926" y="588"/>
                  </a:lnTo>
                  <a:lnTo>
                    <a:pt x="950" y="548"/>
                  </a:lnTo>
                  <a:lnTo>
                    <a:pt x="976" y="504"/>
                  </a:lnTo>
                  <a:lnTo>
                    <a:pt x="1001" y="459"/>
                  </a:lnTo>
                  <a:lnTo>
                    <a:pt x="1023" y="418"/>
                  </a:lnTo>
                  <a:lnTo>
                    <a:pt x="1044" y="378"/>
                  </a:lnTo>
                  <a:lnTo>
                    <a:pt x="1062" y="339"/>
                  </a:lnTo>
                  <a:lnTo>
                    <a:pt x="1071" y="320"/>
                  </a:lnTo>
                  <a:lnTo>
                    <a:pt x="1080" y="300"/>
                  </a:lnTo>
                  <a:lnTo>
                    <a:pt x="1088" y="280"/>
                  </a:lnTo>
                  <a:lnTo>
                    <a:pt x="1096" y="258"/>
                  </a:lnTo>
                  <a:lnTo>
                    <a:pt x="1113" y="214"/>
                  </a:lnTo>
                  <a:lnTo>
                    <a:pt x="1131" y="165"/>
                  </a:lnTo>
                  <a:lnTo>
                    <a:pt x="1133" y="162"/>
                  </a:lnTo>
                  <a:lnTo>
                    <a:pt x="1135" y="160"/>
                  </a:lnTo>
                  <a:lnTo>
                    <a:pt x="1137" y="160"/>
                  </a:lnTo>
                  <a:lnTo>
                    <a:pt x="1138" y="160"/>
                  </a:lnTo>
                  <a:lnTo>
                    <a:pt x="1141" y="160"/>
                  </a:lnTo>
                  <a:lnTo>
                    <a:pt x="1143" y="161"/>
                  </a:lnTo>
                  <a:lnTo>
                    <a:pt x="1144" y="162"/>
                  </a:lnTo>
                  <a:lnTo>
                    <a:pt x="1146" y="164"/>
                  </a:lnTo>
                  <a:lnTo>
                    <a:pt x="1146" y="165"/>
                  </a:lnTo>
                  <a:lnTo>
                    <a:pt x="1147" y="167"/>
                  </a:lnTo>
                  <a:lnTo>
                    <a:pt x="1147" y="169"/>
                  </a:lnTo>
                  <a:lnTo>
                    <a:pt x="1146" y="170"/>
                  </a:lnTo>
                  <a:lnTo>
                    <a:pt x="1128" y="219"/>
                  </a:lnTo>
                  <a:lnTo>
                    <a:pt x="1111" y="264"/>
                  </a:lnTo>
                  <a:lnTo>
                    <a:pt x="1094" y="306"/>
                  </a:lnTo>
                  <a:lnTo>
                    <a:pt x="1077" y="346"/>
                  </a:lnTo>
                  <a:lnTo>
                    <a:pt x="1058" y="385"/>
                  </a:lnTo>
                  <a:lnTo>
                    <a:pt x="1038" y="425"/>
                  </a:lnTo>
                  <a:lnTo>
                    <a:pt x="1015" y="467"/>
                  </a:lnTo>
                  <a:lnTo>
                    <a:pt x="989" y="512"/>
                  </a:lnTo>
                  <a:lnTo>
                    <a:pt x="964" y="557"/>
                  </a:lnTo>
                  <a:lnTo>
                    <a:pt x="939" y="597"/>
                  </a:lnTo>
                  <a:lnTo>
                    <a:pt x="915" y="634"/>
                  </a:lnTo>
                  <a:lnTo>
                    <a:pt x="891" y="669"/>
                  </a:lnTo>
                  <a:lnTo>
                    <a:pt x="866" y="704"/>
                  </a:lnTo>
                  <a:lnTo>
                    <a:pt x="840" y="739"/>
                  </a:lnTo>
                  <a:lnTo>
                    <a:pt x="810" y="776"/>
                  </a:lnTo>
                  <a:lnTo>
                    <a:pt x="777" y="816"/>
                  </a:lnTo>
                  <a:lnTo>
                    <a:pt x="747" y="851"/>
                  </a:lnTo>
                  <a:lnTo>
                    <a:pt x="719" y="885"/>
                  </a:lnTo>
                  <a:lnTo>
                    <a:pt x="692" y="916"/>
                  </a:lnTo>
                  <a:lnTo>
                    <a:pt x="666" y="945"/>
                  </a:lnTo>
                  <a:lnTo>
                    <a:pt x="639" y="973"/>
                  </a:lnTo>
                  <a:lnTo>
                    <a:pt x="613" y="1000"/>
                  </a:lnTo>
                  <a:lnTo>
                    <a:pt x="585" y="1026"/>
                  </a:lnTo>
                  <a:lnTo>
                    <a:pt x="557" y="1053"/>
                  </a:lnTo>
                  <a:lnTo>
                    <a:pt x="610" y="1018"/>
                  </a:lnTo>
                  <a:lnTo>
                    <a:pt x="635" y="1001"/>
                  </a:lnTo>
                  <a:lnTo>
                    <a:pt x="659" y="985"/>
                  </a:lnTo>
                  <a:lnTo>
                    <a:pt x="682" y="968"/>
                  </a:lnTo>
                  <a:lnTo>
                    <a:pt x="706" y="951"/>
                  </a:lnTo>
                  <a:lnTo>
                    <a:pt x="751" y="917"/>
                  </a:lnTo>
                  <a:lnTo>
                    <a:pt x="774" y="900"/>
                  </a:lnTo>
                  <a:lnTo>
                    <a:pt x="798" y="881"/>
                  </a:lnTo>
                  <a:lnTo>
                    <a:pt x="845" y="843"/>
                  </a:lnTo>
                  <a:lnTo>
                    <a:pt x="894" y="802"/>
                  </a:lnTo>
                  <a:lnTo>
                    <a:pt x="946" y="756"/>
                  </a:lnTo>
                  <a:lnTo>
                    <a:pt x="962" y="741"/>
                  </a:lnTo>
                  <a:lnTo>
                    <a:pt x="977" y="726"/>
                  </a:lnTo>
                  <a:lnTo>
                    <a:pt x="992" y="710"/>
                  </a:lnTo>
                  <a:lnTo>
                    <a:pt x="1006" y="695"/>
                  </a:lnTo>
                  <a:lnTo>
                    <a:pt x="1059" y="632"/>
                  </a:lnTo>
                  <a:lnTo>
                    <a:pt x="1073" y="617"/>
                  </a:lnTo>
                  <a:lnTo>
                    <a:pt x="1087" y="602"/>
                  </a:lnTo>
                  <a:lnTo>
                    <a:pt x="1101" y="587"/>
                  </a:lnTo>
                  <a:lnTo>
                    <a:pt x="1109" y="580"/>
                  </a:lnTo>
                  <a:lnTo>
                    <a:pt x="1116" y="572"/>
                  </a:lnTo>
                  <a:lnTo>
                    <a:pt x="1132" y="559"/>
                  </a:lnTo>
                  <a:lnTo>
                    <a:pt x="1150" y="545"/>
                  </a:lnTo>
                  <a:lnTo>
                    <a:pt x="1168" y="533"/>
                  </a:lnTo>
                  <a:lnTo>
                    <a:pt x="1187" y="521"/>
                  </a:lnTo>
                  <a:lnTo>
                    <a:pt x="1218" y="504"/>
                  </a:lnTo>
                  <a:lnTo>
                    <a:pt x="1232" y="497"/>
                  </a:lnTo>
                  <a:lnTo>
                    <a:pt x="1246" y="490"/>
                  </a:lnTo>
                  <a:lnTo>
                    <a:pt x="1260" y="483"/>
                  </a:lnTo>
                  <a:lnTo>
                    <a:pt x="1274" y="478"/>
                  </a:lnTo>
                  <a:lnTo>
                    <a:pt x="1281" y="475"/>
                  </a:lnTo>
                  <a:lnTo>
                    <a:pt x="1288" y="472"/>
                  </a:lnTo>
                  <a:lnTo>
                    <a:pt x="1301" y="467"/>
                  </a:lnTo>
                  <a:lnTo>
                    <a:pt x="1315" y="463"/>
                  </a:lnTo>
                  <a:lnTo>
                    <a:pt x="1329" y="459"/>
                  </a:lnTo>
                  <a:lnTo>
                    <a:pt x="1344" y="455"/>
                  </a:lnTo>
                  <a:lnTo>
                    <a:pt x="1358" y="451"/>
                  </a:lnTo>
                  <a:lnTo>
                    <a:pt x="1390" y="445"/>
                  </a:lnTo>
                  <a:lnTo>
                    <a:pt x="1424" y="440"/>
                  </a:lnTo>
                  <a:lnTo>
                    <a:pt x="1426" y="440"/>
                  </a:lnTo>
                  <a:lnTo>
                    <a:pt x="1428" y="440"/>
                  </a:lnTo>
                  <a:lnTo>
                    <a:pt x="1429" y="441"/>
                  </a:lnTo>
                  <a:lnTo>
                    <a:pt x="1430" y="441"/>
                  </a:lnTo>
                  <a:lnTo>
                    <a:pt x="1432" y="444"/>
                  </a:lnTo>
                  <a:lnTo>
                    <a:pt x="1433" y="447"/>
                  </a:lnTo>
                  <a:lnTo>
                    <a:pt x="1433" y="450"/>
                  </a:lnTo>
                  <a:lnTo>
                    <a:pt x="1432" y="452"/>
                  </a:lnTo>
                  <a:lnTo>
                    <a:pt x="1430" y="454"/>
                  </a:lnTo>
                  <a:lnTo>
                    <a:pt x="1426" y="456"/>
                  </a:lnTo>
                  <a:lnTo>
                    <a:pt x="1393" y="461"/>
                  </a:lnTo>
                  <a:lnTo>
                    <a:pt x="1362" y="467"/>
                  </a:lnTo>
                  <a:lnTo>
                    <a:pt x="1334" y="474"/>
                  </a:lnTo>
                  <a:lnTo>
                    <a:pt x="1320" y="478"/>
                  </a:lnTo>
                  <a:lnTo>
                    <a:pt x="1306" y="483"/>
                  </a:lnTo>
                  <a:lnTo>
                    <a:pt x="1293" y="487"/>
                  </a:lnTo>
                  <a:lnTo>
                    <a:pt x="1280" y="492"/>
                  </a:lnTo>
                  <a:lnTo>
                    <a:pt x="1267" y="498"/>
                  </a:lnTo>
                  <a:lnTo>
                    <a:pt x="1253" y="504"/>
                  </a:lnTo>
                  <a:lnTo>
                    <a:pt x="1225" y="518"/>
                  </a:lnTo>
                  <a:lnTo>
                    <a:pt x="1195" y="535"/>
                  </a:lnTo>
                  <a:lnTo>
                    <a:pt x="1176" y="546"/>
                  </a:lnTo>
                  <a:lnTo>
                    <a:pt x="1158" y="559"/>
                  </a:lnTo>
                  <a:lnTo>
                    <a:pt x="1142" y="572"/>
                  </a:lnTo>
                  <a:lnTo>
                    <a:pt x="1134" y="579"/>
                  </a:lnTo>
                  <a:lnTo>
                    <a:pt x="1126" y="585"/>
                  </a:lnTo>
                  <a:lnTo>
                    <a:pt x="1111" y="600"/>
                  </a:lnTo>
                  <a:lnTo>
                    <a:pt x="1104" y="607"/>
                  </a:lnTo>
                  <a:lnTo>
                    <a:pt x="1097" y="614"/>
                  </a:lnTo>
                  <a:lnTo>
                    <a:pt x="1083" y="629"/>
                  </a:lnTo>
                  <a:lnTo>
                    <a:pt x="1069" y="645"/>
                  </a:lnTo>
                  <a:lnTo>
                    <a:pt x="1043" y="676"/>
                  </a:lnTo>
                  <a:lnTo>
                    <a:pt x="1016" y="707"/>
                  </a:lnTo>
                  <a:lnTo>
                    <a:pt x="1002" y="723"/>
                  </a:lnTo>
                  <a:lnTo>
                    <a:pt x="987" y="738"/>
                  </a:lnTo>
                  <a:lnTo>
                    <a:pt x="972" y="753"/>
                  </a:lnTo>
                  <a:lnTo>
                    <a:pt x="957" y="768"/>
                  </a:lnTo>
                  <a:lnTo>
                    <a:pt x="907" y="811"/>
                  </a:lnTo>
                  <a:lnTo>
                    <a:pt x="884" y="831"/>
                  </a:lnTo>
                  <a:lnTo>
                    <a:pt x="861" y="850"/>
                  </a:lnTo>
                  <a:lnTo>
                    <a:pt x="839" y="869"/>
                  </a:lnTo>
                  <a:lnTo>
                    <a:pt x="817" y="886"/>
                  </a:lnTo>
                  <a:lnTo>
                    <a:pt x="773" y="920"/>
                  </a:lnTo>
                  <a:lnTo>
                    <a:pt x="731" y="953"/>
                  </a:lnTo>
                  <a:lnTo>
                    <a:pt x="687" y="984"/>
                  </a:lnTo>
                  <a:lnTo>
                    <a:pt x="643" y="1015"/>
                  </a:lnTo>
                  <a:lnTo>
                    <a:pt x="619" y="1031"/>
                  </a:lnTo>
                  <a:lnTo>
                    <a:pt x="595" y="1047"/>
                  </a:lnTo>
                  <a:lnTo>
                    <a:pt x="1042" y="834"/>
                  </a:lnTo>
                  <a:lnTo>
                    <a:pt x="1488" y="622"/>
                  </a:lnTo>
                  <a:lnTo>
                    <a:pt x="1492" y="621"/>
                  </a:lnTo>
                  <a:lnTo>
                    <a:pt x="1495" y="622"/>
                  </a:lnTo>
                  <a:lnTo>
                    <a:pt x="1497" y="623"/>
                  </a:lnTo>
                  <a:lnTo>
                    <a:pt x="1499" y="626"/>
                  </a:lnTo>
                  <a:lnTo>
                    <a:pt x="1500" y="629"/>
                  </a:lnTo>
                  <a:lnTo>
                    <a:pt x="1499" y="632"/>
                  </a:lnTo>
                  <a:lnTo>
                    <a:pt x="1499" y="633"/>
                  </a:lnTo>
                  <a:lnTo>
                    <a:pt x="1498" y="634"/>
                  </a:lnTo>
                  <a:lnTo>
                    <a:pt x="1495" y="636"/>
                  </a:lnTo>
                  <a:lnTo>
                    <a:pt x="1045" y="850"/>
                  </a:lnTo>
                  <a:lnTo>
                    <a:pt x="595" y="1065"/>
                  </a:lnTo>
                  <a:lnTo>
                    <a:pt x="1019" y="905"/>
                  </a:lnTo>
                  <a:lnTo>
                    <a:pt x="1442" y="746"/>
                  </a:lnTo>
                  <a:lnTo>
                    <a:pt x="1444" y="746"/>
                  </a:lnTo>
                  <a:lnTo>
                    <a:pt x="1445" y="746"/>
                  </a:lnTo>
                  <a:lnTo>
                    <a:pt x="1448" y="747"/>
                  </a:lnTo>
                  <a:lnTo>
                    <a:pt x="1451" y="749"/>
                  </a:lnTo>
                  <a:lnTo>
                    <a:pt x="1452" y="751"/>
                  </a:lnTo>
                  <a:lnTo>
                    <a:pt x="1453" y="754"/>
                  </a:lnTo>
                  <a:lnTo>
                    <a:pt x="1452" y="757"/>
                  </a:lnTo>
                  <a:lnTo>
                    <a:pt x="1452" y="758"/>
                  </a:lnTo>
                  <a:lnTo>
                    <a:pt x="1451" y="760"/>
                  </a:lnTo>
                  <a:lnTo>
                    <a:pt x="1448" y="761"/>
                  </a:lnTo>
                  <a:lnTo>
                    <a:pt x="959" y="945"/>
                  </a:lnTo>
                  <a:lnTo>
                    <a:pt x="469" y="1129"/>
                  </a:lnTo>
                  <a:lnTo>
                    <a:pt x="910" y="1095"/>
                  </a:lnTo>
                  <a:lnTo>
                    <a:pt x="1351" y="1062"/>
                  </a:lnTo>
                  <a:lnTo>
                    <a:pt x="1352" y="1062"/>
                  </a:lnTo>
                  <a:lnTo>
                    <a:pt x="1354" y="1062"/>
                  </a:lnTo>
                  <a:lnTo>
                    <a:pt x="1357" y="1064"/>
                  </a:lnTo>
                  <a:lnTo>
                    <a:pt x="1358" y="1066"/>
                  </a:lnTo>
                  <a:lnTo>
                    <a:pt x="1359" y="1069"/>
                  </a:lnTo>
                  <a:lnTo>
                    <a:pt x="1359" y="1072"/>
                  </a:lnTo>
                  <a:lnTo>
                    <a:pt x="1358" y="1075"/>
                  </a:lnTo>
                  <a:lnTo>
                    <a:pt x="1355" y="1077"/>
                  </a:lnTo>
                  <a:lnTo>
                    <a:pt x="1352" y="1078"/>
                  </a:lnTo>
                  <a:lnTo>
                    <a:pt x="927" y="1111"/>
                  </a:lnTo>
                  <a:lnTo>
                    <a:pt x="502" y="1144"/>
                  </a:lnTo>
                  <a:lnTo>
                    <a:pt x="1058" y="1265"/>
                  </a:lnTo>
                  <a:lnTo>
                    <a:pt x="1060" y="1266"/>
                  </a:lnTo>
                  <a:lnTo>
                    <a:pt x="1062" y="1266"/>
                  </a:lnTo>
                  <a:lnTo>
                    <a:pt x="1064" y="1269"/>
                  </a:lnTo>
                  <a:lnTo>
                    <a:pt x="1065" y="1272"/>
                  </a:lnTo>
                  <a:lnTo>
                    <a:pt x="1065" y="1273"/>
                  </a:lnTo>
                  <a:lnTo>
                    <a:pt x="1064" y="1275"/>
                  </a:lnTo>
                  <a:lnTo>
                    <a:pt x="1063" y="1277"/>
                  </a:lnTo>
                  <a:lnTo>
                    <a:pt x="1061" y="1279"/>
                  </a:lnTo>
                  <a:lnTo>
                    <a:pt x="1059" y="1281"/>
                  </a:lnTo>
                  <a:lnTo>
                    <a:pt x="1055" y="1281"/>
                  </a:lnTo>
                  <a:lnTo>
                    <a:pt x="519" y="1164"/>
                  </a:lnTo>
                  <a:lnTo>
                    <a:pt x="1042" y="1357"/>
                  </a:lnTo>
                  <a:lnTo>
                    <a:pt x="1045" y="1359"/>
                  </a:lnTo>
                  <a:lnTo>
                    <a:pt x="1047" y="1361"/>
                  </a:lnTo>
                  <a:lnTo>
                    <a:pt x="1047" y="1364"/>
                  </a:lnTo>
                  <a:lnTo>
                    <a:pt x="1047" y="1367"/>
                  </a:lnTo>
                  <a:lnTo>
                    <a:pt x="1046" y="1369"/>
                  </a:lnTo>
                  <a:lnTo>
                    <a:pt x="1045" y="1370"/>
                  </a:lnTo>
                  <a:lnTo>
                    <a:pt x="1043" y="1372"/>
                  </a:lnTo>
                  <a:lnTo>
                    <a:pt x="1040" y="1373"/>
                  </a:lnTo>
                  <a:lnTo>
                    <a:pt x="1038" y="1372"/>
                  </a:lnTo>
                  <a:lnTo>
                    <a:pt x="1036" y="1372"/>
                  </a:lnTo>
                  <a:lnTo>
                    <a:pt x="441" y="1152"/>
                  </a:lnTo>
                  <a:lnTo>
                    <a:pt x="439" y="1154"/>
                  </a:lnTo>
                  <a:lnTo>
                    <a:pt x="436" y="1156"/>
                  </a:lnTo>
                  <a:lnTo>
                    <a:pt x="433" y="1156"/>
                  </a:lnTo>
                  <a:lnTo>
                    <a:pt x="431" y="1156"/>
                  </a:lnTo>
                  <a:lnTo>
                    <a:pt x="429" y="1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Title 1"/>
          <p:cNvSpPr>
            <a:spLocks noGrp="1"/>
          </p:cNvSpPr>
          <p:nvPr>
            <p:ph type="ctrTitle"/>
          </p:nvPr>
        </p:nvSpPr>
        <p:spPr>
          <a:xfrm>
            <a:off x="623887" y="1916832"/>
            <a:ext cx="10944226" cy="1512168"/>
          </a:xfrm>
        </p:spPr>
        <p:txBody>
          <a:bodyPr anchor="b"/>
          <a:lstStyle>
            <a:lvl1pPr algn="ctr">
              <a:defRPr sz="4000" b="1" spc="-100" baseline="0">
                <a:solidFill>
                  <a:schemeClr val="bg1"/>
                </a:solidFill>
              </a:defRPr>
            </a:lvl1pPr>
          </a:lstStyle>
          <a:p>
            <a:r>
              <a:rPr lang="en-US"/>
              <a:t>Click to edit Master title style</a:t>
            </a:r>
            <a:endParaRPr lang="fi-FI" dirty="0"/>
          </a:p>
        </p:txBody>
      </p:sp>
      <p:sp>
        <p:nvSpPr>
          <p:cNvPr id="3" name="Subtitle 2"/>
          <p:cNvSpPr>
            <a:spLocks noGrp="1"/>
          </p:cNvSpPr>
          <p:nvPr>
            <p:ph type="subTitle" idx="1"/>
          </p:nvPr>
        </p:nvSpPr>
        <p:spPr>
          <a:xfrm>
            <a:off x="623887" y="3645024"/>
            <a:ext cx="10944225" cy="1584201"/>
          </a:xfrm>
        </p:spPr>
        <p:txBody>
          <a:bodyPr/>
          <a:lstStyle>
            <a:lvl1pPr marL="0" indent="0" algn="ctr">
              <a:buNone/>
              <a:defRPr sz="14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
        <p:nvSpPr>
          <p:cNvPr id="4" name="Date Placeholder 3"/>
          <p:cNvSpPr>
            <a:spLocks noGrp="1"/>
          </p:cNvSpPr>
          <p:nvPr>
            <p:ph type="dt" sz="half" idx="10"/>
          </p:nvPr>
        </p:nvSpPr>
        <p:spPr/>
        <p:txBody>
          <a:bodyPr/>
          <a:lstStyle>
            <a:lvl1pPr>
              <a:defRPr>
                <a:noFill/>
              </a:defRPr>
            </a:lvl1pPr>
          </a:lstStyle>
          <a:p>
            <a:fld id="{386DB818-40CE-443F-8A36-F1617A9F1E15}" type="datetime4">
              <a:rPr lang="en-GB" smtClean="0"/>
              <a:t>16 February 2023</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CONFIDENTIAL</a:t>
            </a:r>
          </a:p>
        </p:txBody>
      </p:sp>
      <p:sp>
        <p:nvSpPr>
          <p:cNvPr id="6" name="Slide Number Placeholder 5"/>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1" name="Text Placeholder 11"/>
          <p:cNvSpPr>
            <a:spLocks noGrp="1"/>
          </p:cNvSpPr>
          <p:nvPr>
            <p:ph type="body" sz="quarter" idx="14" hasCustomPrompt="1"/>
          </p:nvPr>
        </p:nvSpPr>
        <p:spPr>
          <a:xfrm>
            <a:off x="623889" y="5445224"/>
            <a:ext cx="10944224" cy="432048"/>
          </a:xfrm>
        </p:spPr>
        <p:txBody>
          <a:bodyPr anchor="t" anchorCtr="0"/>
          <a:lstStyle>
            <a:lvl1pPr marL="0" indent="0" algn="ctr">
              <a:lnSpc>
                <a:spcPct val="100000"/>
              </a:lnSpc>
              <a:spcBef>
                <a:spcPts val="200"/>
              </a:spcBef>
              <a:buFontTx/>
              <a:buNone/>
              <a:defRPr sz="1200" b="0" cap="none" baseline="0">
                <a:solidFill>
                  <a:schemeClr val="bg1"/>
                </a:solidFill>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Date Place or other additional info</a:t>
            </a:r>
          </a:p>
        </p:txBody>
      </p:sp>
      <p:pic>
        <p:nvPicPr>
          <p:cNvPr id="21" name="Graphic 20">
            <a:extLst>
              <a:ext uri="{FF2B5EF4-FFF2-40B4-BE49-F238E27FC236}">
                <a16:creationId xmlns:a16="http://schemas.microsoft.com/office/drawing/2014/main" id="{9BEE7BA0-1106-40BB-8D49-6B6B7046DF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634852"/>
            <a:ext cx="2301994" cy="920798"/>
          </a:xfrm>
          <a:prstGeom prst="rect">
            <a:avLst/>
          </a:prstGeom>
        </p:spPr>
      </p:pic>
    </p:spTree>
    <p:extLst>
      <p:ext uri="{BB962C8B-B14F-4D97-AF65-F5344CB8AC3E}">
        <p14:creationId xmlns:p14="http://schemas.microsoft.com/office/powerpoint/2010/main" val="167665943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logan Terracotta">
    <p:bg>
      <p:bgPr>
        <a:solidFill>
          <a:schemeClr val="accent5"/>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3D63B529-6895-41D5-96ED-F5A3C7F88EEA}"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6" name="Freeform 6"/>
          <p:cNvSpPr>
            <a:spLocks noChangeAspect="1" noEditPoints="1"/>
          </p:cNvSpPr>
          <p:nvPr userDrawn="1"/>
        </p:nvSpPr>
        <p:spPr bwMode="auto">
          <a:xfrm>
            <a:off x="1910586" y="2565024"/>
            <a:ext cx="8370828" cy="1080000"/>
          </a:xfrm>
          <a:custGeom>
            <a:avLst/>
            <a:gdLst>
              <a:gd name="T0" fmla="*/ 4256 w 5100"/>
              <a:gd name="T1" fmla="*/ 656 h 658"/>
              <a:gd name="T2" fmla="*/ 113 w 5100"/>
              <a:gd name="T3" fmla="*/ 0 h 658"/>
              <a:gd name="T4" fmla="*/ 208 w 5100"/>
              <a:gd name="T5" fmla="*/ 188 h 658"/>
              <a:gd name="T6" fmla="*/ 13 w 5100"/>
              <a:gd name="T7" fmla="*/ 178 h 658"/>
              <a:gd name="T8" fmla="*/ 71 w 5100"/>
              <a:gd name="T9" fmla="*/ 28 h 658"/>
              <a:gd name="T10" fmla="*/ 102 w 5100"/>
              <a:gd name="T11" fmla="*/ 222 h 658"/>
              <a:gd name="T12" fmla="*/ 305 w 5100"/>
              <a:gd name="T13" fmla="*/ 191 h 658"/>
              <a:gd name="T14" fmla="*/ 433 w 5100"/>
              <a:gd name="T15" fmla="*/ 171 h 658"/>
              <a:gd name="T16" fmla="*/ 335 w 5100"/>
              <a:gd name="T17" fmla="*/ 236 h 658"/>
              <a:gd name="T18" fmla="*/ 637 w 5100"/>
              <a:gd name="T19" fmla="*/ 11 h 658"/>
              <a:gd name="T20" fmla="*/ 676 w 5100"/>
              <a:gd name="T21" fmla="*/ 236 h 658"/>
              <a:gd name="T22" fmla="*/ 631 w 5100"/>
              <a:gd name="T23" fmla="*/ 114 h 658"/>
              <a:gd name="T24" fmla="*/ 894 w 5100"/>
              <a:gd name="T25" fmla="*/ 5 h 658"/>
              <a:gd name="T26" fmla="*/ 919 w 5100"/>
              <a:gd name="T27" fmla="*/ 19 h 658"/>
              <a:gd name="T28" fmla="*/ 871 w 5100"/>
              <a:gd name="T29" fmla="*/ 203 h 658"/>
              <a:gd name="T30" fmla="*/ 967 w 5100"/>
              <a:gd name="T31" fmla="*/ 234 h 658"/>
              <a:gd name="T32" fmla="*/ 1049 w 5100"/>
              <a:gd name="T33" fmla="*/ 236 h 658"/>
              <a:gd name="T34" fmla="*/ 1516 w 5100"/>
              <a:gd name="T35" fmla="*/ 236 h 658"/>
              <a:gd name="T36" fmla="*/ 1975 w 5100"/>
              <a:gd name="T37" fmla="*/ 218 h 658"/>
              <a:gd name="T38" fmla="*/ 2038 w 5100"/>
              <a:gd name="T39" fmla="*/ 138 h 658"/>
              <a:gd name="T40" fmla="*/ 1953 w 5100"/>
              <a:gd name="T41" fmla="*/ 13 h 658"/>
              <a:gd name="T42" fmla="*/ 2010 w 5100"/>
              <a:gd name="T43" fmla="*/ 19 h 658"/>
              <a:gd name="T44" fmla="*/ 2029 w 5100"/>
              <a:gd name="T45" fmla="*/ 112 h 658"/>
              <a:gd name="T46" fmla="*/ 2014 w 5100"/>
              <a:gd name="T47" fmla="*/ 240 h 658"/>
              <a:gd name="T48" fmla="*/ 2530 w 5100"/>
              <a:gd name="T49" fmla="*/ 179 h 658"/>
              <a:gd name="T50" fmla="*/ 3088 w 5100"/>
              <a:gd name="T51" fmla="*/ 22 h 658"/>
              <a:gd name="T52" fmla="*/ 3596 w 5100"/>
              <a:gd name="T53" fmla="*/ 108 h 658"/>
              <a:gd name="T54" fmla="*/ 4158 w 5100"/>
              <a:gd name="T55" fmla="*/ 208 h 658"/>
              <a:gd name="T56" fmla="*/ 4396 w 5100"/>
              <a:gd name="T57" fmla="*/ 3 h 658"/>
              <a:gd name="T58" fmla="*/ 4453 w 5100"/>
              <a:gd name="T59" fmla="*/ 206 h 658"/>
              <a:gd name="T60" fmla="*/ 4264 w 5100"/>
              <a:gd name="T61" fmla="*/ 156 h 658"/>
              <a:gd name="T62" fmla="*/ 4318 w 5100"/>
              <a:gd name="T63" fmla="*/ 35 h 658"/>
              <a:gd name="T64" fmla="*/ 4382 w 5100"/>
              <a:gd name="T65" fmla="*/ 222 h 658"/>
              <a:gd name="T66" fmla="*/ 4656 w 5100"/>
              <a:gd name="T67" fmla="*/ 11 h 658"/>
              <a:gd name="T68" fmla="*/ 4695 w 5100"/>
              <a:gd name="T69" fmla="*/ 236 h 658"/>
              <a:gd name="T70" fmla="*/ 4650 w 5100"/>
              <a:gd name="T71" fmla="*/ 114 h 658"/>
              <a:gd name="T72" fmla="*/ 5037 w 5100"/>
              <a:gd name="T73" fmla="*/ 16 h 658"/>
              <a:gd name="T74" fmla="*/ 5061 w 5100"/>
              <a:gd name="T75" fmla="*/ 210 h 658"/>
              <a:gd name="T76" fmla="*/ 5005 w 5100"/>
              <a:gd name="T77" fmla="*/ 24 h 658"/>
              <a:gd name="T78" fmla="*/ 838 w 5100"/>
              <a:gd name="T79" fmla="*/ 489 h 658"/>
              <a:gd name="T80" fmla="*/ 1010 w 5100"/>
              <a:gd name="T81" fmla="*/ 463 h 658"/>
              <a:gd name="T82" fmla="*/ 852 w 5100"/>
              <a:gd name="T83" fmla="*/ 527 h 658"/>
              <a:gd name="T84" fmla="*/ 1010 w 5100"/>
              <a:gd name="T85" fmla="*/ 614 h 658"/>
              <a:gd name="T86" fmla="*/ 864 w 5100"/>
              <a:gd name="T87" fmla="*/ 625 h 658"/>
              <a:gd name="T88" fmla="*/ 1259 w 5100"/>
              <a:gd name="T89" fmla="*/ 636 h 658"/>
              <a:gd name="T90" fmla="*/ 1836 w 5100"/>
              <a:gd name="T91" fmla="*/ 654 h 658"/>
              <a:gd name="T92" fmla="*/ 2244 w 5100"/>
              <a:gd name="T93" fmla="*/ 436 h 658"/>
              <a:gd name="T94" fmla="*/ 2249 w 5100"/>
              <a:gd name="T95" fmla="*/ 490 h 658"/>
              <a:gd name="T96" fmla="*/ 2235 w 5100"/>
              <a:gd name="T97" fmla="*/ 526 h 658"/>
              <a:gd name="T98" fmla="*/ 2644 w 5100"/>
              <a:gd name="T99" fmla="*/ 422 h 658"/>
              <a:gd name="T100" fmla="*/ 3078 w 5100"/>
              <a:gd name="T101" fmla="*/ 504 h 658"/>
              <a:gd name="T102" fmla="*/ 3061 w 5100"/>
              <a:gd name="T103" fmla="*/ 538 h 658"/>
              <a:gd name="T104" fmla="*/ 3023 w 5100"/>
              <a:gd name="T105" fmla="*/ 619 h 658"/>
              <a:gd name="T106" fmla="*/ 3324 w 5100"/>
              <a:gd name="T107" fmla="*/ 637 h 658"/>
              <a:gd name="T108" fmla="*/ 3255 w 5100"/>
              <a:gd name="T109" fmla="*/ 529 h 658"/>
              <a:gd name="T110" fmla="*/ 3299 w 5100"/>
              <a:gd name="T111" fmla="*/ 418 h 658"/>
              <a:gd name="T112" fmla="*/ 3259 w 5100"/>
              <a:gd name="T113" fmla="*/ 448 h 658"/>
              <a:gd name="T114" fmla="*/ 3370 w 5100"/>
              <a:gd name="T115" fmla="*/ 555 h 658"/>
              <a:gd name="T116" fmla="*/ 3231 w 5100"/>
              <a:gd name="T117" fmla="*/ 636 h 658"/>
              <a:gd name="T118" fmla="*/ 3658 w 5100"/>
              <a:gd name="T119" fmla="*/ 654 h 658"/>
              <a:gd name="T120" fmla="*/ 4173 w 5100"/>
              <a:gd name="T121" fmla="*/ 436 h 658"/>
              <a:gd name="T122" fmla="*/ 4177 w 5100"/>
              <a:gd name="T123" fmla="*/ 490 h 658"/>
              <a:gd name="T124" fmla="*/ 4163 w 5100"/>
              <a:gd name="T125" fmla="*/ 526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0" h="658">
                <a:moveTo>
                  <a:pt x="4245" y="642"/>
                </a:moveTo>
                <a:lnTo>
                  <a:pt x="4245" y="639"/>
                </a:lnTo>
                <a:lnTo>
                  <a:pt x="4246" y="636"/>
                </a:lnTo>
                <a:lnTo>
                  <a:pt x="4248" y="634"/>
                </a:lnTo>
                <a:lnTo>
                  <a:pt x="4251" y="631"/>
                </a:lnTo>
                <a:lnTo>
                  <a:pt x="4253" y="629"/>
                </a:lnTo>
                <a:lnTo>
                  <a:pt x="4256" y="628"/>
                </a:lnTo>
                <a:lnTo>
                  <a:pt x="4258" y="627"/>
                </a:lnTo>
                <a:lnTo>
                  <a:pt x="4261" y="627"/>
                </a:lnTo>
                <a:lnTo>
                  <a:pt x="4265" y="627"/>
                </a:lnTo>
                <a:lnTo>
                  <a:pt x="4267" y="628"/>
                </a:lnTo>
                <a:lnTo>
                  <a:pt x="4270" y="629"/>
                </a:lnTo>
                <a:lnTo>
                  <a:pt x="4272" y="631"/>
                </a:lnTo>
                <a:lnTo>
                  <a:pt x="4274" y="634"/>
                </a:lnTo>
                <a:lnTo>
                  <a:pt x="4276" y="636"/>
                </a:lnTo>
                <a:lnTo>
                  <a:pt x="4276" y="639"/>
                </a:lnTo>
                <a:lnTo>
                  <a:pt x="4277" y="642"/>
                </a:lnTo>
                <a:lnTo>
                  <a:pt x="4276" y="645"/>
                </a:lnTo>
                <a:lnTo>
                  <a:pt x="4276" y="648"/>
                </a:lnTo>
                <a:lnTo>
                  <a:pt x="4274" y="650"/>
                </a:lnTo>
                <a:lnTo>
                  <a:pt x="4272" y="653"/>
                </a:lnTo>
                <a:lnTo>
                  <a:pt x="4270" y="654"/>
                </a:lnTo>
                <a:lnTo>
                  <a:pt x="4267" y="656"/>
                </a:lnTo>
                <a:lnTo>
                  <a:pt x="4265" y="657"/>
                </a:lnTo>
                <a:lnTo>
                  <a:pt x="4261" y="657"/>
                </a:lnTo>
                <a:lnTo>
                  <a:pt x="4258" y="657"/>
                </a:lnTo>
                <a:lnTo>
                  <a:pt x="4256" y="656"/>
                </a:lnTo>
                <a:lnTo>
                  <a:pt x="4253" y="654"/>
                </a:lnTo>
                <a:lnTo>
                  <a:pt x="4251" y="653"/>
                </a:lnTo>
                <a:lnTo>
                  <a:pt x="4248" y="650"/>
                </a:lnTo>
                <a:lnTo>
                  <a:pt x="4246" y="648"/>
                </a:lnTo>
                <a:lnTo>
                  <a:pt x="4245" y="645"/>
                </a:lnTo>
                <a:lnTo>
                  <a:pt x="4245" y="642"/>
                </a:lnTo>
                <a:close/>
                <a:moveTo>
                  <a:pt x="0" y="120"/>
                </a:moveTo>
                <a:lnTo>
                  <a:pt x="1" y="108"/>
                </a:lnTo>
                <a:lnTo>
                  <a:pt x="1" y="102"/>
                </a:lnTo>
                <a:lnTo>
                  <a:pt x="2" y="96"/>
                </a:lnTo>
                <a:lnTo>
                  <a:pt x="5" y="84"/>
                </a:lnTo>
                <a:lnTo>
                  <a:pt x="8" y="73"/>
                </a:lnTo>
                <a:lnTo>
                  <a:pt x="13" y="62"/>
                </a:lnTo>
                <a:lnTo>
                  <a:pt x="15" y="57"/>
                </a:lnTo>
                <a:lnTo>
                  <a:pt x="18" y="52"/>
                </a:lnTo>
                <a:lnTo>
                  <a:pt x="24" y="43"/>
                </a:lnTo>
                <a:lnTo>
                  <a:pt x="31" y="35"/>
                </a:lnTo>
                <a:lnTo>
                  <a:pt x="39" y="27"/>
                </a:lnTo>
                <a:lnTo>
                  <a:pt x="43" y="24"/>
                </a:lnTo>
                <a:lnTo>
                  <a:pt x="47" y="20"/>
                </a:lnTo>
                <a:lnTo>
                  <a:pt x="56" y="14"/>
                </a:lnTo>
                <a:lnTo>
                  <a:pt x="66" y="9"/>
                </a:lnTo>
                <a:lnTo>
                  <a:pt x="77" y="6"/>
                </a:lnTo>
                <a:lnTo>
                  <a:pt x="88" y="3"/>
                </a:lnTo>
                <a:lnTo>
                  <a:pt x="100" y="1"/>
                </a:lnTo>
                <a:lnTo>
                  <a:pt x="106" y="0"/>
                </a:lnTo>
                <a:lnTo>
                  <a:pt x="113" y="0"/>
                </a:lnTo>
                <a:lnTo>
                  <a:pt x="125" y="1"/>
                </a:lnTo>
                <a:lnTo>
                  <a:pt x="137" y="3"/>
                </a:lnTo>
                <a:lnTo>
                  <a:pt x="148" y="6"/>
                </a:lnTo>
                <a:lnTo>
                  <a:pt x="159" y="9"/>
                </a:lnTo>
                <a:lnTo>
                  <a:pt x="169" y="14"/>
                </a:lnTo>
                <a:lnTo>
                  <a:pt x="174" y="17"/>
                </a:lnTo>
                <a:lnTo>
                  <a:pt x="178" y="20"/>
                </a:lnTo>
                <a:lnTo>
                  <a:pt x="182" y="24"/>
                </a:lnTo>
                <a:lnTo>
                  <a:pt x="187" y="27"/>
                </a:lnTo>
                <a:lnTo>
                  <a:pt x="194" y="35"/>
                </a:lnTo>
                <a:lnTo>
                  <a:pt x="201" y="43"/>
                </a:lnTo>
                <a:lnTo>
                  <a:pt x="208" y="52"/>
                </a:lnTo>
                <a:lnTo>
                  <a:pt x="210" y="57"/>
                </a:lnTo>
                <a:lnTo>
                  <a:pt x="213" y="62"/>
                </a:lnTo>
                <a:lnTo>
                  <a:pt x="217" y="73"/>
                </a:lnTo>
                <a:lnTo>
                  <a:pt x="221" y="84"/>
                </a:lnTo>
                <a:lnTo>
                  <a:pt x="223" y="96"/>
                </a:lnTo>
                <a:lnTo>
                  <a:pt x="225" y="108"/>
                </a:lnTo>
                <a:lnTo>
                  <a:pt x="225" y="120"/>
                </a:lnTo>
                <a:lnTo>
                  <a:pt x="225" y="133"/>
                </a:lnTo>
                <a:lnTo>
                  <a:pt x="224" y="139"/>
                </a:lnTo>
                <a:lnTo>
                  <a:pt x="223" y="145"/>
                </a:lnTo>
                <a:lnTo>
                  <a:pt x="221" y="156"/>
                </a:lnTo>
                <a:lnTo>
                  <a:pt x="217" y="168"/>
                </a:lnTo>
                <a:lnTo>
                  <a:pt x="213" y="178"/>
                </a:lnTo>
                <a:lnTo>
                  <a:pt x="210" y="183"/>
                </a:lnTo>
                <a:lnTo>
                  <a:pt x="208" y="188"/>
                </a:lnTo>
                <a:lnTo>
                  <a:pt x="201" y="197"/>
                </a:lnTo>
                <a:lnTo>
                  <a:pt x="194" y="206"/>
                </a:lnTo>
                <a:lnTo>
                  <a:pt x="187" y="213"/>
                </a:lnTo>
                <a:lnTo>
                  <a:pt x="182" y="217"/>
                </a:lnTo>
                <a:lnTo>
                  <a:pt x="178" y="220"/>
                </a:lnTo>
                <a:lnTo>
                  <a:pt x="169" y="226"/>
                </a:lnTo>
                <a:lnTo>
                  <a:pt x="159" y="231"/>
                </a:lnTo>
                <a:lnTo>
                  <a:pt x="148" y="235"/>
                </a:lnTo>
                <a:lnTo>
                  <a:pt x="137" y="238"/>
                </a:lnTo>
                <a:lnTo>
                  <a:pt x="125" y="239"/>
                </a:lnTo>
                <a:lnTo>
                  <a:pt x="119" y="240"/>
                </a:lnTo>
                <a:lnTo>
                  <a:pt x="113" y="240"/>
                </a:lnTo>
                <a:lnTo>
                  <a:pt x="100" y="239"/>
                </a:lnTo>
                <a:lnTo>
                  <a:pt x="88" y="238"/>
                </a:lnTo>
                <a:lnTo>
                  <a:pt x="83" y="236"/>
                </a:lnTo>
                <a:lnTo>
                  <a:pt x="77" y="235"/>
                </a:lnTo>
                <a:lnTo>
                  <a:pt x="66" y="231"/>
                </a:lnTo>
                <a:lnTo>
                  <a:pt x="56" y="226"/>
                </a:lnTo>
                <a:lnTo>
                  <a:pt x="52" y="223"/>
                </a:lnTo>
                <a:lnTo>
                  <a:pt x="47" y="220"/>
                </a:lnTo>
                <a:lnTo>
                  <a:pt x="43" y="217"/>
                </a:lnTo>
                <a:lnTo>
                  <a:pt x="39" y="213"/>
                </a:lnTo>
                <a:lnTo>
                  <a:pt x="31" y="206"/>
                </a:lnTo>
                <a:lnTo>
                  <a:pt x="24" y="197"/>
                </a:lnTo>
                <a:lnTo>
                  <a:pt x="18" y="188"/>
                </a:lnTo>
                <a:lnTo>
                  <a:pt x="15" y="183"/>
                </a:lnTo>
                <a:lnTo>
                  <a:pt x="13" y="178"/>
                </a:lnTo>
                <a:lnTo>
                  <a:pt x="8" y="168"/>
                </a:lnTo>
                <a:lnTo>
                  <a:pt x="5" y="156"/>
                </a:lnTo>
                <a:lnTo>
                  <a:pt x="2" y="145"/>
                </a:lnTo>
                <a:lnTo>
                  <a:pt x="1" y="133"/>
                </a:lnTo>
                <a:lnTo>
                  <a:pt x="0" y="120"/>
                </a:lnTo>
                <a:close/>
                <a:moveTo>
                  <a:pt x="204" y="120"/>
                </a:moveTo>
                <a:lnTo>
                  <a:pt x="204" y="109"/>
                </a:lnTo>
                <a:lnTo>
                  <a:pt x="203" y="99"/>
                </a:lnTo>
                <a:lnTo>
                  <a:pt x="201" y="89"/>
                </a:lnTo>
                <a:lnTo>
                  <a:pt x="198" y="79"/>
                </a:lnTo>
                <a:lnTo>
                  <a:pt x="194" y="71"/>
                </a:lnTo>
                <a:lnTo>
                  <a:pt x="190" y="62"/>
                </a:lnTo>
                <a:lnTo>
                  <a:pt x="185" y="54"/>
                </a:lnTo>
                <a:lnTo>
                  <a:pt x="179" y="47"/>
                </a:lnTo>
                <a:lnTo>
                  <a:pt x="173" y="41"/>
                </a:lnTo>
                <a:lnTo>
                  <a:pt x="166" y="35"/>
                </a:lnTo>
                <a:lnTo>
                  <a:pt x="159" y="30"/>
                </a:lnTo>
                <a:lnTo>
                  <a:pt x="151" y="26"/>
                </a:lnTo>
                <a:lnTo>
                  <a:pt x="142" y="23"/>
                </a:lnTo>
                <a:lnTo>
                  <a:pt x="133" y="20"/>
                </a:lnTo>
                <a:lnTo>
                  <a:pt x="123" y="19"/>
                </a:lnTo>
                <a:lnTo>
                  <a:pt x="113" y="18"/>
                </a:lnTo>
                <a:lnTo>
                  <a:pt x="102" y="19"/>
                </a:lnTo>
                <a:lnTo>
                  <a:pt x="93" y="20"/>
                </a:lnTo>
                <a:lnTo>
                  <a:pt x="83" y="23"/>
                </a:lnTo>
                <a:lnTo>
                  <a:pt x="75" y="26"/>
                </a:lnTo>
                <a:lnTo>
                  <a:pt x="71" y="28"/>
                </a:lnTo>
                <a:lnTo>
                  <a:pt x="67" y="30"/>
                </a:lnTo>
                <a:lnTo>
                  <a:pt x="59" y="35"/>
                </a:lnTo>
                <a:lnTo>
                  <a:pt x="52" y="41"/>
                </a:lnTo>
                <a:lnTo>
                  <a:pt x="46" y="47"/>
                </a:lnTo>
                <a:lnTo>
                  <a:pt x="40" y="54"/>
                </a:lnTo>
                <a:lnTo>
                  <a:pt x="35" y="62"/>
                </a:lnTo>
                <a:lnTo>
                  <a:pt x="31" y="71"/>
                </a:lnTo>
                <a:lnTo>
                  <a:pt x="27" y="79"/>
                </a:lnTo>
                <a:lnTo>
                  <a:pt x="25" y="89"/>
                </a:lnTo>
                <a:lnTo>
                  <a:pt x="23" y="99"/>
                </a:lnTo>
                <a:lnTo>
                  <a:pt x="21" y="109"/>
                </a:lnTo>
                <a:lnTo>
                  <a:pt x="21" y="120"/>
                </a:lnTo>
                <a:lnTo>
                  <a:pt x="21" y="131"/>
                </a:lnTo>
                <a:lnTo>
                  <a:pt x="23" y="141"/>
                </a:lnTo>
                <a:lnTo>
                  <a:pt x="25" y="151"/>
                </a:lnTo>
                <a:lnTo>
                  <a:pt x="27" y="161"/>
                </a:lnTo>
                <a:lnTo>
                  <a:pt x="31" y="170"/>
                </a:lnTo>
                <a:lnTo>
                  <a:pt x="35" y="178"/>
                </a:lnTo>
                <a:lnTo>
                  <a:pt x="40" y="186"/>
                </a:lnTo>
                <a:lnTo>
                  <a:pt x="46" y="193"/>
                </a:lnTo>
                <a:lnTo>
                  <a:pt x="52" y="199"/>
                </a:lnTo>
                <a:lnTo>
                  <a:pt x="59" y="205"/>
                </a:lnTo>
                <a:lnTo>
                  <a:pt x="67" y="210"/>
                </a:lnTo>
                <a:lnTo>
                  <a:pt x="75" y="214"/>
                </a:lnTo>
                <a:lnTo>
                  <a:pt x="83" y="218"/>
                </a:lnTo>
                <a:lnTo>
                  <a:pt x="93" y="220"/>
                </a:lnTo>
                <a:lnTo>
                  <a:pt x="102" y="222"/>
                </a:lnTo>
                <a:lnTo>
                  <a:pt x="113" y="222"/>
                </a:lnTo>
                <a:lnTo>
                  <a:pt x="123" y="222"/>
                </a:lnTo>
                <a:lnTo>
                  <a:pt x="133" y="220"/>
                </a:lnTo>
                <a:lnTo>
                  <a:pt x="142" y="218"/>
                </a:lnTo>
                <a:lnTo>
                  <a:pt x="151" y="214"/>
                </a:lnTo>
                <a:lnTo>
                  <a:pt x="159" y="210"/>
                </a:lnTo>
                <a:lnTo>
                  <a:pt x="166" y="205"/>
                </a:lnTo>
                <a:lnTo>
                  <a:pt x="173" y="199"/>
                </a:lnTo>
                <a:lnTo>
                  <a:pt x="179" y="193"/>
                </a:lnTo>
                <a:lnTo>
                  <a:pt x="185" y="186"/>
                </a:lnTo>
                <a:lnTo>
                  <a:pt x="190" y="178"/>
                </a:lnTo>
                <a:lnTo>
                  <a:pt x="194" y="170"/>
                </a:lnTo>
                <a:lnTo>
                  <a:pt x="198" y="161"/>
                </a:lnTo>
                <a:lnTo>
                  <a:pt x="201" y="151"/>
                </a:lnTo>
                <a:lnTo>
                  <a:pt x="203" y="141"/>
                </a:lnTo>
                <a:lnTo>
                  <a:pt x="204" y="131"/>
                </a:lnTo>
                <a:lnTo>
                  <a:pt x="204" y="120"/>
                </a:lnTo>
                <a:close/>
                <a:moveTo>
                  <a:pt x="275" y="147"/>
                </a:moveTo>
                <a:lnTo>
                  <a:pt x="275" y="4"/>
                </a:lnTo>
                <a:lnTo>
                  <a:pt x="295" y="4"/>
                </a:lnTo>
                <a:lnTo>
                  <a:pt x="295" y="147"/>
                </a:lnTo>
                <a:lnTo>
                  <a:pt x="295" y="155"/>
                </a:lnTo>
                <a:lnTo>
                  <a:pt x="296" y="163"/>
                </a:lnTo>
                <a:lnTo>
                  <a:pt x="297" y="171"/>
                </a:lnTo>
                <a:lnTo>
                  <a:pt x="299" y="178"/>
                </a:lnTo>
                <a:lnTo>
                  <a:pt x="302" y="185"/>
                </a:lnTo>
                <a:lnTo>
                  <a:pt x="305" y="191"/>
                </a:lnTo>
                <a:lnTo>
                  <a:pt x="309" y="197"/>
                </a:lnTo>
                <a:lnTo>
                  <a:pt x="313" y="202"/>
                </a:lnTo>
                <a:lnTo>
                  <a:pt x="315" y="204"/>
                </a:lnTo>
                <a:lnTo>
                  <a:pt x="318" y="206"/>
                </a:lnTo>
                <a:lnTo>
                  <a:pt x="323" y="211"/>
                </a:lnTo>
                <a:lnTo>
                  <a:pt x="329" y="214"/>
                </a:lnTo>
                <a:lnTo>
                  <a:pt x="335" y="217"/>
                </a:lnTo>
                <a:lnTo>
                  <a:pt x="342" y="219"/>
                </a:lnTo>
                <a:lnTo>
                  <a:pt x="345" y="220"/>
                </a:lnTo>
                <a:lnTo>
                  <a:pt x="349" y="221"/>
                </a:lnTo>
                <a:lnTo>
                  <a:pt x="357" y="222"/>
                </a:lnTo>
                <a:lnTo>
                  <a:pt x="365" y="222"/>
                </a:lnTo>
                <a:lnTo>
                  <a:pt x="373" y="222"/>
                </a:lnTo>
                <a:lnTo>
                  <a:pt x="381" y="221"/>
                </a:lnTo>
                <a:lnTo>
                  <a:pt x="388" y="219"/>
                </a:lnTo>
                <a:lnTo>
                  <a:pt x="395" y="217"/>
                </a:lnTo>
                <a:lnTo>
                  <a:pt x="401" y="214"/>
                </a:lnTo>
                <a:lnTo>
                  <a:pt x="407" y="211"/>
                </a:lnTo>
                <a:lnTo>
                  <a:pt x="412" y="206"/>
                </a:lnTo>
                <a:lnTo>
                  <a:pt x="417" y="202"/>
                </a:lnTo>
                <a:lnTo>
                  <a:pt x="419" y="199"/>
                </a:lnTo>
                <a:lnTo>
                  <a:pt x="421" y="197"/>
                </a:lnTo>
                <a:lnTo>
                  <a:pt x="425" y="191"/>
                </a:lnTo>
                <a:lnTo>
                  <a:pt x="427" y="188"/>
                </a:lnTo>
                <a:lnTo>
                  <a:pt x="428" y="185"/>
                </a:lnTo>
                <a:lnTo>
                  <a:pt x="431" y="178"/>
                </a:lnTo>
                <a:lnTo>
                  <a:pt x="433" y="171"/>
                </a:lnTo>
                <a:lnTo>
                  <a:pt x="434" y="163"/>
                </a:lnTo>
                <a:lnTo>
                  <a:pt x="435" y="159"/>
                </a:lnTo>
                <a:lnTo>
                  <a:pt x="435" y="155"/>
                </a:lnTo>
                <a:lnTo>
                  <a:pt x="435" y="147"/>
                </a:lnTo>
                <a:lnTo>
                  <a:pt x="435" y="4"/>
                </a:lnTo>
                <a:lnTo>
                  <a:pt x="455" y="4"/>
                </a:lnTo>
                <a:lnTo>
                  <a:pt x="455" y="147"/>
                </a:lnTo>
                <a:lnTo>
                  <a:pt x="455" y="157"/>
                </a:lnTo>
                <a:lnTo>
                  <a:pt x="454" y="167"/>
                </a:lnTo>
                <a:lnTo>
                  <a:pt x="452" y="177"/>
                </a:lnTo>
                <a:lnTo>
                  <a:pt x="450" y="186"/>
                </a:lnTo>
                <a:lnTo>
                  <a:pt x="446" y="194"/>
                </a:lnTo>
                <a:lnTo>
                  <a:pt x="443" y="202"/>
                </a:lnTo>
                <a:lnTo>
                  <a:pt x="438" y="209"/>
                </a:lnTo>
                <a:lnTo>
                  <a:pt x="433" y="215"/>
                </a:lnTo>
                <a:lnTo>
                  <a:pt x="427" y="221"/>
                </a:lnTo>
                <a:lnTo>
                  <a:pt x="423" y="223"/>
                </a:lnTo>
                <a:lnTo>
                  <a:pt x="420" y="226"/>
                </a:lnTo>
                <a:lnTo>
                  <a:pt x="412" y="230"/>
                </a:lnTo>
                <a:lnTo>
                  <a:pt x="404" y="234"/>
                </a:lnTo>
                <a:lnTo>
                  <a:pt x="396" y="236"/>
                </a:lnTo>
                <a:lnTo>
                  <a:pt x="386" y="238"/>
                </a:lnTo>
                <a:lnTo>
                  <a:pt x="376" y="240"/>
                </a:lnTo>
                <a:lnTo>
                  <a:pt x="365" y="240"/>
                </a:lnTo>
                <a:lnTo>
                  <a:pt x="354" y="240"/>
                </a:lnTo>
                <a:lnTo>
                  <a:pt x="344" y="238"/>
                </a:lnTo>
                <a:lnTo>
                  <a:pt x="335" y="236"/>
                </a:lnTo>
                <a:lnTo>
                  <a:pt x="326" y="234"/>
                </a:lnTo>
                <a:lnTo>
                  <a:pt x="318" y="230"/>
                </a:lnTo>
                <a:lnTo>
                  <a:pt x="310" y="226"/>
                </a:lnTo>
                <a:lnTo>
                  <a:pt x="304" y="221"/>
                </a:lnTo>
                <a:lnTo>
                  <a:pt x="301" y="218"/>
                </a:lnTo>
                <a:lnTo>
                  <a:pt x="298" y="215"/>
                </a:lnTo>
                <a:lnTo>
                  <a:pt x="295" y="212"/>
                </a:lnTo>
                <a:lnTo>
                  <a:pt x="292" y="208"/>
                </a:lnTo>
                <a:lnTo>
                  <a:pt x="288" y="201"/>
                </a:lnTo>
                <a:lnTo>
                  <a:pt x="284" y="194"/>
                </a:lnTo>
                <a:lnTo>
                  <a:pt x="280" y="186"/>
                </a:lnTo>
                <a:lnTo>
                  <a:pt x="278" y="177"/>
                </a:lnTo>
                <a:lnTo>
                  <a:pt x="276" y="167"/>
                </a:lnTo>
                <a:lnTo>
                  <a:pt x="275" y="157"/>
                </a:lnTo>
                <a:lnTo>
                  <a:pt x="275" y="147"/>
                </a:lnTo>
                <a:close/>
                <a:moveTo>
                  <a:pt x="652" y="236"/>
                </a:moveTo>
                <a:lnTo>
                  <a:pt x="587" y="140"/>
                </a:lnTo>
                <a:lnTo>
                  <a:pt x="536" y="140"/>
                </a:lnTo>
                <a:lnTo>
                  <a:pt x="536" y="236"/>
                </a:lnTo>
                <a:lnTo>
                  <a:pt x="516" y="236"/>
                </a:lnTo>
                <a:lnTo>
                  <a:pt x="516" y="4"/>
                </a:lnTo>
                <a:lnTo>
                  <a:pt x="603" y="4"/>
                </a:lnTo>
                <a:lnTo>
                  <a:pt x="610" y="4"/>
                </a:lnTo>
                <a:lnTo>
                  <a:pt x="617" y="5"/>
                </a:lnTo>
                <a:lnTo>
                  <a:pt x="624" y="7"/>
                </a:lnTo>
                <a:lnTo>
                  <a:pt x="631" y="9"/>
                </a:lnTo>
                <a:lnTo>
                  <a:pt x="637" y="11"/>
                </a:lnTo>
                <a:lnTo>
                  <a:pt x="643" y="14"/>
                </a:lnTo>
                <a:lnTo>
                  <a:pt x="648" y="18"/>
                </a:lnTo>
                <a:lnTo>
                  <a:pt x="653" y="22"/>
                </a:lnTo>
                <a:lnTo>
                  <a:pt x="658" y="27"/>
                </a:lnTo>
                <a:lnTo>
                  <a:pt x="662" y="32"/>
                </a:lnTo>
                <a:lnTo>
                  <a:pt x="665" y="37"/>
                </a:lnTo>
                <a:lnTo>
                  <a:pt x="668" y="43"/>
                </a:lnTo>
                <a:lnTo>
                  <a:pt x="670" y="50"/>
                </a:lnTo>
                <a:lnTo>
                  <a:pt x="672" y="57"/>
                </a:lnTo>
                <a:lnTo>
                  <a:pt x="673" y="64"/>
                </a:lnTo>
                <a:lnTo>
                  <a:pt x="673" y="72"/>
                </a:lnTo>
                <a:lnTo>
                  <a:pt x="673" y="80"/>
                </a:lnTo>
                <a:lnTo>
                  <a:pt x="672" y="87"/>
                </a:lnTo>
                <a:lnTo>
                  <a:pt x="670" y="94"/>
                </a:lnTo>
                <a:lnTo>
                  <a:pt x="668" y="100"/>
                </a:lnTo>
                <a:lnTo>
                  <a:pt x="665" y="106"/>
                </a:lnTo>
                <a:lnTo>
                  <a:pt x="662" y="111"/>
                </a:lnTo>
                <a:lnTo>
                  <a:pt x="658" y="116"/>
                </a:lnTo>
                <a:lnTo>
                  <a:pt x="654" y="120"/>
                </a:lnTo>
                <a:lnTo>
                  <a:pt x="650" y="124"/>
                </a:lnTo>
                <a:lnTo>
                  <a:pt x="645" y="128"/>
                </a:lnTo>
                <a:lnTo>
                  <a:pt x="639" y="131"/>
                </a:lnTo>
                <a:lnTo>
                  <a:pt x="634" y="133"/>
                </a:lnTo>
                <a:lnTo>
                  <a:pt x="628" y="136"/>
                </a:lnTo>
                <a:lnTo>
                  <a:pt x="622" y="137"/>
                </a:lnTo>
                <a:lnTo>
                  <a:pt x="609" y="139"/>
                </a:lnTo>
                <a:lnTo>
                  <a:pt x="676" y="236"/>
                </a:lnTo>
                <a:lnTo>
                  <a:pt x="652" y="236"/>
                </a:lnTo>
                <a:close/>
                <a:moveTo>
                  <a:pt x="652" y="72"/>
                </a:moveTo>
                <a:lnTo>
                  <a:pt x="652" y="67"/>
                </a:lnTo>
                <a:lnTo>
                  <a:pt x="652" y="61"/>
                </a:lnTo>
                <a:lnTo>
                  <a:pt x="650" y="56"/>
                </a:lnTo>
                <a:lnTo>
                  <a:pt x="649" y="52"/>
                </a:lnTo>
                <a:lnTo>
                  <a:pt x="647" y="47"/>
                </a:lnTo>
                <a:lnTo>
                  <a:pt x="644" y="43"/>
                </a:lnTo>
                <a:lnTo>
                  <a:pt x="642" y="40"/>
                </a:lnTo>
                <a:lnTo>
                  <a:pt x="638" y="36"/>
                </a:lnTo>
                <a:lnTo>
                  <a:pt x="635" y="33"/>
                </a:lnTo>
                <a:lnTo>
                  <a:pt x="631" y="30"/>
                </a:lnTo>
                <a:lnTo>
                  <a:pt x="627" y="28"/>
                </a:lnTo>
                <a:lnTo>
                  <a:pt x="622" y="26"/>
                </a:lnTo>
                <a:lnTo>
                  <a:pt x="617" y="24"/>
                </a:lnTo>
                <a:lnTo>
                  <a:pt x="612" y="23"/>
                </a:lnTo>
                <a:lnTo>
                  <a:pt x="607" y="22"/>
                </a:lnTo>
                <a:lnTo>
                  <a:pt x="601" y="22"/>
                </a:lnTo>
                <a:lnTo>
                  <a:pt x="536" y="22"/>
                </a:lnTo>
                <a:lnTo>
                  <a:pt x="536" y="122"/>
                </a:lnTo>
                <a:lnTo>
                  <a:pt x="601" y="122"/>
                </a:lnTo>
                <a:lnTo>
                  <a:pt x="607" y="122"/>
                </a:lnTo>
                <a:lnTo>
                  <a:pt x="612" y="121"/>
                </a:lnTo>
                <a:lnTo>
                  <a:pt x="617" y="120"/>
                </a:lnTo>
                <a:lnTo>
                  <a:pt x="622" y="118"/>
                </a:lnTo>
                <a:lnTo>
                  <a:pt x="627" y="116"/>
                </a:lnTo>
                <a:lnTo>
                  <a:pt x="631" y="114"/>
                </a:lnTo>
                <a:lnTo>
                  <a:pt x="635" y="111"/>
                </a:lnTo>
                <a:lnTo>
                  <a:pt x="638" y="108"/>
                </a:lnTo>
                <a:lnTo>
                  <a:pt x="642" y="104"/>
                </a:lnTo>
                <a:lnTo>
                  <a:pt x="644" y="101"/>
                </a:lnTo>
                <a:lnTo>
                  <a:pt x="647" y="96"/>
                </a:lnTo>
                <a:lnTo>
                  <a:pt x="649" y="92"/>
                </a:lnTo>
                <a:lnTo>
                  <a:pt x="650" y="90"/>
                </a:lnTo>
                <a:lnTo>
                  <a:pt x="650" y="87"/>
                </a:lnTo>
                <a:lnTo>
                  <a:pt x="652" y="82"/>
                </a:lnTo>
                <a:lnTo>
                  <a:pt x="652" y="77"/>
                </a:lnTo>
                <a:lnTo>
                  <a:pt x="652" y="72"/>
                </a:lnTo>
                <a:close/>
                <a:moveTo>
                  <a:pt x="811" y="120"/>
                </a:moveTo>
                <a:lnTo>
                  <a:pt x="811" y="107"/>
                </a:lnTo>
                <a:lnTo>
                  <a:pt x="813" y="95"/>
                </a:lnTo>
                <a:lnTo>
                  <a:pt x="816" y="83"/>
                </a:lnTo>
                <a:lnTo>
                  <a:pt x="820" y="71"/>
                </a:lnTo>
                <a:lnTo>
                  <a:pt x="822" y="66"/>
                </a:lnTo>
                <a:lnTo>
                  <a:pt x="825" y="61"/>
                </a:lnTo>
                <a:lnTo>
                  <a:pt x="830" y="51"/>
                </a:lnTo>
                <a:lnTo>
                  <a:pt x="834" y="46"/>
                </a:lnTo>
                <a:lnTo>
                  <a:pt x="837" y="42"/>
                </a:lnTo>
                <a:lnTo>
                  <a:pt x="845" y="34"/>
                </a:lnTo>
                <a:lnTo>
                  <a:pt x="854" y="26"/>
                </a:lnTo>
                <a:lnTo>
                  <a:pt x="863" y="19"/>
                </a:lnTo>
                <a:lnTo>
                  <a:pt x="873" y="14"/>
                </a:lnTo>
                <a:lnTo>
                  <a:pt x="883" y="9"/>
                </a:lnTo>
                <a:lnTo>
                  <a:pt x="894" y="5"/>
                </a:lnTo>
                <a:lnTo>
                  <a:pt x="905" y="3"/>
                </a:lnTo>
                <a:lnTo>
                  <a:pt x="917" y="1"/>
                </a:lnTo>
                <a:lnTo>
                  <a:pt x="929" y="0"/>
                </a:lnTo>
                <a:lnTo>
                  <a:pt x="942" y="1"/>
                </a:lnTo>
                <a:lnTo>
                  <a:pt x="949" y="2"/>
                </a:lnTo>
                <a:lnTo>
                  <a:pt x="955" y="3"/>
                </a:lnTo>
                <a:lnTo>
                  <a:pt x="967" y="7"/>
                </a:lnTo>
                <a:lnTo>
                  <a:pt x="978" y="12"/>
                </a:lnTo>
                <a:lnTo>
                  <a:pt x="983" y="14"/>
                </a:lnTo>
                <a:lnTo>
                  <a:pt x="988" y="17"/>
                </a:lnTo>
                <a:lnTo>
                  <a:pt x="997" y="24"/>
                </a:lnTo>
                <a:lnTo>
                  <a:pt x="1006" y="32"/>
                </a:lnTo>
                <a:lnTo>
                  <a:pt x="1013" y="41"/>
                </a:lnTo>
                <a:lnTo>
                  <a:pt x="997" y="52"/>
                </a:lnTo>
                <a:lnTo>
                  <a:pt x="994" y="48"/>
                </a:lnTo>
                <a:lnTo>
                  <a:pt x="991" y="45"/>
                </a:lnTo>
                <a:lnTo>
                  <a:pt x="984" y="38"/>
                </a:lnTo>
                <a:lnTo>
                  <a:pt x="976" y="33"/>
                </a:lnTo>
                <a:lnTo>
                  <a:pt x="968" y="28"/>
                </a:lnTo>
                <a:lnTo>
                  <a:pt x="959" y="24"/>
                </a:lnTo>
                <a:lnTo>
                  <a:pt x="954" y="22"/>
                </a:lnTo>
                <a:lnTo>
                  <a:pt x="949" y="21"/>
                </a:lnTo>
                <a:lnTo>
                  <a:pt x="944" y="20"/>
                </a:lnTo>
                <a:lnTo>
                  <a:pt x="939" y="19"/>
                </a:lnTo>
                <a:lnTo>
                  <a:pt x="934" y="19"/>
                </a:lnTo>
                <a:lnTo>
                  <a:pt x="929" y="18"/>
                </a:lnTo>
                <a:lnTo>
                  <a:pt x="919" y="19"/>
                </a:lnTo>
                <a:lnTo>
                  <a:pt x="909" y="20"/>
                </a:lnTo>
                <a:lnTo>
                  <a:pt x="905" y="21"/>
                </a:lnTo>
                <a:lnTo>
                  <a:pt x="900" y="23"/>
                </a:lnTo>
                <a:lnTo>
                  <a:pt x="891" y="26"/>
                </a:lnTo>
                <a:lnTo>
                  <a:pt x="883" y="30"/>
                </a:lnTo>
                <a:lnTo>
                  <a:pt x="875" y="35"/>
                </a:lnTo>
                <a:lnTo>
                  <a:pt x="867" y="40"/>
                </a:lnTo>
                <a:lnTo>
                  <a:pt x="864" y="43"/>
                </a:lnTo>
                <a:lnTo>
                  <a:pt x="860" y="47"/>
                </a:lnTo>
                <a:lnTo>
                  <a:pt x="854" y="54"/>
                </a:lnTo>
                <a:lnTo>
                  <a:pt x="848" y="61"/>
                </a:lnTo>
                <a:lnTo>
                  <a:pt x="843" y="70"/>
                </a:lnTo>
                <a:lnTo>
                  <a:pt x="839" y="79"/>
                </a:lnTo>
                <a:lnTo>
                  <a:pt x="836" y="88"/>
                </a:lnTo>
                <a:lnTo>
                  <a:pt x="833" y="98"/>
                </a:lnTo>
                <a:lnTo>
                  <a:pt x="832" y="109"/>
                </a:lnTo>
                <a:lnTo>
                  <a:pt x="831" y="120"/>
                </a:lnTo>
                <a:lnTo>
                  <a:pt x="832" y="131"/>
                </a:lnTo>
                <a:lnTo>
                  <a:pt x="833" y="142"/>
                </a:lnTo>
                <a:lnTo>
                  <a:pt x="836" y="152"/>
                </a:lnTo>
                <a:lnTo>
                  <a:pt x="839" y="161"/>
                </a:lnTo>
                <a:lnTo>
                  <a:pt x="843" y="170"/>
                </a:lnTo>
                <a:lnTo>
                  <a:pt x="848" y="179"/>
                </a:lnTo>
                <a:lnTo>
                  <a:pt x="854" y="186"/>
                </a:lnTo>
                <a:lnTo>
                  <a:pt x="860" y="194"/>
                </a:lnTo>
                <a:lnTo>
                  <a:pt x="867" y="200"/>
                </a:lnTo>
                <a:lnTo>
                  <a:pt x="871" y="203"/>
                </a:lnTo>
                <a:lnTo>
                  <a:pt x="875" y="206"/>
                </a:lnTo>
                <a:lnTo>
                  <a:pt x="883" y="210"/>
                </a:lnTo>
                <a:lnTo>
                  <a:pt x="891" y="214"/>
                </a:lnTo>
                <a:lnTo>
                  <a:pt x="900" y="218"/>
                </a:lnTo>
                <a:lnTo>
                  <a:pt x="909" y="220"/>
                </a:lnTo>
                <a:lnTo>
                  <a:pt x="919" y="222"/>
                </a:lnTo>
                <a:lnTo>
                  <a:pt x="929" y="222"/>
                </a:lnTo>
                <a:lnTo>
                  <a:pt x="939" y="221"/>
                </a:lnTo>
                <a:lnTo>
                  <a:pt x="949" y="220"/>
                </a:lnTo>
                <a:lnTo>
                  <a:pt x="954" y="218"/>
                </a:lnTo>
                <a:lnTo>
                  <a:pt x="959" y="217"/>
                </a:lnTo>
                <a:lnTo>
                  <a:pt x="968" y="213"/>
                </a:lnTo>
                <a:lnTo>
                  <a:pt x="972" y="210"/>
                </a:lnTo>
                <a:lnTo>
                  <a:pt x="976" y="208"/>
                </a:lnTo>
                <a:lnTo>
                  <a:pt x="984" y="202"/>
                </a:lnTo>
                <a:lnTo>
                  <a:pt x="991" y="196"/>
                </a:lnTo>
                <a:lnTo>
                  <a:pt x="994" y="192"/>
                </a:lnTo>
                <a:lnTo>
                  <a:pt x="997" y="188"/>
                </a:lnTo>
                <a:lnTo>
                  <a:pt x="1014" y="199"/>
                </a:lnTo>
                <a:lnTo>
                  <a:pt x="1010" y="203"/>
                </a:lnTo>
                <a:lnTo>
                  <a:pt x="1006" y="208"/>
                </a:lnTo>
                <a:lnTo>
                  <a:pt x="997" y="216"/>
                </a:lnTo>
                <a:lnTo>
                  <a:pt x="992" y="220"/>
                </a:lnTo>
                <a:lnTo>
                  <a:pt x="988" y="223"/>
                </a:lnTo>
                <a:lnTo>
                  <a:pt x="977" y="229"/>
                </a:lnTo>
                <a:lnTo>
                  <a:pt x="972" y="231"/>
                </a:lnTo>
                <a:lnTo>
                  <a:pt x="967" y="234"/>
                </a:lnTo>
                <a:lnTo>
                  <a:pt x="961" y="236"/>
                </a:lnTo>
                <a:lnTo>
                  <a:pt x="955" y="237"/>
                </a:lnTo>
                <a:lnTo>
                  <a:pt x="949" y="238"/>
                </a:lnTo>
                <a:lnTo>
                  <a:pt x="942" y="239"/>
                </a:lnTo>
                <a:lnTo>
                  <a:pt x="929" y="240"/>
                </a:lnTo>
                <a:lnTo>
                  <a:pt x="917" y="240"/>
                </a:lnTo>
                <a:lnTo>
                  <a:pt x="911" y="239"/>
                </a:lnTo>
                <a:lnTo>
                  <a:pt x="905" y="238"/>
                </a:lnTo>
                <a:lnTo>
                  <a:pt x="894" y="235"/>
                </a:lnTo>
                <a:lnTo>
                  <a:pt x="888" y="233"/>
                </a:lnTo>
                <a:lnTo>
                  <a:pt x="883" y="231"/>
                </a:lnTo>
                <a:lnTo>
                  <a:pt x="873" y="227"/>
                </a:lnTo>
                <a:lnTo>
                  <a:pt x="863" y="221"/>
                </a:lnTo>
                <a:lnTo>
                  <a:pt x="854" y="214"/>
                </a:lnTo>
                <a:lnTo>
                  <a:pt x="849" y="211"/>
                </a:lnTo>
                <a:lnTo>
                  <a:pt x="845" y="207"/>
                </a:lnTo>
                <a:lnTo>
                  <a:pt x="837" y="199"/>
                </a:lnTo>
                <a:lnTo>
                  <a:pt x="830" y="189"/>
                </a:lnTo>
                <a:lnTo>
                  <a:pt x="825" y="180"/>
                </a:lnTo>
                <a:lnTo>
                  <a:pt x="820" y="169"/>
                </a:lnTo>
                <a:lnTo>
                  <a:pt x="816" y="158"/>
                </a:lnTo>
                <a:lnTo>
                  <a:pt x="814" y="152"/>
                </a:lnTo>
                <a:lnTo>
                  <a:pt x="813" y="146"/>
                </a:lnTo>
                <a:lnTo>
                  <a:pt x="811" y="133"/>
                </a:lnTo>
                <a:lnTo>
                  <a:pt x="811" y="127"/>
                </a:lnTo>
                <a:lnTo>
                  <a:pt x="811" y="120"/>
                </a:lnTo>
                <a:close/>
                <a:moveTo>
                  <a:pt x="1049" y="236"/>
                </a:moveTo>
                <a:lnTo>
                  <a:pt x="1049" y="4"/>
                </a:lnTo>
                <a:lnTo>
                  <a:pt x="1069" y="4"/>
                </a:lnTo>
                <a:lnTo>
                  <a:pt x="1069" y="218"/>
                </a:lnTo>
                <a:lnTo>
                  <a:pt x="1181" y="218"/>
                </a:lnTo>
                <a:lnTo>
                  <a:pt x="1181" y="236"/>
                </a:lnTo>
                <a:lnTo>
                  <a:pt x="1049" y="236"/>
                </a:lnTo>
                <a:close/>
                <a:moveTo>
                  <a:pt x="1220" y="236"/>
                </a:moveTo>
                <a:lnTo>
                  <a:pt x="1220" y="4"/>
                </a:lnTo>
                <a:lnTo>
                  <a:pt x="1240" y="4"/>
                </a:lnTo>
                <a:lnTo>
                  <a:pt x="1240" y="236"/>
                </a:lnTo>
                <a:lnTo>
                  <a:pt x="1220" y="236"/>
                </a:lnTo>
                <a:close/>
                <a:moveTo>
                  <a:pt x="1301" y="236"/>
                </a:moveTo>
                <a:lnTo>
                  <a:pt x="1301" y="4"/>
                </a:lnTo>
                <a:lnTo>
                  <a:pt x="1448" y="4"/>
                </a:lnTo>
                <a:lnTo>
                  <a:pt x="1448" y="22"/>
                </a:lnTo>
                <a:lnTo>
                  <a:pt x="1320" y="22"/>
                </a:lnTo>
                <a:lnTo>
                  <a:pt x="1320" y="108"/>
                </a:lnTo>
                <a:lnTo>
                  <a:pt x="1445" y="108"/>
                </a:lnTo>
                <a:lnTo>
                  <a:pt x="1445" y="126"/>
                </a:lnTo>
                <a:lnTo>
                  <a:pt x="1320" y="126"/>
                </a:lnTo>
                <a:lnTo>
                  <a:pt x="1320" y="218"/>
                </a:lnTo>
                <a:lnTo>
                  <a:pt x="1448" y="218"/>
                </a:lnTo>
                <a:lnTo>
                  <a:pt x="1448" y="236"/>
                </a:lnTo>
                <a:lnTo>
                  <a:pt x="1301" y="236"/>
                </a:lnTo>
                <a:close/>
                <a:moveTo>
                  <a:pt x="1662" y="236"/>
                </a:moveTo>
                <a:lnTo>
                  <a:pt x="1516" y="37"/>
                </a:lnTo>
                <a:lnTo>
                  <a:pt x="1516" y="236"/>
                </a:lnTo>
                <a:lnTo>
                  <a:pt x="1496" y="236"/>
                </a:lnTo>
                <a:lnTo>
                  <a:pt x="1496" y="4"/>
                </a:lnTo>
                <a:lnTo>
                  <a:pt x="1516" y="4"/>
                </a:lnTo>
                <a:lnTo>
                  <a:pt x="1662" y="200"/>
                </a:lnTo>
                <a:lnTo>
                  <a:pt x="1662" y="4"/>
                </a:lnTo>
                <a:lnTo>
                  <a:pt x="1681" y="4"/>
                </a:lnTo>
                <a:lnTo>
                  <a:pt x="1681" y="236"/>
                </a:lnTo>
                <a:lnTo>
                  <a:pt x="1662" y="236"/>
                </a:lnTo>
                <a:close/>
                <a:moveTo>
                  <a:pt x="1798" y="236"/>
                </a:moveTo>
                <a:lnTo>
                  <a:pt x="1798" y="22"/>
                </a:lnTo>
                <a:lnTo>
                  <a:pt x="1722" y="22"/>
                </a:lnTo>
                <a:lnTo>
                  <a:pt x="1722" y="4"/>
                </a:lnTo>
                <a:lnTo>
                  <a:pt x="1893" y="4"/>
                </a:lnTo>
                <a:lnTo>
                  <a:pt x="1893" y="22"/>
                </a:lnTo>
                <a:lnTo>
                  <a:pt x="1818" y="22"/>
                </a:lnTo>
                <a:lnTo>
                  <a:pt x="1818" y="236"/>
                </a:lnTo>
                <a:lnTo>
                  <a:pt x="1798" y="236"/>
                </a:lnTo>
                <a:close/>
                <a:moveTo>
                  <a:pt x="1918" y="203"/>
                </a:moveTo>
                <a:lnTo>
                  <a:pt x="1931" y="188"/>
                </a:lnTo>
                <a:lnTo>
                  <a:pt x="1934" y="191"/>
                </a:lnTo>
                <a:lnTo>
                  <a:pt x="1937" y="195"/>
                </a:lnTo>
                <a:lnTo>
                  <a:pt x="1940" y="198"/>
                </a:lnTo>
                <a:lnTo>
                  <a:pt x="1944" y="201"/>
                </a:lnTo>
                <a:lnTo>
                  <a:pt x="1952" y="206"/>
                </a:lnTo>
                <a:lnTo>
                  <a:pt x="1960" y="212"/>
                </a:lnTo>
                <a:lnTo>
                  <a:pt x="1970" y="216"/>
                </a:lnTo>
                <a:lnTo>
                  <a:pt x="1975" y="218"/>
                </a:lnTo>
                <a:lnTo>
                  <a:pt x="1980" y="219"/>
                </a:lnTo>
                <a:lnTo>
                  <a:pt x="1986" y="220"/>
                </a:lnTo>
                <a:lnTo>
                  <a:pt x="1992" y="221"/>
                </a:lnTo>
                <a:lnTo>
                  <a:pt x="2004" y="222"/>
                </a:lnTo>
                <a:lnTo>
                  <a:pt x="2012" y="222"/>
                </a:lnTo>
                <a:lnTo>
                  <a:pt x="2020" y="221"/>
                </a:lnTo>
                <a:lnTo>
                  <a:pt x="2027" y="219"/>
                </a:lnTo>
                <a:lnTo>
                  <a:pt x="2033" y="218"/>
                </a:lnTo>
                <a:lnTo>
                  <a:pt x="2039" y="215"/>
                </a:lnTo>
                <a:lnTo>
                  <a:pt x="2044" y="213"/>
                </a:lnTo>
                <a:lnTo>
                  <a:pt x="2048" y="210"/>
                </a:lnTo>
                <a:lnTo>
                  <a:pt x="2052" y="206"/>
                </a:lnTo>
                <a:lnTo>
                  <a:pt x="2055" y="203"/>
                </a:lnTo>
                <a:lnTo>
                  <a:pt x="2058" y="199"/>
                </a:lnTo>
                <a:lnTo>
                  <a:pt x="2060" y="195"/>
                </a:lnTo>
                <a:lnTo>
                  <a:pt x="2062" y="191"/>
                </a:lnTo>
                <a:lnTo>
                  <a:pt x="2064" y="183"/>
                </a:lnTo>
                <a:lnTo>
                  <a:pt x="2064" y="176"/>
                </a:lnTo>
                <a:lnTo>
                  <a:pt x="2064" y="170"/>
                </a:lnTo>
                <a:lnTo>
                  <a:pt x="2063" y="164"/>
                </a:lnTo>
                <a:lnTo>
                  <a:pt x="2061" y="159"/>
                </a:lnTo>
                <a:lnTo>
                  <a:pt x="2058" y="155"/>
                </a:lnTo>
                <a:lnTo>
                  <a:pt x="2055" y="151"/>
                </a:lnTo>
                <a:lnTo>
                  <a:pt x="2052" y="147"/>
                </a:lnTo>
                <a:lnTo>
                  <a:pt x="2047" y="144"/>
                </a:lnTo>
                <a:lnTo>
                  <a:pt x="2043" y="141"/>
                </a:lnTo>
                <a:lnTo>
                  <a:pt x="2038" y="138"/>
                </a:lnTo>
                <a:lnTo>
                  <a:pt x="2032" y="136"/>
                </a:lnTo>
                <a:lnTo>
                  <a:pt x="2020" y="131"/>
                </a:lnTo>
                <a:lnTo>
                  <a:pt x="2008" y="127"/>
                </a:lnTo>
                <a:lnTo>
                  <a:pt x="1995" y="124"/>
                </a:lnTo>
                <a:lnTo>
                  <a:pt x="1982" y="120"/>
                </a:lnTo>
                <a:lnTo>
                  <a:pt x="1969" y="116"/>
                </a:lnTo>
                <a:lnTo>
                  <a:pt x="1958" y="111"/>
                </a:lnTo>
                <a:lnTo>
                  <a:pt x="1952" y="108"/>
                </a:lnTo>
                <a:lnTo>
                  <a:pt x="1947" y="104"/>
                </a:lnTo>
                <a:lnTo>
                  <a:pt x="1942" y="101"/>
                </a:lnTo>
                <a:lnTo>
                  <a:pt x="1938" y="97"/>
                </a:lnTo>
                <a:lnTo>
                  <a:pt x="1935" y="92"/>
                </a:lnTo>
                <a:lnTo>
                  <a:pt x="1931" y="87"/>
                </a:lnTo>
                <a:lnTo>
                  <a:pt x="1929" y="82"/>
                </a:lnTo>
                <a:lnTo>
                  <a:pt x="1927" y="76"/>
                </a:lnTo>
                <a:lnTo>
                  <a:pt x="1926" y="69"/>
                </a:lnTo>
                <a:lnTo>
                  <a:pt x="1925" y="62"/>
                </a:lnTo>
                <a:lnTo>
                  <a:pt x="1926" y="55"/>
                </a:lnTo>
                <a:lnTo>
                  <a:pt x="1927" y="49"/>
                </a:lnTo>
                <a:lnTo>
                  <a:pt x="1929" y="42"/>
                </a:lnTo>
                <a:lnTo>
                  <a:pt x="1931" y="36"/>
                </a:lnTo>
                <a:lnTo>
                  <a:pt x="1935" y="31"/>
                </a:lnTo>
                <a:lnTo>
                  <a:pt x="1938" y="26"/>
                </a:lnTo>
                <a:lnTo>
                  <a:pt x="1941" y="24"/>
                </a:lnTo>
                <a:lnTo>
                  <a:pt x="1943" y="21"/>
                </a:lnTo>
                <a:lnTo>
                  <a:pt x="1948" y="17"/>
                </a:lnTo>
                <a:lnTo>
                  <a:pt x="1953" y="13"/>
                </a:lnTo>
                <a:lnTo>
                  <a:pt x="1959" y="10"/>
                </a:lnTo>
                <a:lnTo>
                  <a:pt x="1965" y="7"/>
                </a:lnTo>
                <a:lnTo>
                  <a:pt x="1972" y="5"/>
                </a:lnTo>
                <a:lnTo>
                  <a:pt x="1979" y="3"/>
                </a:lnTo>
                <a:lnTo>
                  <a:pt x="1986" y="1"/>
                </a:lnTo>
                <a:lnTo>
                  <a:pt x="1994" y="1"/>
                </a:lnTo>
                <a:lnTo>
                  <a:pt x="2002" y="0"/>
                </a:lnTo>
                <a:lnTo>
                  <a:pt x="2014" y="1"/>
                </a:lnTo>
                <a:lnTo>
                  <a:pt x="2020" y="2"/>
                </a:lnTo>
                <a:lnTo>
                  <a:pt x="2026" y="2"/>
                </a:lnTo>
                <a:lnTo>
                  <a:pt x="2037" y="5"/>
                </a:lnTo>
                <a:lnTo>
                  <a:pt x="2042" y="7"/>
                </a:lnTo>
                <a:lnTo>
                  <a:pt x="2047" y="9"/>
                </a:lnTo>
                <a:lnTo>
                  <a:pt x="2057" y="14"/>
                </a:lnTo>
                <a:lnTo>
                  <a:pt x="2065" y="19"/>
                </a:lnTo>
                <a:lnTo>
                  <a:pt x="2073" y="26"/>
                </a:lnTo>
                <a:lnTo>
                  <a:pt x="2080" y="33"/>
                </a:lnTo>
                <a:lnTo>
                  <a:pt x="2067" y="48"/>
                </a:lnTo>
                <a:lnTo>
                  <a:pt x="2060" y="41"/>
                </a:lnTo>
                <a:lnTo>
                  <a:pt x="2057" y="37"/>
                </a:lnTo>
                <a:lnTo>
                  <a:pt x="2053" y="34"/>
                </a:lnTo>
                <a:lnTo>
                  <a:pt x="2045" y="29"/>
                </a:lnTo>
                <a:lnTo>
                  <a:pt x="2037" y="25"/>
                </a:lnTo>
                <a:lnTo>
                  <a:pt x="2033" y="24"/>
                </a:lnTo>
                <a:lnTo>
                  <a:pt x="2029" y="22"/>
                </a:lnTo>
                <a:lnTo>
                  <a:pt x="2020" y="20"/>
                </a:lnTo>
                <a:lnTo>
                  <a:pt x="2010" y="19"/>
                </a:lnTo>
                <a:lnTo>
                  <a:pt x="2000" y="18"/>
                </a:lnTo>
                <a:lnTo>
                  <a:pt x="1989" y="19"/>
                </a:lnTo>
                <a:lnTo>
                  <a:pt x="1984" y="20"/>
                </a:lnTo>
                <a:lnTo>
                  <a:pt x="1979" y="22"/>
                </a:lnTo>
                <a:lnTo>
                  <a:pt x="1974" y="23"/>
                </a:lnTo>
                <a:lnTo>
                  <a:pt x="1970" y="25"/>
                </a:lnTo>
                <a:lnTo>
                  <a:pt x="1962" y="30"/>
                </a:lnTo>
                <a:lnTo>
                  <a:pt x="1958" y="33"/>
                </a:lnTo>
                <a:lnTo>
                  <a:pt x="1955" y="37"/>
                </a:lnTo>
                <a:lnTo>
                  <a:pt x="1953" y="40"/>
                </a:lnTo>
                <a:lnTo>
                  <a:pt x="1950" y="44"/>
                </a:lnTo>
                <a:lnTo>
                  <a:pt x="1949" y="48"/>
                </a:lnTo>
                <a:lnTo>
                  <a:pt x="1947" y="52"/>
                </a:lnTo>
                <a:lnTo>
                  <a:pt x="1947" y="56"/>
                </a:lnTo>
                <a:lnTo>
                  <a:pt x="1946" y="61"/>
                </a:lnTo>
                <a:lnTo>
                  <a:pt x="1947" y="66"/>
                </a:lnTo>
                <a:lnTo>
                  <a:pt x="1948" y="71"/>
                </a:lnTo>
                <a:lnTo>
                  <a:pt x="1950" y="76"/>
                </a:lnTo>
                <a:lnTo>
                  <a:pt x="1952" y="79"/>
                </a:lnTo>
                <a:lnTo>
                  <a:pt x="1955" y="83"/>
                </a:lnTo>
                <a:lnTo>
                  <a:pt x="1959" y="86"/>
                </a:lnTo>
                <a:lnTo>
                  <a:pt x="1968" y="92"/>
                </a:lnTo>
                <a:lnTo>
                  <a:pt x="1973" y="94"/>
                </a:lnTo>
                <a:lnTo>
                  <a:pt x="1979" y="96"/>
                </a:lnTo>
                <a:lnTo>
                  <a:pt x="1990" y="100"/>
                </a:lnTo>
                <a:lnTo>
                  <a:pt x="2016" y="108"/>
                </a:lnTo>
                <a:lnTo>
                  <a:pt x="2029" y="112"/>
                </a:lnTo>
                <a:lnTo>
                  <a:pt x="2041" y="116"/>
                </a:lnTo>
                <a:lnTo>
                  <a:pt x="2053" y="122"/>
                </a:lnTo>
                <a:lnTo>
                  <a:pt x="2058" y="125"/>
                </a:lnTo>
                <a:lnTo>
                  <a:pt x="2064" y="129"/>
                </a:lnTo>
                <a:lnTo>
                  <a:pt x="2068" y="133"/>
                </a:lnTo>
                <a:lnTo>
                  <a:pt x="2070" y="135"/>
                </a:lnTo>
                <a:lnTo>
                  <a:pt x="2072" y="137"/>
                </a:lnTo>
                <a:lnTo>
                  <a:pt x="2076" y="142"/>
                </a:lnTo>
                <a:lnTo>
                  <a:pt x="2079" y="147"/>
                </a:lnTo>
                <a:lnTo>
                  <a:pt x="2082" y="153"/>
                </a:lnTo>
                <a:lnTo>
                  <a:pt x="2084" y="160"/>
                </a:lnTo>
                <a:lnTo>
                  <a:pt x="2085" y="167"/>
                </a:lnTo>
                <a:lnTo>
                  <a:pt x="2085" y="174"/>
                </a:lnTo>
                <a:lnTo>
                  <a:pt x="2085" y="180"/>
                </a:lnTo>
                <a:lnTo>
                  <a:pt x="2084" y="186"/>
                </a:lnTo>
                <a:lnTo>
                  <a:pt x="2081" y="197"/>
                </a:lnTo>
                <a:lnTo>
                  <a:pt x="2079" y="203"/>
                </a:lnTo>
                <a:lnTo>
                  <a:pt x="2076" y="208"/>
                </a:lnTo>
                <a:lnTo>
                  <a:pt x="2072" y="214"/>
                </a:lnTo>
                <a:lnTo>
                  <a:pt x="2068" y="218"/>
                </a:lnTo>
                <a:lnTo>
                  <a:pt x="2062" y="223"/>
                </a:lnTo>
                <a:lnTo>
                  <a:pt x="2056" y="227"/>
                </a:lnTo>
                <a:lnTo>
                  <a:pt x="2050" y="231"/>
                </a:lnTo>
                <a:lnTo>
                  <a:pt x="2042" y="234"/>
                </a:lnTo>
                <a:lnTo>
                  <a:pt x="2034" y="237"/>
                </a:lnTo>
                <a:lnTo>
                  <a:pt x="2024" y="238"/>
                </a:lnTo>
                <a:lnTo>
                  <a:pt x="2014" y="240"/>
                </a:lnTo>
                <a:lnTo>
                  <a:pt x="2003" y="240"/>
                </a:lnTo>
                <a:lnTo>
                  <a:pt x="1989" y="239"/>
                </a:lnTo>
                <a:lnTo>
                  <a:pt x="1976" y="237"/>
                </a:lnTo>
                <a:lnTo>
                  <a:pt x="1964" y="234"/>
                </a:lnTo>
                <a:lnTo>
                  <a:pt x="1953" y="230"/>
                </a:lnTo>
                <a:lnTo>
                  <a:pt x="1943" y="224"/>
                </a:lnTo>
                <a:lnTo>
                  <a:pt x="1933" y="218"/>
                </a:lnTo>
                <a:lnTo>
                  <a:pt x="1929" y="215"/>
                </a:lnTo>
                <a:lnTo>
                  <a:pt x="1925" y="211"/>
                </a:lnTo>
                <a:lnTo>
                  <a:pt x="1918" y="203"/>
                </a:lnTo>
                <a:close/>
                <a:moveTo>
                  <a:pt x="2427" y="236"/>
                </a:moveTo>
                <a:lnTo>
                  <a:pt x="2427" y="29"/>
                </a:lnTo>
                <a:lnTo>
                  <a:pt x="2342" y="236"/>
                </a:lnTo>
                <a:lnTo>
                  <a:pt x="2334" y="236"/>
                </a:lnTo>
                <a:lnTo>
                  <a:pt x="2250" y="29"/>
                </a:lnTo>
                <a:lnTo>
                  <a:pt x="2250" y="236"/>
                </a:lnTo>
                <a:lnTo>
                  <a:pt x="2230" y="236"/>
                </a:lnTo>
                <a:lnTo>
                  <a:pt x="2230" y="4"/>
                </a:lnTo>
                <a:lnTo>
                  <a:pt x="2259" y="4"/>
                </a:lnTo>
                <a:lnTo>
                  <a:pt x="2338" y="197"/>
                </a:lnTo>
                <a:lnTo>
                  <a:pt x="2417" y="4"/>
                </a:lnTo>
                <a:lnTo>
                  <a:pt x="2447" y="4"/>
                </a:lnTo>
                <a:lnTo>
                  <a:pt x="2447" y="236"/>
                </a:lnTo>
                <a:lnTo>
                  <a:pt x="2427" y="236"/>
                </a:lnTo>
                <a:close/>
                <a:moveTo>
                  <a:pt x="2676" y="236"/>
                </a:moveTo>
                <a:lnTo>
                  <a:pt x="2653" y="179"/>
                </a:lnTo>
                <a:lnTo>
                  <a:pt x="2530" y="179"/>
                </a:lnTo>
                <a:lnTo>
                  <a:pt x="2507" y="236"/>
                </a:lnTo>
                <a:lnTo>
                  <a:pt x="2484" y="236"/>
                </a:lnTo>
                <a:lnTo>
                  <a:pt x="2580" y="4"/>
                </a:lnTo>
                <a:lnTo>
                  <a:pt x="2604" y="4"/>
                </a:lnTo>
                <a:lnTo>
                  <a:pt x="2699" y="236"/>
                </a:lnTo>
                <a:lnTo>
                  <a:pt x="2676" y="236"/>
                </a:lnTo>
                <a:close/>
                <a:moveTo>
                  <a:pt x="2592" y="25"/>
                </a:moveTo>
                <a:lnTo>
                  <a:pt x="2536" y="161"/>
                </a:lnTo>
                <a:lnTo>
                  <a:pt x="2647" y="161"/>
                </a:lnTo>
                <a:lnTo>
                  <a:pt x="2592" y="25"/>
                </a:lnTo>
                <a:close/>
                <a:moveTo>
                  <a:pt x="2877" y="236"/>
                </a:moveTo>
                <a:lnTo>
                  <a:pt x="2782" y="127"/>
                </a:lnTo>
                <a:lnTo>
                  <a:pt x="2756" y="155"/>
                </a:lnTo>
                <a:lnTo>
                  <a:pt x="2756" y="236"/>
                </a:lnTo>
                <a:lnTo>
                  <a:pt x="2736" y="236"/>
                </a:lnTo>
                <a:lnTo>
                  <a:pt x="2736" y="4"/>
                </a:lnTo>
                <a:lnTo>
                  <a:pt x="2756" y="4"/>
                </a:lnTo>
                <a:lnTo>
                  <a:pt x="2756" y="131"/>
                </a:lnTo>
                <a:lnTo>
                  <a:pt x="2868" y="4"/>
                </a:lnTo>
                <a:lnTo>
                  <a:pt x="2893" y="4"/>
                </a:lnTo>
                <a:lnTo>
                  <a:pt x="2795" y="115"/>
                </a:lnTo>
                <a:lnTo>
                  <a:pt x="2903" y="236"/>
                </a:lnTo>
                <a:lnTo>
                  <a:pt x="2877" y="236"/>
                </a:lnTo>
                <a:close/>
                <a:moveTo>
                  <a:pt x="2941" y="236"/>
                </a:moveTo>
                <a:lnTo>
                  <a:pt x="2941" y="4"/>
                </a:lnTo>
                <a:lnTo>
                  <a:pt x="3088" y="4"/>
                </a:lnTo>
                <a:lnTo>
                  <a:pt x="3088" y="22"/>
                </a:lnTo>
                <a:lnTo>
                  <a:pt x="2961" y="22"/>
                </a:lnTo>
                <a:lnTo>
                  <a:pt x="2961" y="108"/>
                </a:lnTo>
                <a:lnTo>
                  <a:pt x="3085" y="108"/>
                </a:lnTo>
                <a:lnTo>
                  <a:pt x="3085" y="126"/>
                </a:lnTo>
                <a:lnTo>
                  <a:pt x="2961" y="126"/>
                </a:lnTo>
                <a:lnTo>
                  <a:pt x="2961" y="218"/>
                </a:lnTo>
                <a:lnTo>
                  <a:pt x="3088" y="218"/>
                </a:lnTo>
                <a:lnTo>
                  <a:pt x="3088" y="236"/>
                </a:lnTo>
                <a:lnTo>
                  <a:pt x="2941" y="236"/>
                </a:lnTo>
                <a:close/>
                <a:moveTo>
                  <a:pt x="3293" y="236"/>
                </a:moveTo>
                <a:lnTo>
                  <a:pt x="3293" y="22"/>
                </a:lnTo>
                <a:lnTo>
                  <a:pt x="3217" y="22"/>
                </a:lnTo>
                <a:lnTo>
                  <a:pt x="3217" y="4"/>
                </a:lnTo>
                <a:lnTo>
                  <a:pt x="3388" y="4"/>
                </a:lnTo>
                <a:lnTo>
                  <a:pt x="3388" y="22"/>
                </a:lnTo>
                <a:lnTo>
                  <a:pt x="3313" y="22"/>
                </a:lnTo>
                <a:lnTo>
                  <a:pt x="3313" y="236"/>
                </a:lnTo>
                <a:lnTo>
                  <a:pt x="3293" y="236"/>
                </a:lnTo>
                <a:close/>
                <a:moveTo>
                  <a:pt x="3596" y="236"/>
                </a:moveTo>
                <a:lnTo>
                  <a:pt x="3596" y="126"/>
                </a:lnTo>
                <a:lnTo>
                  <a:pt x="3449" y="126"/>
                </a:lnTo>
                <a:lnTo>
                  <a:pt x="3449" y="236"/>
                </a:lnTo>
                <a:lnTo>
                  <a:pt x="3429" y="236"/>
                </a:lnTo>
                <a:lnTo>
                  <a:pt x="3429" y="4"/>
                </a:lnTo>
                <a:lnTo>
                  <a:pt x="3449" y="4"/>
                </a:lnTo>
                <a:lnTo>
                  <a:pt x="3449" y="108"/>
                </a:lnTo>
                <a:lnTo>
                  <a:pt x="3596" y="108"/>
                </a:lnTo>
                <a:lnTo>
                  <a:pt x="3596" y="4"/>
                </a:lnTo>
                <a:lnTo>
                  <a:pt x="3615" y="4"/>
                </a:lnTo>
                <a:lnTo>
                  <a:pt x="3615" y="236"/>
                </a:lnTo>
                <a:lnTo>
                  <a:pt x="3596" y="236"/>
                </a:lnTo>
                <a:close/>
                <a:moveTo>
                  <a:pt x="3677" y="236"/>
                </a:moveTo>
                <a:lnTo>
                  <a:pt x="3677" y="4"/>
                </a:lnTo>
                <a:lnTo>
                  <a:pt x="3824" y="4"/>
                </a:lnTo>
                <a:lnTo>
                  <a:pt x="3824" y="22"/>
                </a:lnTo>
                <a:lnTo>
                  <a:pt x="3697" y="22"/>
                </a:lnTo>
                <a:lnTo>
                  <a:pt x="3697" y="108"/>
                </a:lnTo>
                <a:lnTo>
                  <a:pt x="3822" y="108"/>
                </a:lnTo>
                <a:lnTo>
                  <a:pt x="3822" y="126"/>
                </a:lnTo>
                <a:lnTo>
                  <a:pt x="3697" y="126"/>
                </a:lnTo>
                <a:lnTo>
                  <a:pt x="3697" y="218"/>
                </a:lnTo>
                <a:lnTo>
                  <a:pt x="3824" y="218"/>
                </a:lnTo>
                <a:lnTo>
                  <a:pt x="3824" y="236"/>
                </a:lnTo>
                <a:lnTo>
                  <a:pt x="3677" y="236"/>
                </a:lnTo>
                <a:close/>
                <a:moveTo>
                  <a:pt x="4148" y="236"/>
                </a:moveTo>
                <a:lnTo>
                  <a:pt x="4092" y="37"/>
                </a:lnTo>
                <a:lnTo>
                  <a:pt x="4036" y="236"/>
                </a:lnTo>
                <a:lnTo>
                  <a:pt x="4014" y="236"/>
                </a:lnTo>
                <a:lnTo>
                  <a:pt x="3948" y="4"/>
                </a:lnTo>
                <a:lnTo>
                  <a:pt x="3970" y="4"/>
                </a:lnTo>
                <a:lnTo>
                  <a:pt x="4026" y="208"/>
                </a:lnTo>
                <a:lnTo>
                  <a:pt x="4083" y="4"/>
                </a:lnTo>
                <a:lnTo>
                  <a:pt x="4101" y="4"/>
                </a:lnTo>
                <a:lnTo>
                  <a:pt x="4158" y="208"/>
                </a:lnTo>
                <a:lnTo>
                  <a:pt x="4214" y="4"/>
                </a:lnTo>
                <a:lnTo>
                  <a:pt x="4236" y="4"/>
                </a:lnTo>
                <a:lnTo>
                  <a:pt x="4170" y="236"/>
                </a:lnTo>
                <a:lnTo>
                  <a:pt x="4148" y="236"/>
                </a:lnTo>
                <a:close/>
                <a:moveTo>
                  <a:pt x="4259" y="120"/>
                </a:moveTo>
                <a:lnTo>
                  <a:pt x="4260" y="108"/>
                </a:lnTo>
                <a:lnTo>
                  <a:pt x="4260" y="102"/>
                </a:lnTo>
                <a:lnTo>
                  <a:pt x="4261" y="96"/>
                </a:lnTo>
                <a:lnTo>
                  <a:pt x="4264" y="84"/>
                </a:lnTo>
                <a:lnTo>
                  <a:pt x="4267" y="73"/>
                </a:lnTo>
                <a:lnTo>
                  <a:pt x="4271" y="62"/>
                </a:lnTo>
                <a:lnTo>
                  <a:pt x="4274" y="57"/>
                </a:lnTo>
                <a:lnTo>
                  <a:pt x="4277" y="52"/>
                </a:lnTo>
                <a:lnTo>
                  <a:pt x="4283" y="43"/>
                </a:lnTo>
                <a:lnTo>
                  <a:pt x="4290" y="35"/>
                </a:lnTo>
                <a:lnTo>
                  <a:pt x="4298" y="27"/>
                </a:lnTo>
                <a:lnTo>
                  <a:pt x="4302" y="24"/>
                </a:lnTo>
                <a:lnTo>
                  <a:pt x="4306" y="20"/>
                </a:lnTo>
                <a:lnTo>
                  <a:pt x="4315" y="14"/>
                </a:lnTo>
                <a:lnTo>
                  <a:pt x="4325" y="9"/>
                </a:lnTo>
                <a:lnTo>
                  <a:pt x="4336" y="6"/>
                </a:lnTo>
                <a:lnTo>
                  <a:pt x="4347" y="3"/>
                </a:lnTo>
                <a:lnTo>
                  <a:pt x="4359" y="1"/>
                </a:lnTo>
                <a:lnTo>
                  <a:pt x="4365" y="0"/>
                </a:lnTo>
                <a:lnTo>
                  <a:pt x="4372" y="0"/>
                </a:lnTo>
                <a:lnTo>
                  <a:pt x="4384" y="1"/>
                </a:lnTo>
                <a:lnTo>
                  <a:pt x="4396" y="3"/>
                </a:lnTo>
                <a:lnTo>
                  <a:pt x="4407" y="6"/>
                </a:lnTo>
                <a:lnTo>
                  <a:pt x="4418" y="9"/>
                </a:lnTo>
                <a:lnTo>
                  <a:pt x="4428" y="14"/>
                </a:lnTo>
                <a:lnTo>
                  <a:pt x="4432" y="17"/>
                </a:lnTo>
                <a:lnTo>
                  <a:pt x="4437" y="20"/>
                </a:lnTo>
                <a:lnTo>
                  <a:pt x="4441" y="24"/>
                </a:lnTo>
                <a:lnTo>
                  <a:pt x="4446" y="27"/>
                </a:lnTo>
                <a:lnTo>
                  <a:pt x="4453" y="35"/>
                </a:lnTo>
                <a:lnTo>
                  <a:pt x="4460" y="43"/>
                </a:lnTo>
                <a:lnTo>
                  <a:pt x="4466" y="52"/>
                </a:lnTo>
                <a:lnTo>
                  <a:pt x="4469" y="57"/>
                </a:lnTo>
                <a:lnTo>
                  <a:pt x="4472" y="62"/>
                </a:lnTo>
                <a:lnTo>
                  <a:pt x="4476" y="73"/>
                </a:lnTo>
                <a:lnTo>
                  <a:pt x="4480" y="84"/>
                </a:lnTo>
                <a:lnTo>
                  <a:pt x="4482" y="96"/>
                </a:lnTo>
                <a:lnTo>
                  <a:pt x="4484" y="108"/>
                </a:lnTo>
                <a:lnTo>
                  <a:pt x="4484" y="120"/>
                </a:lnTo>
                <a:lnTo>
                  <a:pt x="4484" y="133"/>
                </a:lnTo>
                <a:lnTo>
                  <a:pt x="4483" y="139"/>
                </a:lnTo>
                <a:lnTo>
                  <a:pt x="4482" y="145"/>
                </a:lnTo>
                <a:lnTo>
                  <a:pt x="4480" y="156"/>
                </a:lnTo>
                <a:lnTo>
                  <a:pt x="4476" y="168"/>
                </a:lnTo>
                <a:lnTo>
                  <a:pt x="4472" y="178"/>
                </a:lnTo>
                <a:lnTo>
                  <a:pt x="4469" y="183"/>
                </a:lnTo>
                <a:lnTo>
                  <a:pt x="4466" y="188"/>
                </a:lnTo>
                <a:lnTo>
                  <a:pt x="4460" y="197"/>
                </a:lnTo>
                <a:lnTo>
                  <a:pt x="4453" y="206"/>
                </a:lnTo>
                <a:lnTo>
                  <a:pt x="4446" y="213"/>
                </a:lnTo>
                <a:lnTo>
                  <a:pt x="4441" y="217"/>
                </a:lnTo>
                <a:lnTo>
                  <a:pt x="4437" y="220"/>
                </a:lnTo>
                <a:lnTo>
                  <a:pt x="4428" y="226"/>
                </a:lnTo>
                <a:lnTo>
                  <a:pt x="4418" y="231"/>
                </a:lnTo>
                <a:lnTo>
                  <a:pt x="4407" y="235"/>
                </a:lnTo>
                <a:lnTo>
                  <a:pt x="4396" y="238"/>
                </a:lnTo>
                <a:lnTo>
                  <a:pt x="4384" y="239"/>
                </a:lnTo>
                <a:lnTo>
                  <a:pt x="4378" y="240"/>
                </a:lnTo>
                <a:lnTo>
                  <a:pt x="4372" y="240"/>
                </a:lnTo>
                <a:lnTo>
                  <a:pt x="4359" y="239"/>
                </a:lnTo>
                <a:lnTo>
                  <a:pt x="4347" y="238"/>
                </a:lnTo>
                <a:lnTo>
                  <a:pt x="4342" y="236"/>
                </a:lnTo>
                <a:lnTo>
                  <a:pt x="4336" y="235"/>
                </a:lnTo>
                <a:lnTo>
                  <a:pt x="4325" y="231"/>
                </a:lnTo>
                <a:lnTo>
                  <a:pt x="4315" y="226"/>
                </a:lnTo>
                <a:lnTo>
                  <a:pt x="4311" y="223"/>
                </a:lnTo>
                <a:lnTo>
                  <a:pt x="4306" y="220"/>
                </a:lnTo>
                <a:lnTo>
                  <a:pt x="4302" y="217"/>
                </a:lnTo>
                <a:lnTo>
                  <a:pt x="4298" y="213"/>
                </a:lnTo>
                <a:lnTo>
                  <a:pt x="4290" y="206"/>
                </a:lnTo>
                <a:lnTo>
                  <a:pt x="4283" y="197"/>
                </a:lnTo>
                <a:lnTo>
                  <a:pt x="4277" y="188"/>
                </a:lnTo>
                <a:lnTo>
                  <a:pt x="4274" y="183"/>
                </a:lnTo>
                <a:lnTo>
                  <a:pt x="4271" y="178"/>
                </a:lnTo>
                <a:lnTo>
                  <a:pt x="4267" y="168"/>
                </a:lnTo>
                <a:lnTo>
                  <a:pt x="4264" y="156"/>
                </a:lnTo>
                <a:lnTo>
                  <a:pt x="4261" y="145"/>
                </a:lnTo>
                <a:lnTo>
                  <a:pt x="4260" y="133"/>
                </a:lnTo>
                <a:lnTo>
                  <a:pt x="4259" y="120"/>
                </a:lnTo>
                <a:close/>
                <a:moveTo>
                  <a:pt x="4463" y="120"/>
                </a:moveTo>
                <a:lnTo>
                  <a:pt x="4463" y="109"/>
                </a:lnTo>
                <a:lnTo>
                  <a:pt x="4462" y="99"/>
                </a:lnTo>
                <a:lnTo>
                  <a:pt x="4460" y="89"/>
                </a:lnTo>
                <a:lnTo>
                  <a:pt x="4457" y="79"/>
                </a:lnTo>
                <a:lnTo>
                  <a:pt x="4453" y="71"/>
                </a:lnTo>
                <a:lnTo>
                  <a:pt x="4449" y="62"/>
                </a:lnTo>
                <a:lnTo>
                  <a:pt x="4444" y="54"/>
                </a:lnTo>
                <a:lnTo>
                  <a:pt x="4438" y="47"/>
                </a:lnTo>
                <a:lnTo>
                  <a:pt x="4432" y="41"/>
                </a:lnTo>
                <a:lnTo>
                  <a:pt x="4425" y="35"/>
                </a:lnTo>
                <a:lnTo>
                  <a:pt x="4418" y="30"/>
                </a:lnTo>
                <a:lnTo>
                  <a:pt x="4409" y="26"/>
                </a:lnTo>
                <a:lnTo>
                  <a:pt x="4401" y="23"/>
                </a:lnTo>
                <a:lnTo>
                  <a:pt x="4392" y="20"/>
                </a:lnTo>
                <a:lnTo>
                  <a:pt x="4382" y="19"/>
                </a:lnTo>
                <a:lnTo>
                  <a:pt x="4372" y="18"/>
                </a:lnTo>
                <a:lnTo>
                  <a:pt x="4361" y="19"/>
                </a:lnTo>
                <a:lnTo>
                  <a:pt x="4352" y="20"/>
                </a:lnTo>
                <a:lnTo>
                  <a:pt x="4342" y="23"/>
                </a:lnTo>
                <a:lnTo>
                  <a:pt x="4334" y="26"/>
                </a:lnTo>
                <a:lnTo>
                  <a:pt x="4330" y="28"/>
                </a:lnTo>
                <a:lnTo>
                  <a:pt x="4326" y="30"/>
                </a:lnTo>
                <a:lnTo>
                  <a:pt x="4318" y="35"/>
                </a:lnTo>
                <a:lnTo>
                  <a:pt x="4311" y="41"/>
                </a:lnTo>
                <a:lnTo>
                  <a:pt x="4305" y="47"/>
                </a:lnTo>
                <a:lnTo>
                  <a:pt x="4299" y="54"/>
                </a:lnTo>
                <a:lnTo>
                  <a:pt x="4294" y="62"/>
                </a:lnTo>
                <a:lnTo>
                  <a:pt x="4290" y="71"/>
                </a:lnTo>
                <a:lnTo>
                  <a:pt x="4286" y="79"/>
                </a:lnTo>
                <a:lnTo>
                  <a:pt x="4284" y="89"/>
                </a:lnTo>
                <a:lnTo>
                  <a:pt x="4282" y="99"/>
                </a:lnTo>
                <a:lnTo>
                  <a:pt x="4280" y="109"/>
                </a:lnTo>
                <a:lnTo>
                  <a:pt x="4280" y="120"/>
                </a:lnTo>
                <a:lnTo>
                  <a:pt x="4280" y="131"/>
                </a:lnTo>
                <a:lnTo>
                  <a:pt x="4282" y="141"/>
                </a:lnTo>
                <a:lnTo>
                  <a:pt x="4284" y="151"/>
                </a:lnTo>
                <a:lnTo>
                  <a:pt x="4286" y="161"/>
                </a:lnTo>
                <a:lnTo>
                  <a:pt x="4290" y="170"/>
                </a:lnTo>
                <a:lnTo>
                  <a:pt x="4294" y="178"/>
                </a:lnTo>
                <a:lnTo>
                  <a:pt x="4299" y="186"/>
                </a:lnTo>
                <a:lnTo>
                  <a:pt x="4305" y="193"/>
                </a:lnTo>
                <a:lnTo>
                  <a:pt x="4311" y="199"/>
                </a:lnTo>
                <a:lnTo>
                  <a:pt x="4318" y="205"/>
                </a:lnTo>
                <a:lnTo>
                  <a:pt x="4326" y="210"/>
                </a:lnTo>
                <a:lnTo>
                  <a:pt x="4334" y="214"/>
                </a:lnTo>
                <a:lnTo>
                  <a:pt x="4342" y="218"/>
                </a:lnTo>
                <a:lnTo>
                  <a:pt x="4352" y="220"/>
                </a:lnTo>
                <a:lnTo>
                  <a:pt x="4361" y="222"/>
                </a:lnTo>
                <a:lnTo>
                  <a:pt x="4372" y="222"/>
                </a:lnTo>
                <a:lnTo>
                  <a:pt x="4382" y="222"/>
                </a:lnTo>
                <a:lnTo>
                  <a:pt x="4392" y="220"/>
                </a:lnTo>
                <a:lnTo>
                  <a:pt x="4401" y="218"/>
                </a:lnTo>
                <a:lnTo>
                  <a:pt x="4409" y="214"/>
                </a:lnTo>
                <a:lnTo>
                  <a:pt x="4418" y="210"/>
                </a:lnTo>
                <a:lnTo>
                  <a:pt x="4425" y="205"/>
                </a:lnTo>
                <a:lnTo>
                  <a:pt x="4432" y="199"/>
                </a:lnTo>
                <a:lnTo>
                  <a:pt x="4438" y="193"/>
                </a:lnTo>
                <a:lnTo>
                  <a:pt x="4444" y="186"/>
                </a:lnTo>
                <a:lnTo>
                  <a:pt x="4449" y="178"/>
                </a:lnTo>
                <a:lnTo>
                  <a:pt x="4453" y="170"/>
                </a:lnTo>
                <a:lnTo>
                  <a:pt x="4457" y="161"/>
                </a:lnTo>
                <a:lnTo>
                  <a:pt x="4460" y="151"/>
                </a:lnTo>
                <a:lnTo>
                  <a:pt x="4462" y="141"/>
                </a:lnTo>
                <a:lnTo>
                  <a:pt x="4463" y="131"/>
                </a:lnTo>
                <a:lnTo>
                  <a:pt x="4463" y="120"/>
                </a:lnTo>
                <a:close/>
                <a:moveTo>
                  <a:pt x="4671" y="236"/>
                </a:moveTo>
                <a:lnTo>
                  <a:pt x="4606" y="140"/>
                </a:lnTo>
                <a:lnTo>
                  <a:pt x="4555" y="140"/>
                </a:lnTo>
                <a:lnTo>
                  <a:pt x="4555" y="236"/>
                </a:lnTo>
                <a:lnTo>
                  <a:pt x="4535" y="236"/>
                </a:lnTo>
                <a:lnTo>
                  <a:pt x="4535" y="4"/>
                </a:lnTo>
                <a:lnTo>
                  <a:pt x="4622" y="4"/>
                </a:lnTo>
                <a:lnTo>
                  <a:pt x="4629" y="4"/>
                </a:lnTo>
                <a:lnTo>
                  <a:pt x="4636" y="5"/>
                </a:lnTo>
                <a:lnTo>
                  <a:pt x="4643" y="7"/>
                </a:lnTo>
                <a:lnTo>
                  <a:pt x="4649" y="9"/>
                </a:lnTo>
                <a:lnTo>
                  <a:pt x="4656" y="11"/>
                </a:lnTo>
                <a:lnTo>
                  <a:pt x="4661" y="14"/>
                </a:lnTo>
                <a:lnTo>
                  <a:pt x="4667" y="18"/>
                </a:lnTo>
                <a:lnTo>
                  <a:pt x="4672" y="22"/>
                </a:lnTo>
                <a:lnTo>
                  <a:pt x="4676" y="27"/>
                </a:lnTo>
                <a:lnTo>
                  <a:pt x="4680" y="32"/>
                </a:lnTo>
                <a:lnTo>
                  <a:pt x="4684" y="37"/>
                </a:lnTo>
                <a:lnTo>
                  <a:pt x="4687" y="43"/>
                </a:lnTo>
                <a:lnTo>
                  <a:pt x="4689" y="50"/>
                </a:lnTo>
                <a:lnTo>
                  <a:pt x="4691" y="57"/>
                </a:lnTo>
                <a:lnTo>
                  <a:pt x="4692" y="64"/>
                </a:lnTo>
                <a:lnTo>
                  <a:pt x="4692" y="72"/>
                </a:lnTo>
                <a:lnTo>
                  <a:pt x="4692" y="80"/>
                </a:lnTo>
                <a:lnTo>
                  <a:pt x="4691" y="87"/>
                </a:lnTo>
                <a:lnTo>
                  <a:pt x="4689" y="94"/>
                </a:lnTo>
                <a:lnTo>
                  <a:pt x="4687" y="100"/>
                </a:lnTo>
                <a:lnTo>
                  <a:pt x="4684" y="106"/>
                </a:lnTo>
                <a:lnTo>
                  <a:pt x="4681" y="111"/>
                </a:lnTo>
                <a:lnTo>
                  <a:pt x="4677" y="116"/>
                </a:lnTo>
                <a:lnTo>
                  <a:pt x="4673" y="120"/>
                </a:lnTo>
                <a:lnTo>
                  <a:pt x="4668" y="124"/>
                </a:lnTo>
                <a:lnTo>
                  <a:pt x="4663" y="128"/>
                </a:lnTo>
                <a:lnTo>
                  <a:pt x="4658" y="131"/>
                </a:lnTo>
                <a:lnTo>
                  <a:pt x="4652" y="133"/>
                </a:lnTo>
                <a:lnTo>
                  <a:pt x="4647" y="136"/>
                </a:lnTo>
                <a:lnTo>
                  <a:pt x="4641" y="137"/>
                </a:lnTo>
                <a:lnTo>
                  <a:pt x="4628" y="139"/>
                </a:lnTo>
                <a:lnTo>
                  <a:pt x="4695" y="236"/>
                </a:lnTo>
                <a:lnTo>
                  <a:pt x="4671" y="236"/>
                </a:lnTo>
                <a:close/>
                <a:moveTo>
                  <a:pt x="4671" y="72"/>
                </a:moveTo>
                <a:lnTo>
                  <a:pt x="4671" y="67"/>
                </a:lnTo>
                <a:lnTo>
                  <a:pt x="4670" y="61"/>
                </a:lnTo>
                <a:lnTo>
                  <a:pt x="4669" y="56"/>
                </a:lnTo>
                <a:lnTo>
                  <a:pt x="4668" y="52"/>
                </a:lnTo>
                <a:lnTo>
                  <a:pt x="4666" y="47"/>
                </a:lnTo>
                <a:lnTo>
                  <a:pt x="4663" y="43"/>
                </a:lnTo>
                <a:lnTo>
                  <a:pt x="4660" y="40"/>
                </a:lnTo>
                <a:lnTo>
                  <a:pt x="4657" y="36"/>
                </a:lnTo>
                <a:lnTo>
                  <a:pt x="4654" y="33"/>
                </a:lnTo>
                <a:lnTo>
                  <a:pt x="4650" y="30"/>
                </a:lnTo>
                <a:lnTo>
                  <a:pt x="4645" y="28"/>
                </a:lnTo>
                <a:lnTo>
                  <a:pt x="4641" y="26"/>
                </a:lnTo>
                <a:lnTo>
                  <a:pt x="4636" y="24"/>
                </a:lnTo>
                <a:lnTo>
                  <a:pt x="4631" y="23"/>
                </a:lnTo>
                <a:lnTo>
                  <a:pt x="4625" y="22"/>
                </a:lnTo>
                <a:lnTo>
                  <a:pt x="4620" y="22"/>
                </a:lnTo>
                <a:lnTo>
                  <a:pt x="4555" y="22"/>
                </a:lnTo>
                <a:lnTo>
                  <a:pt x="4555" y="122"/>
                </a:lnTo>
                <a:lnTo>
                  <a:pt x="4620" y="122"/>
                </a:lnTo>
                <a:lnTo>
                  <a:pt x="4625" y="122"/>
                </a:lnTo>
                <a:lnTo>
                  <a:pt x="4631" y="121"/>
                </a:lnTo>
                <a:lnTo>
                  <a:pt x="4636" y="120"/>
                </a:lnTo>
                <a:lnTo>
                  <a:pt x="4641" y="118"/>
                </a:lnTo>
                <a:lnTo>
                  <a:pt x="4645" y="116"/>
                </a:lnTo>
                <a:lnTo>
                  <a:pt x="4650" y="114"/>
                </a:lnTo>
                <a:lnTo>
                  <a:pt x="4654" y="111"/>
                </a:lnTo>
                <a:lnTo>
                  <a:pt x="4657" y="108"/>
                </a:lnTo>
                <a:lnTo>
                  <a:pt x="4660" y="104"/>
                </a:lnTo>
                <a:lnTo>
                  <a:pt x="4663" y="101"/>
                </a:lnTo>
                <a:lnTo>
                  <a:pt x="4666" y="96"/>
                </a:lnTo>
                <a:lnTo>
                  <a:pt x="4668" y="92"/>
                </a:lnTo>
                <a:lnTo>
                  <a:pt x="4668" y="90"/>
                </a:lnTo>
                <a:lnTo>
                  <a:pt x="4669" y="87"/>
                </a:lnTo>
                <a:lnTo>
                  <a:pt x="4670" y="82"/>
                </a:lnTo>
                <a:lnTo>
                  <a:pt x="4671" y="77"/>
                </a:lnTo>
                <a:lnTo>
                  <a:pt x="4671" y="72"/>
                </a:lnTo>
                <a:close/>
                <a:moveTo>
                  <a:pt x="4738" y="236"/>
                </a:moveTo>
                <a:lnTo>
                  <a:pt x="4738" y="4"/>
                </a:lnTo>
                <a:lnTo>
                  <a:pt x="4758" y="4"/>
                </a:lnTo>
                <a:lnTo>
                  <a:pt x="4758" y="218"/>
                </a:lnTo>
                <a:lnTo>
                  <a:pt x="4870" y="218"/>
                </a:lnTo>
                <a:lnTo>
                  <a:pt x="4870" y="236"/>
                </a:lnTo>
                <a:lnTo>
                  <a:pt x="4738" y="236"/>
                </a:lnTo>
                <a:close/>
                <a:moveTo>
                  <a:pt x="4909" y="236"/>
                </a:moveTo>
                <a:lnTo>
                  <a:pt x="4909" y="4"/>
                </a:lnTo>
                <a:lnTo>
                  <a:pt x="4983" y="4"/>
                </a:lnTo>
                <a:lnTo>
                  <a:pt x="4996" y="5"/>
                </a:lnTo>
                <a:lnTo>
                  <a:pt x="5009" y="6"/>
                </a:lnTo>
                <a:lnTo>
                  <a:pt x="5015" y="8"/>
                </a:lnTo>
                <a:lnTo>
                  <a:pt x="5021" y="9"/>
                </a:lnTo>
                <a:lnTo>
                  <a:pt x="5032" y="13"/>
                </a:lnTo>
                <a:lnTo>
                  <a:pt x="5037" y="16"/>
                </a:lnTo>
                <a:lnTo>
                  <a:pt x="5042" y="18"/>
                </a:lnTo>
                <a:lnTo>
                  <a:pt x="5052" y="24"/>
                </a:lnTo>
                <a:lnTo>
                  <a:pt x="5056" y="27"/>
                </a:lnTo>
                <a:lnTo>
                  <a:pt x="5061" y="31"/>
                </a:lnTo>
                <a:lnTo>
                  <a:pt x="5069" y="38"/>
                </a:lnTo>
                <a:lnTo>
                  <a:pt x="5076" y="47"/>
                </a:lnTo>
                <a:lnTo>
                  <a:pt x="5079" y="51"/>
                </a:lnTo>
                <a:lnTo>
                  <a:pt x="5082" y="56"/>
                </a:lnTo>
                <a:lnTo>
                  <a:pt x="5088" y="65"/>
                </a:lnTo>
                <a:lnTo>
                  <a:pt x="5090" y="70"/>
                </a:lnTo>
                <a:lnTo>
                  <a:pt x="5092" y="75"/>
                </a:lnTo>
                <a:lnTo>
                  <a:pt x="5096" y="86"/>
                </a:lnTo>
                <a:lnTo>
                  <a:pt x="5098" y="97"/>
                </a:lnTo>
                <a:lnTo>
                  <a:pt x="5099" y="103"/>
                </a:lnTo>
                <a:lnTo>
                  <a:pt x="5100" y="108"/>
                </a:lnTo>
                <a:lnTo>
                  <a:pt x="5100" y="120"/>
                </a:lnTo>
                <a:lnTo>
                  <a:pt x="5100" y="132"/>
                </a:lnTo>
                <a:lnTo>
                  <a:pt x="5099" y="138"/>
                </a:lnTo>
                <a:lnTo>
                  <a:pt x="5098" y="144"/>
                </a:lnTo>
                <a:lnTo>
                  <a:pt x="5096" y="155"/>
                </a:lnTo>
                <a:lnTo>
                  <a:pt x="5092" y="165"/>
                </a:lnTo>
                <a:lnTo>
                  <a:pt x="5090" y="171"/>
                </a:lnTo>
                <a:lnTo>
                  <a:pt x="5088" y="176"/>
                </a:lnTo>
                <a:lnTo>
                  <a:pt x="5082" y="185"/>
                </a:lnTo>
                <a:lnTo>
                  <a:pt x="5076" y="194"/>
                </a:lnTo>
                <a:lnTo>
                  <a:pt x="5069" y="202"/>
                </a:lnTo>
                <a:lnTo>
                  <a:pt x="5061" y="210"/>
                </a:lnTo>
                <a:lnTo>
                  <a:pt x="5052" y="216"/>
                </a:lnTo>
                <a:lnTo>
                  <a:pt x="5042" y="222"/>
                </a:lnTo>
                <a:lnTo>
                  <a:pt x="5037" y="225"/>
                </a:lnTo>
                <a:lnTo>
                  <a:pt x="5032" y="227"/>
                </a:lnTo>
                <a:lnTo>
                  <a:pt x="5026" y="229"/>
                </a:lnTo>
                <a:lnTo>
                  <a:pt x="5021" y="231"/>
                </a:lnTo>
                <a:lnTo>
                  <a:pt x="5009" y="234"/>
                </a:lnTo>
                <a:lnTo>
                  <a:pt x="4996" y="235"/>
                </a:lnTo>
                <a:lnTo>
                  <a:pt x="4990" y="236"/>
                </a:lnTo>
                <a:lnTo>
                  <a:pt x="4983" y="236"/>
                </a:lnTo>
                <a:lnTo>
                  <a:pt x="4909" y="236"/>
                </a:lnTo>
                <a:close/>
                <a:moveTo>
                  <a:pt x="5080" y="120"/>
                </a:moveTo>
                <a:lnTo>
                  <a:pt x="5079" y="110"/>
                </a:lnTo>
                <a:lnTo>
                  <a:pt x="5078" y="100"/>
                </a:lnTo>
                <a:lnTo>
                  <a:pt x="5076" y="91"/>
                </a:lnTo>
                <a:lnTo>
                  <a:pt x="5073" y="82"/>
                </a:lnTo>
                <a:lnTo>
                  <a:pt x="5070" y="73"/>
                </a:lnTo>
                <a:lnTo>
                  <a:pt x="5065" y="65"/>
                </a:lnTo>
                <a:lnTo>
                  <a:pt x="5060" y="58"/>
                </a:lnTo>
                <a:lnTo>
                  <a:pt x="5054" y="51"/>
                </a:lnTo>
                <a:lnTo>
                  <a:pt x="5048" y="45"/>
                </a:lnTo>
                <a:lnTo>
                  <a:pt x="5041" y="39"/>
                </a:lnTo>
                <a:lnTo>
                  <a:pt x="5033" y="34"/>
                </a:lnTo>
                <a:lnTo>
                  <a:pt x="5029" y="32"/>
                </a:lnTo>
                <a:lnTo>
                  <a:pt x="5024" y="30"/>
                </a:lnTo>
                <a:lnTo>
                  <a:pt x="5015" y="27"/>
                </a:lnTo>
                <a:lnTo>
                  <a:pt x="5005" y="24"/>
                </a:lnTo>
                <a:lnTo>
                  <a:pt x="4995" y="23"/>
                </a:lnTo>
                <a:lnTo>
                  <a:pt x="4983" y="22"/>
                </a:lnTo>
                <a:lnTo>
                  <a:pt x="4929" y="22"/>
                </a:lnTo>
                <a:lnTo>
                  <a:pt x="4929" y="218"/>
                </a:lnTo>
                <a:lnTo>
                  <a:pt x="4983" y="218"/>
                </a:lnTo>
                <a:lnTo>
                  <a:pt x="4994" y="217"/>
                </a:lnTo>
                <a:lnTo>
                  <a:pt x="5000" y="217"/>
                </a:lnTo>
                <a:lnTo>
                  <a:pt x="5005" y="216"/>
                </a:lnTo>
                <a:lnTo>
                  <a:pt x="5015" y="213"/>
                </a:lnTo>
                <a:lnTo>
                  <a:pt x="5024" y="210"/>
                </a:lnTo>
                <a:lnTo>
                  <a:pt x="5033" y="206"/>
                </a:lnTo>
                <a:lnTo>
                  <a:pt x="5041" y="201"/>
                </a:lnTo>
                <a:lnTo>
                  <a:pt x="5048" y="196"/>
                </a:lnTo>
                <a:lnTo>
                  <a:pt x="5054" y="189"/>
                </a:lnTo>
                <a:lnTo>
                  <a:pt x="5060" y="182"/>
                </a:lnTo>
                <a:lnTo>
                  <a:pt x="5065" y="175"/>
                </a:lnTo>
                <a:lnTo>
                  <a:pt x="5070" y="167"/>
                </a:lnTo>
                <a:lnTo>
                  <a:pt x="5073" y="158"/>
                </a:lnTo>
                <a:lnTo>
                  <a:pt x="5076" y="149"/>
                </a:lnTo>
                <a:lnTo>
                  <a:pt x="5078" y="140"/>
                </a:lnTo>
                <a:lnTo>
                  <a:pt x="5079" y="130"/>
                </a:lnTo>
                <a:lnTo>
                  <a:pt x="5080" y="120"/>
                </a:lnTo>
                <a:close/>
                <a:moveTo>
                  <a:pt x="829" y="538"/>
                </a:moveTo>
                <a:lnTo>
                  <a:pt x="830" y="525"/>
                </a:lnTo>
                <a:lnTo>
                  <a:pt x="832" y="513"/>
                </a:lnTo>
                <a:lnTo>
                  <a:pt x="835" y="501"/>
                </a:lnTo>
                <a:lnTo>
                  <a:pt x="838" y="489"/>
                </a:lnTo>
                <a:lnTo>
                  <a:pt x="841" y="484"/>
                </a:lnTo>
                <a:lnTo>
                  <a:pt x="843" y="479"/>
                </a:lnTo>
                <a:lnTo>
                  <a:pt x="849" y="469"/>
                </a:lnTo>
                <a:lnTo>
                  <a:pt x="853" y="464"/>
                </a:lnTo>
                <a:lnTo>
                  <a:pt x="857" y="460"/>
                </a:lnTo>
                <a:lnTo>
                  <a:pt x="864" y="452"/>
                </a:lnTo>
                <a:lnTo>
                  <a:pt x="873" y="444"/>
                </a:lnTo>
                <a:lnTo>
                  <a:pt x="882" y="437"/>
                </a:lnTo>
                <a:lnTo>
                  <a:pt x="891" y="432"/>
                </a:lnTo>
                <a:lnTo>
                  <a:pt x="902" y="427"/>
                </a:lnTo>
                <a:lnTo>
                  <a:pt x="913" y="423"/>
                </a:lnTo>
                <a:lnTo>
                  <a:pt x="924" y="421"/>
                </a:lnTo>
                <a:lnTo>
                  <a:pt x="936" y="419"/>
                </a:lnTo>
                <a:lnTo>
                  <a:pt x="948" y="418"/>
                </a:lnTo>
                <a:lnTo>
                  <a:pt x="961" y="419"/>
                </a:lnTo>
                <a:lnTo>
                  <a:pt x="968" y="420"/>
                </a:lnTo>
                <a:lnTo>
                  <a:pt x="974" y="421"/>
                </a:lnTo>
                <a:lnTo>
                  <a:pt x="986" y="425"/>
                </a:lnTo>
                <a:lnTo>
                  <a:pt x="997" y="430"/>
                </a:lnTo>
                <a:lnTo>
                  <a:pt x="1002" y="432"/>
                </a:lnTo>
                <a:lnTo>
                  <a:pt x="1007" y="436"/>
                </a:lnTo>
                <a:lnTo>
                  <a:pt x="1016" y="443"/>
                </a:lnTo>
                <a:lnTo>
                  <a:pt x="1025" y="450"/>
                </a:lnTo>
                <a:lnTo>
                  <a:pt x="1032" y="459"/>
                </a:lnTo>
                <a:lnTo>
                  <a:pt x="1016" y="470"/>
                </a:lnTo>
                <a:lnTo>
                  <a:pt x="1013" y="466"/>
                </a:lnTo>
                <a:lnTo>
                  <a:pt x="1010" y="463"/>
                </a:lnTo>
                <a:lnTo>
                  <a:pt x="1003" y="456"/>
                </a:lnTo>
                <a:lnTo>
                  <a:pt x="995" y="451"/>
                </a:lnTo>
                <a:lnTo>
                  <a:pt x="987" y="446"/>
                </a:lnTo>
                <a:lnTo>
                  <a:pt x="978" y="442"/>
                </a:lnTo>
                <a:lnTo>
                  <a:pt x="973" y="440"/>
                </a:lnTo>
                <a:lnTo>
                  <a:pt x="968" y="439"/>
                </a:lnTo>
                <a:lnTo>
                  <a:pt x="963" y="438"/>
                </a:lnTo>
                <a:lnTo>
                  <a:pt x="958" y="437"/>
                </a:lnTo>
                <a:lnTo>
                  <a:pt x="953" y="437"/>
                </a:lnTo>
                <a:lnTo>
                  <a:pt x="948" y="436"/>
                </a:lnTo>
                <a:lnTo>
                  <a:pt x="938" y="437"/>
                </a:lnTo>
                <a:lnTo>
                  <a:pt x="928" y="438"/>
                </a:lnTo>
                <a:lnTo>
                  <a:pt x="923" y="439"/>
                </a:lnTo>
                <a:lnTo>
                  <a:pt x="919" y="441"/>
                </a:lnTo>
                <a:lnTo>
                  <a:pt x="910" y="444"/>
                </a:lnTo>
                <a:lnTo>
                  <a:pt x="901" y="448"/>
                </a:lnTo>
                <a:lnTo>
                  <a:pt x="893" y="453"/>
                </a:lnTo>
                <a:lnTo>
                  <a:pt x="886" y="458"/>
                </a:lnTo>
                <a:lnTo>
                  <a:pt x="883" y="461"/>
                </a:lnTo>
                <a:lnTo>
                  <a:pt x="879" y="465"/>
                </a:lnTo>
                <a:lnTo>
                  <a:pt x="873" y="472"/>
                </a:lnTo>
                <a:lnTo>
                  <a:pt x="867" y="479"/>
                </a:lnTo>
                <a:lnTo>
                  <a:pt x="863" y="488"/>
                </a:lnTo>
                <a:lnTo>
                  <a:pt x="859" y="497"/>
                </a:lnTo>
                <a:lnTo>
                  <a:pt x="855" y="506"/>
                </a:lnTo>
                <a:lnTo>
                  <a:pt x="853" y="516"/>
                </a:lnTo>
                <a:lnTo>
                  <a:pt x="852" y="527"/>
                </a:lnTo>
                <a:lnTo>
                  <a:pt x="851" y="538"/>
                </a:lnTo>
                <a:lnTo>
                  <a:pt x="852" y="549"/>
                </a:lnTo>
                <a:lnTo>
                  <a:pt x="853" y="560"/>
                </a:lnTo>
                <a:lnTo>
                  <a:pt x="855" y="570"/>
                </a:lnTo>
                <a:lnTo>
                  <a:pt x="859" y="579"/>
                </a:lnTo>
                <a:lnTo>
                  <a:pt x="863" y="588"/>
                </a:lnTo>
                <a:lnTo>
                  <a:pt x="867" y="597"/>
                </a:lnTo>
                <a:lnTo>
                  <a:pt x="873" y="604"/>
                </a:lnTo>
                <a:lnTo>
                  <a:pt x="879" y="612"/>
                </a:lnTo>
                <a:lnTo>
                  <a:pt x="886" y="618"/>
                </a:lnTo>
                <a:lnTo>
                  <a:pt x="890" y="621"/>
                </a:lnTo>
                <a:lnTo>
                  <a:pt x="893" y="624"/>
                </a:lnTo>
                <a:lnTo>
                  <a:pt x="901" y="628"/>
                </a:lnTo>
                <a:lnTo>
                  <a:pt x="910" y="633"/>
                </a:lnTo>
                <a:lnTo>
                  <a:pt x="919" y="636"/>
                </a:lnTo>
                <a:lnTo>
                  <a:pt x="928" y="638"/>
                </a:lnTo>
                <a:lnTo>
                  <a:pt x="938" y="640"/>
                </a:lnTo>
                <a:lnTo>
                  <a:pt x="948" y="640"/>
                </a:lnTo>
                <a:lnTo>
                  <a:pt x="958" y="639"/>
                </a:lnTo>
                <a:lnTo>
                  <a:pt x="968" y="638"/>
                </a:lnTo>
                <a:lnTo>
                  <a:pt x="973" y="636"/>
                </a:lnTo>
                <a:lnTo>
                  <a:pt x="978" y="635"/>
                </a:lnTo>
                <a:lnTo>
                  <a:pt x="987" y="631"/>
                </a:lnTo>
                <a:lnTo>
                  <a:pt x="991" y="628"/>
                </a:lnTo>
                <a:lnTo>
                  <a:pt x="995" y="626"/>
                </a:lnTo>
                <a:lnTo>
                  <a:pt x="1003" y="620"/>
                </a:lnTo>
                <a:lnTo>
                  <a:pt x="1010" y="614"/>
                </a:lnTo>
                <a:lnTo>
                  <a:pt x="1013" y="610"/>
                </a:lnTo>
                <a:lnTo>
                  <a:pt x="1016" y="606"/>
                </a:lnTo>
                <a:lnTo>
                  <a:pt x="1033" y="617"/>
                </a:lnTo>
                <a:lnTo>
                  <a:pt x="1029" y="621"/>
                </a:lnTo>
                <a:lnTo>
                  <a:pt x="1024" y="626"/>
                </a:lnTo>
                <a:lnTo>
                  <a:pt x="1016" y="634"/>
                </a:lnTo>
                <a:lnTo>
                  <a:pt x="1011" y="638"/>
                </a:lnTo>
                <a:lnTo>
                  <a:pt x="1006" y="641"/>
                </a:lnTo>
                <a:lnTo>
                  <a:pt x="996" y="647"/>
                </a:lnTo>
                <a:lnTo>
                  <a:pt x="991" y="649"/>
                </a:lnTo>
                <a:lnTo>
                  <a:pt x="985" y="652"/>
                </a:lnTo>
                <a:lnTo>
                  <a:pt x="980" y="654"/>
                </a:lnTo>
                <a:lnTo>
                  <a:pt x="974" y="655"/>
                </a:lnTo>
                <a:lnTo>
                  <a:pt x="968" y="656"/>
                </a:lnTo>
                <a:lnTo>
                  <a:pt x="961" y="657"/>
                </a:lnTo>
                <a:lnTo>
                  <a:pt x="948" y="658"/>
                </a:lnTo>
                <a:lnTo>
                  <a:pt x="936" y="658"/>
                </a:lnTo>
                <a:lnTo>
                  <a:pt x="930" y="657"/>
                </a:lnTo>
                <a:lnTo>
                  <a:pt x="924" y="656"/>
                </a:lnTo>
                <a:lnTo>
                  <a:pt x="913" y="653"/>
                </a:lnTo>
                <a:lnTo>
                  <a:pt x="907" y="651"/>
                </a:lnTo>
                <a:lnTo>
                  <a:pt x="902" y="649"/>
                </a:lnTo>
                <a:lnTo>
                  <a:pt x="891" y="645"/>
                </a:lnTo>
                <a:lnTo>
                  <a:pt x="882" y="639"/>
                </a:lnTo>
                <a:lnTo>
                  <a:pt x="873" y="632"/>
                </a:lnTo>
                <a:lnTo>
                  <a:pt x="869" y="629"/>
                </a:lnTo>
                <a:lnTo>
                  <a:pt x="864" y="625"/>
                </a:lnTo>
                <a:lnTo>
                  <a:pt x="857" y="617"/>
                </a:lnTo>
                <a:lnTo>
                  <a:pt x="849" y="607"/>
                </a:lnTo>
                <a:lnTo>
                  <a:pt x="843" y="598"/>
                </a:lnTo>
                <a:lnTo>
                  <a:pt x="838" y="587"/>
                </a:lnTo>
                <a:lnTo>
                  <a:pt x="835" y="576"/>
                </a:lnTo>
                <a:lnTo>
                  <a:pt x="833" y="570"/>
                </a:lnTo>
                <a:lnTo>
                  <a:pt x="832" y="564"/>
                </a:lnTo>
                <a:lnTo>
                  <a:pt x="830" y="551"/>
                </a:lnTo>
                <a:lnTo>
                  <a:pt x="830" y="545"/>
                </a:lnTo>
                <a:lnTo>
                  <a:pt x="829" y="538"/>
                </a:lnTo>
                <a:close/>
                <a:moveTo>
                  <a:pt x="1068" y="654"/>
                </a:moveTo>
                <a:lnTo>
                  <a:pt x="1068" y="422"/>
                </a:lnTo>
                <a:lnTo>
                  <a:pt x="1088" y="422"/>
                </a:lnTo>
                <a:lnTo>
                  <a:pt x="1088" y="636"/>
                </a:lnTo>
                <a:lnTo>
                  <a:pt x="1200" y="636"/>
                </a:lnTo>
                <a:lnTo>
                  <a:pt x="1200" y="654"/>
                </a:lnTo>
                <a:lnTo>
                  <a:pt x="1068" y="654"/>
                </a:lnTo>
                <a:close/>
                <a:moveTo>
                  <a:pt x="1239" y="654"/>
                </a:moveTo>
                <a:lnTo>
                  <a:pt x="1239" y="422"/>
                </a:lnTo>
                <a:lnTo>
                  <a:pt x="1386" y="422"/>
                </a:lnTo>
                <a:lnTo>
                  <a:pt x="1386" y="440"/>
                </a:lnTo>
                <a:lnTo>
                  <a:pt x="1259" y="440"/>
                </a:lnTo>
                <a:lnTo>
                  <a:pt x="1259" y="526"/>
                </a:lnTo>
                <a:lnTo>
                  <a:pt x="1384" y="526"/>
                </a:lnTo>
                <a:lnTo>
                  <a:pt x="1384" y="544"/>
                </a:lnTo>
                <a:lnTo>
                  <a:pt x="1259" y="544"/>
                </a:lnTo>
                <a:lnTo>
                  <a:pt x="1259" y="636"/>
                </a:lnTo>
                <a:lnTo>
                  <a:pt x="1386" y="636"/>
                </a:lnTo>
                <a:lnTo>
                  <a:pt x="1386" y="654"/>
                </a:lnTo>
                <a:lnTo>
                  <a:pt x="1239" y="654"/>
                </a:lnTo>
                <a:close/>
                <a:moveTo>
                  <a:pt x="1610" y="654"/>
                </a:moveTo>
                <a:lnTo>
                  <a:pt x="1587" y="597"/>
                </a:lnTo>
                <a:lnTo>
                  <a:pt x="1465" y="597"/>
                </a:lnTo>
                <a:lnTo>
                  <a:pt x="1442" y="654"/>
                </a:lnTo>
                <a:lnTo>
                  <a:pt x="1419" y="654"/>
                </a:lnTo>
                <a:lnTo>
                  <a:pt x="1514" y="422"/>
                </a:lnTo>
                <a:lnTo>
                  <a:pt x="1538" y="422"/>
                </a:lnTo>
                <a:lnTo>
                  <a:pt x="1633" y="654"/>
                </a:lnTo>
                <a:lnTo>
                  <a:pt x="1610" y="654"/>
                </a:lnTo>
                <a:close/>
                <a:moveTo>
                  <a:pt x="1526" y="443"/>
                </a:moveTo>
                <a:lnTo>
                  <a:pt x="1471" y="579"/>
                </a:lnTo>
                <a:lnTo>
                  <a:pt x="1581" y="579"/>
                </a:lnTo>
                <a:lnTo>
                  <a:pt x="1526" y="443"/>
                </a:lnTo>
                <a:close/>
                <a:moveTo>
                  <a:pt x="1836" y="654"/>
                </a:moveTo>
                <a:lnTo>
                  <a:pt x="1690" y="455"/>
                </a:lnTo>
                <a:lnTo>
                  <a:pt x="1690" y="654"/>
                </a:lnTo>
                <a:lnTo>
                  <a:pt x="1670" y="654"/>
                </a:lnTo>
                <a:lnTo>
                  <a:pt x="1670" y="422"/>
                </a:lnTo>
                <a:lnTo>
                  <a:pt x="1690" y="422"/>
                </a:lnTo>
                <a:lnTo>
                  <a:pt x="1835" y="619"/>
                </a:lnTo>
                <a:lnTo>
                  <a:pt x="1835" y="422"/>
                </a:lnTo>
                <a:lnTo>
                  <a:pt x="1855" y="422"/>
                </a:lnTo>
                <a:lnTo>
                  <a:pt x="1855" y="654"/>
                </a:lnTo>
                <a:lnTo>
                  <a:pt x="1836" y="654"/>
                </a:lnTo>
                <a:close/>
                <a:moveTo>
                  <a:pt x="1917" y="654"/>
                </a:moveTo>
                <a:lnTo>
                  <a:pt x="1917" y="422"/>
                </a:lnTo>
                <a:lnTo>
                  <a:pt x="2064" y="422"/>
                </a:lnTo>
                <a:lnTo>
                  <a:pt x="2064" y="440"/>
                </a:lnTo>
                <a:lnTo>
                  <a:pt x="1937" y="440"/>
                </a:lnTo>
                <a:lnTo>
                  <a:pt x="1937" y="526"/>
                </a:lnTo>
                <a:lnTo>
                  <a:pt x="2061" y="526"/>
                </a:lnTo>
                <a:lnTo>
                  <a:pt x="2061" y="544"/>
                </a:lnTo>
                <a:lnTo>
                  <a:pt x="1937" y="544"/>
                </a:lnTo>
                <a:lnTo>
                  <a:pt x="1937" y="636"/>
                </a:lnTo>
                <a:lnTo>
                  <a:pt x="2064" y="636"/>
                </a:lnTo>
                <a:lnTo>
                  <a:pt x="2064" y="654"/>
                </a:lnTo>
                <a:lnTo>
                  <a:pt x="1917" y="654"/>
                </a:lnTo>
                <a:close/>
                <a:moveTo>
                  <a:pt x="2248" y="654"/>
                </a:moveTo>
                <a:lnTo>
                  <a:pt x="2183" y="558"/>
                </a:lnTo>
                <a:lnTo>
                  <a:pt x="2132" y="558"/>
                </a:lnTo>
                <a:lnTo>
                  <a:pt x="2132" y="654"/>
                </a:lnTo>
                <a:lnTo>
                  <a:pt x="2112" y="654"/>
                </a:lnTo>
                <a:lnTo>
                  <a:pt x="2112" y="422"/>
                </a:lnTo>
                <a:lnTo>
                  <a:pt x="2199" y="422"/>
                </a:lnTo>
                <a:lnTo>
                  <a:pt x="2206" y="422"/>
                </a:lnTo>
                <a:lnTo>
                  <a:pt x="2213" y="423"/>
                </a:lnTo>
                <a:lnTo>
                  <a:pt x="2220" y="425"/>
                </a:lnTo>
                <a:lnTo>
                  <a:pt x="2227" y="427"/>
                </a:lnTo>
                <a:lnTo>
                  <a:pt x="2233" y="429"/>
                </a:lnTo>
                <a:lnTo>
                  <a:pt x="2239" y="432"/>
                </a:lnTo>
                <a:lnTo>
                  <a:pt x="2244" y="436"/>
                </a:lnTo>
                <a:lnTo>
                  <a:pt x="2249" y="440"/>
                </a:lnTo>
                <a:lnTo>
                  <a:pt x="2254" y="445"/>
                </a:lnTo>
                <a:lnTo>
                  <a:pt x="2258" y="450"/>
                </a:lnTo>
                <a:lnTo>
                  <a:pt x="2261" y="455"/>
                </a:lnTo>
                <a:lnTo>
                  <a:pt x="2264" y="461"/>
                </a:lnTo>
                <a:lnTo>
                  <a:pt x="2266" y="468"/>
                </a:lnTo>
                <a:lnTo>
                  <a:pt x="2268" y="475"/>
                </a:lnTo>
                <a:lnTo>
                  <a:pt x="2269" y="482"/>
                </a:lnTo>
                <a:lnTo>
                  <a:pt x="2269" y="490"/>
                </a:lnTo>
                <a:lnTo>
                  <a:pt x="2269" y="498"/>
                </a:lnTo>
                <a:lnTo>
                  <a:pt x="2268" y="505"/>
                </a:lnTo>
                <a:lnTo>
                  <a:pt x="2267" y="512"/>
                </a:lnTo>
                <a:lnTo>
                  <a:pt x="2264" y="518"/>
                </a:lnTo>
                <a:lnTo>
                  <a:pt x="2262" y="524"/>
                </a:lnTo>
                <a:lnTo>
                  <a:pt x="2258" y="529"/>
                </a:lnTo>
                <a:lnTo>
                  <a:pt x="2255" y="534"/>
                </a:lnTo>
                <a:lnTo>
                  <a:pt x="2250" y="539"/>
                </a:lnTo>
                <a:lnTo>
                  <a:pt x="2246" y="543"/>
                </a:lnTo>
                <a:lnTo>
                  <a:pt x="2241" y="546"/>
                </a:lnTo>
                <a:lnTo>
                  <a:pt x="2236" y="549"/>
                </a:lnTo>
                <a:lnTo>
                  <a:pt x="2230" y="552"/>
                </a:lnTo>
                <a:lnTo>
                  <a:pt x="2224" y="554"/>
                </a:lnTo>
                <a:lnTo>
                  <a:pt x="2218" y="555"/>
                </a:lnTo>
                <a:lnTo>
                  <a:pt x="2205" y="557"/>
                </a:lnTo>
                <a:lnTo>
                  <a:pt x="2272" y="654"/>
                </a:lnTo>
                <a:lnTo>
                  <a:pt x="2248" y="654"/>
                </a:lnTo>
                <a:close/>
                <a:moveTo>
                  <a:pt x="2249" y="490"/>
                </a:moveTo>
                <a:lnTo>
                  <a:pt x="2248" y="485"/>
                </a:lnTo>
                <a:lnTo>
                  <a:pt x="2248" y="479"/>
                </a:lnTo>
                <a:lnTo>
                  <a:pt x="2247" y="474"/>
                </a:lnTo>
                <a:lnTo>
                  <a:pt x="2245" y="470"/>
                </a:lnTo>
                <a:lnTo>
                  <a:pt x="2243" y="465"/>
                </a:lnTo>
                <a:lnTo>
                  <a:pt x="2241" y="461"/>
                </a:lnTo>
                <a:lnTo>
                  <a:pt x="2238" y="458"/>
                </a:lnTo>
                <a:lnTo>
                  <a:pt x="2235" y="454"/>
                </a:lnTo>
                <a:lnTo>
                  <a:pt x="2231" y="451"/>
                </a:lnTo>
                <a:lnTo>
                  <a:pt x="2227" y="448"/>
                </a:lnTo>
                <a:lnTo>
                  <a:pt x="2223" y="446"/>
                </a:lnTo>
                <a:lnTo>
                  <a:pt x="2218" y="444"/>
                </a:lnTo>
                <a:lnTo>
                  <a:pt x="2213" y="442"/>
                </a:lnTo>
                <a:lnTo>
                  <a:pt x="2208" y="441"/>
                </a:lnTo>
                <a:lnTo>
                  <a:pt x="2203" y="440"/>
                </a:lnTo>
                <a:lnTo>
                  <a:pt x="2197" y="440"/>
                </a:lnTo>
                <a:lnTo>
                  <a:pt x="2132" y="440"/>
                </a:lnTo>
                <a:lnTo>
                  <a:pt x="2132" y="540"/>
                </a:lnTo>
                <a:lnTo>
                  <a:pt x="2197" y="540"/>
                </a:lnTo>
                <a:lnTo>
                  <a:pt x="2203" y="540"/>
                </a:lnTo>
                <a:lnTo>
                  <a:pt x="2208" y="539"/>
                </a:lnTo>
                <a:lnTo>
                  <a:pt x="2213" y="538"/>
                </a:lnTo>
                <a:lnTo>
                  <a:pt x="2218" y="536"/>
                </a:lnTo>
                <a:lnTo>
                  <a:pt x="2223" y="534"/>
                </a:lnTo>
                <a:lnTo>
                  <a:pt x="2227" y="532"/>
                </a:lnTo>
                <a:lnTo>
                  <a:pt x="2231" y="529"/>
                </a:lnTo>
                <a:lnTo>
                  <a:pt x="2235" y="526"/>
                </a:lnTo>
                <a:lnTo>
                  <a:pt x="2238" y="522"/>
                </a:lnTo>
                <a:lnTo>
                  <a:pt x="2241" y="519"/>
                </a:lnTo>
                <a:lnTo>
                  <a:pt x="2243" y="514"/>
                </a:lnTo>
                <a:lnTo>
                  <a:pt x="2245" y="510"/>
                </a:lnTo>
                <a:lnTo>
                  <a:pt x="2246" y="508"/>
                </a:lnTo>
                <a:lnTo>
                  <a:pt x="2247" y="505"/>
                </a:lnTo>
                <a:lnTo>
                  <a:pt x="2248" y="500"/>
                </a:lnTo>
                <a:lnTo>
                  <a:pt x="2248" y="495"/>
                </a:lnTo>
                <a:lnTo>
                  <a:pt x="2249" y="490"/>
                </a:lnTo>
                <a:close/>
                <a:moveTo>
                  <a:pt x="2585" y="654"/>
                </a:moveTo>
                <a:lnTo>
                  <a:pt x="2562" y="597"/>
                </a:lnTo>
                <a:lnTo>
                  <a:pt x="2438" y="597"/>
                </a:lnTo>
                <a:lnTo>
                  <a:pt x="2415" y="654"/>
                </a:lnTo>
                <a:lnTo>
                  <a:pt x="2392" y="654"/>
                </a:lnTo>
                <a:lnTo>
                  <a:pt x="2487" y="422"/>
                </a:lnTo>
                <a:lnTo>
                  <a:pt x="2512" y="422"/>
                </a:lnTo>
                <a:lnTo>
                  <a:pt x="2608" y="654"/>
                </a:lnTo>
                <a:lnTo>
                  <a:pt x="2585" y="654"/>
                </a:lnTo>
                <a:close/>
                <a:moveTo>
                  <a:pt x="2500" y="443"/>
                </a:moveTo>
                <a:lnTo>
                  <a:pt x="2445" y="579"/>
                </a:lnTo>
                <a:lnTo>
                  <a:pt x="2555" y="579"/>
                </a:lnTo>
                <a:lnTo>
                  <a:pt x="2500" y="443"/>
                </a:lnTo>
                <a:close/>
                <a:moveTo>
                  <a:pt x="2810" y="654"/>
                </a:moveTo>
                <a:lnTo>
                  <a:pt x="2664" y="455"/>
                </a:lnTo>
                <a:lnTo>
                  <a:pt x="2664" y="654"/>
                </a:lnTo>
                <a:lnTo>
                  <a:pt x="2644" y="654"/>
                </a:lnTo>
                <a:lnTo>
                  <a:pt x="2644" y="422"/>
                </a:lnTo>
                <a:lnTo>
                  <a:pt x="2665" y="422"/>
                </a:lnTo>
                <a:lnTo>
                  <a:pt x="2810" y="619"/>
                </a:lnTo>
                <a:lnTo>
                  <a:pt x="2810" y="422"/>
                </a:lnTo>
                <a:lnTo>
                  <a:pt x="2830" y="422"/>
                </a:lnTo>
                <a:lnTo>
                  <a:pt x="2830" y="654"/>
                </a:lnTo>
                <a:lnTo>
                  <a:pt x="2810" y="654"/>
                </a:lnTo>
                <a:close/>
                <a:moveTo>
                  <a:pt x="2891" y="654"/>
                </a:moveTo>
                <a:lnTo>
                  <a:pt x="2891" y="422"/>
                </a:lnTo>
                <a:lnTo>
                  <a:pt x="2965" y="422"/>
                </a:lnTo>
                <a:lnTo>
                  <a:pt x="2978" y="423"/>
                </a:lnTo>
                <a:lnTo>
                  <a:pt x="2991" y="425"/>
                </a:lnTo>
                <a:lnTo>
                  <a:pt x="2997" y="426"/>
                </a:lnTo>
                <a:lnTo>
                  <a:pt x="3003" y="427"/>
                </a:lnTo>
                <a:lnTo>
                  <a:pt x="3014" y="431"/>
                </a:lnTo>
                <a:lnTo>
                  <a:pt x="3019" y="434"/>
                </a:lnTo>
                <a:lnTo>
                  <a:pt x="3024" y="436"/>
                </a:lnTo>
                <a:lnTo>
                  <a:pt x="3034" y="442"/>
                </a:lnTo>
                <a:lnTo>
                  <a:pt x="3038" y="445"/>
                </a:lnTo>
                <a:lnTo>
                  <a:pt x="3043" y="449"/>
                </a:lnTo>
                <a:lnTo>
                  <a:pt x="3051" y="456"/>
                </a:lnTo>
                <a:lnTo>
                  <a:pt x="3058" y="465"/>
                </a:lnTo>
                <a:lnTo>
                  <a:pt x="3061" y="469"/>
                </a:lnTo>
                <a:lnTo>
                  <a:pt x="3064" y="474"/>
                </a:lnTo>
                <a:lnTo>
                  <a:pt x="3070" y="483"/>
                </a:lnTo>
                <a:lnTo>
                  <a:pt x="3072" y="488"/>
                </a:lnTo>
                <a:lnTo>
                  <a:pt x="3074" y="493"/>
                </a:lnTo>
                <a:lnTo>
                  <a:pt x="3078" y="504"/>
                </a:lnTo>
                <a:lnTo>
                  <a:pt x="3080" y="515"/>
                </a:lnTo>
                <a:lnTo>
                  <a:pt x="3081" y="521"/>
                </a:lnTo>
                <a:lnTo>
                  <a:pt x="3082" y="526"/>
                </a:lnTo>
                <a:lnTo>
                  <a:pt x="3082" y="538"/>
                </a:lnTo>
                <a:lnTo>
                  <a:pt x="3082" y="550"/>
                </a:lnTo>
                <a:lnTo>
                  <a:pt x="3081" y="556"/>
                </a:lnTo>
                <a:lnTo>
                  <a:pt x="3080" y="562"/>
                </a:lnTo>
                <a:lnTo>
                  <a:pt x="3078" y="573"/>
                </a:lnTo>
                <a:lnTo>
                  <a:pt x="3074" y="583"/>
                </a:lnTo>
                <a:lnTo>
                  <a:pt x="3072" y="589"/>
                </a:lnTo>
                <a:lnTo>
                  <a:pt x="3070" y="594"/>
                </a:lnTo>
                <a:lnTo>
                  <a:pt x="3064" y="603"/>
                </a:lnTo>
                <a:lnTo>
                  <a:pt x="3058" y="612"/>
                </a:lnTo>
                <a:lnTo>
                  <a:pt x="3051" y="620"/>
                </a:lnTo>
                <a:lnTo>
                  <a:pt x="3043" y="628"/>
                </a:lnTo>
                <a:lnTo>
                  <a:pt x="3034" y="634"/>
                </a:lnTo>
                <a:lnTo>
                  <a:pt x="3024" y="640"/>
                </a:lnTo>
                <a:lnTo>
                  <a:pt x="3019" y="643"/>
                </a:lnTo>
                <a:lnTo>
                  <a:pt x="3014" y="645"/>
                </a:lnTo>
                <a:lnTo>
                  <a:pt x="3008" y="647"/>
                </a:lnTo>
                <a:lnTo>
                  <a:pt x="3003" y="649"/>
                </a:lnTo>
                <a:lnTo>
                  <a:pt x="2991" y="652"/>
                </a:lnTo>
                <a:lnTo>
                  <a:pt x="2978" y="653"/>
                </a:lnTo>
                <a:lnTo>
                  <a:pt x="2972" y="654"/>
                </a:lnTo>
                <a:lnTo>
                  <a:pt x="2965" y="654"/>
                </a:lnTo>
                <a:lnTo>
                  <a:pt x="2891" y="654"/>
                </a:lnTo>
                <a:close/>
                <a:moveTo>
                  <a:pt x="3061" y="538"/>
                </a:moveTo>
                <a:lnTo>
                  <a:pt x="3061" y="528"/>
                </a:lnTo>
                <a:lnTo>
                  <a:pt x="3060" y="518"/>
                </a:lnTo>
                <a:lnTo>
                  <a:pt x="3058" y="509"/>
                </a:lnTo>
                <a:lnTo>
                  <a:pt x="3055" y="500"/>
                </a:lnTo>
                <a:lnTo>
                  <a:pt x="3052" y="491"/>
                </a:lnTo>
                <a:lnTo>
                  <a:pt x="3047" y="483"/>
                </a:lnTo>
                <a:lnTo>
                  <a:pt x="3042" y="476"/>
                </a:lnTo>
                <a:lnTo>
                  <a:pt x="3036" y="469"/>
                </a:lnTo>
                <a:lnTo>
                  <a:pt x="3030" y="463"/>
                </a:lnTo>
                <a:lnTo>
                  <a:pt x="3023" y="457"/>
                </a:lnTo>
                <a:lnTo>
                  <a:pt x="3015" y="452"/>
                </a:lnTo>
                <a:lnTo>
                  <a:pt x="3011" y="450"/>
                </a:lnTo>
                <a:lnTo>
                  <a:pt x="3006" y="448"/>
                </a:lnTo>
                <a:lnTo>
                  <a:pt x="2997" y="445"/>
                </a:lnTo>
                <a:lnTo>
                  <a:pt x="2987" y="442"/>
                </a:lnTo>
                <a:lnTo>
                  <a:pt x="2976" y="441"/>
                </a:lnTo>
                <a:lnTo>
                  <a:pt x="2965" y="440"/>
                </a:lnTo>
                <a:lnTo>
                  <a:pt x="2911" y="440"/>
                </a:lnTo>
                <a:lnTo>
                  <a:pt x="2911" y="636"/>
                </a:lnTo>
                <a:lnTo>
                  <a:pt x="2965" y="636"/>
                </a:lnTo>
                <a:lnTo>
                  <a:pt x="2976" y="635"/>
                </a:lnTo>
                <a:lnTo>
                  <a:pt x="2982" y="635"/>
                </a:lnTo>
                <a:lnTo>
                  <a:pt x="2987" y="634"/>
                </a:lnTo>
                <a:lnTo>
                  <a:pt x="2997" y="632"/>
                </a:lnTo>
                <a:lnTo>
                  <a:pt x="3006" y="628"/>
                </a:lnTo>
                <a:lnTo>
                  <a:pt x="3015" y="624"/>
                </a:lnTo>
                <a:lnTo>
                  <a:pt x="3023" y="619"/>
                </a:lnTo>
                <a:lnTo>
                  <a:pt x="3030" y="614"/>
                </a:lnTo>
                <a:lnTo>
                  <a:pt x="3036" y="607"/>
                </a:lnTo>
                <a:lnTo>
                  <a:pt x="3042" y="600"/>
                </a:lnTo>
                <a:lnTo>
                  <a:pt x="3047" y="593"/>
                </a:lnTo>
                <a:lnTo>
                  <a:pt x="3051" y="585"/>
                </a:lnTo>
                <a:lnTo>
                  <a:pt x="3055" y="576"/>
                </a:lnTo>
                <a:lnTo>
                  <a:pt x="3058" y="567"/>
                </a:lnTo>
                <a:lnTo>
                  <a:pt x="3060" y="558"/>
                </a:lnTo>
                <a:lnTo>
                  <a:pt x="3061" y="548"/>
                </a:lnTo>
                <a:lnTo>
                  <a:pt x="3061" y="538"/>
                </a:lnTo>
                <a:close/>
                <a:moveTo>
                  <a:pt x="3216" y="621"/>
                </a:moveTo>
                <a:lnTo>
                  <a:pt x="3229" y="606"/>
                </a:lnTo>
                <a:lnTo>
                  <a:pt x="3232" y="610"/>
                </a:lnTo>
                <a:lnTo>
                  <a:pt x="3235" y="613"/>
                </a:lnTo>
                <a:lnTo>
                  <a:pt x="3238" y="616"/>
                </a:lnTo>
                <a:lnTo>
                  <a:pt x="3242" y="619"/>
                </a:lnTo>
                <a:lnTo>
                  <a:pt x="3249" y="624"/>
                </a:lnTo>
                <a:lnTo>
                  <a:pt x="3258" y="630"/>
                </a:lnTo>
                <a:lnTo>
                  <a:pt x="3268" y="634"/>
                </a:lnTo>
                <a:lnTo>
                  <a:pt x="3273" y="636"/>
                </a:lnTo>
                <a:lnTo>
                  <a:pt x="3278" y="637"/>
                </a:lnTo>
                <a:lnTo>
                  <a:pt x="3283" y="638"/>
                </a:lnTo>
                <a:lnTo>
                  <a:pt x="3289" y="639"/>
                </a:lnTo>
                <a:lnTo>
                  <a:pt x="3301" y="640"/>
                </a:lnTo>
                <a:lnTo>
                  <a:pt x="3310" y="640"/>
                </a:lnTo>
                <a:lnTo>
                  <a:pt x="3317" y="639"/>
                </a:lnTo>
                <a:lnTo>
                  <a:pt x="3324" y="637"/>
                </a:lnTo>
                <a:lnTo>
                  <a:pt x="3331" y="636"/>
                </a:lnTo>
                <a:lnTo>
                  <a:pt x="3336" y="633"/>
                </a:lnTo>
                <a:lnTo>
                  <a:pt x="3341" y="631"/>
                </a:lnTo>
                <a:lnTo>
                  <a:pt x="3346" y="628"/>
                </a:lnTo>
                <a:lnTo>
                  <a:pt x="3349" y="624"/>
                </a:lnTo>
                <a:lnTo>
                  <a:pt x="3353" y="621"/>
                </a:lnTo>
                <a:lnTo>
                  <a:pt x="3355" y="617"/>
                </a:lnTo>
                <a:lnTo>
                  <a:pt x="3358" y="613"/>
                </a:lnTo>
                <a:lnTo>
                  <a:pt x="3359" y="609"/>
                </a:lnTo>
                <a:lnTo>
                  <a:pt x="3361" y="602"/>
                </a:lnTo>
                <a:lnTo>
                  <a:pt x="3362" y="594"/>
                </a:lnTo>
                <a:lnTo>
                  <a:pt x="3362" y="588"/>
                </a:lnTo>
                <a:lnTo>
                  <a:pt x="3361" y="582"/>
                </a:lnTo>
                <a:lnTo>
                  <a:pt x="3359" y="577"/>
                </a:lnTo>
                <a:lnTo>
                  <a:pt x="3356" y="573"/>
                </a:lnTo>
                <a:lnTo>
                  <a:pt x="3353" y="569"/>
                </a:lnTo>
                <a:lnTo>
                  <a:pt x="3349" y="565"/>
                </a:lnTo>
                <a:lnTo>
                  <a:pt x="3345" y="562"/>
                </a:lnTo>
                <a:lnTo>
                  <a:pt x="3340" y="559"/>
                </a:lnTo>
                <a:lnTo>
                  <a:pt x="3335" y="556"/>
                </a:lnTo>
                <a:lnTo>
                  <a:pt x="3330" y="554"/>
                </a:lnTo>
                <a:lnTo>
                  <a:pt x="3318" y="549"/>
                </a:lnTo>
                <a:lnTo>
                  <a:pt x="3306" y="545"/>
                </a:lnTo>
                <a:lnTo>
                  <a:pt x="3293" y="542"/>
                </a:lnTo>
                <a:lnTo>
                  <a:pt x="3280" y="538"/>
                </a:lnTo>
                <a:lnTo>
                  <a:pt x="3267" y="534"/>
                </a:lnTo>
                <a:lnTo>
                  <a:pt x="3255" y="529"/>
                </a:lnTo>
                <a:lnTo>
                  <a:pt x="3250" y="526"/>
                </a:lnTo>
                <a:lnTo>
                  <a:pt x="3245" y="523"/>
                </a:lnTo>
                <a:lnTo>
                  <a:pt x="3240" y="519"/>
                </a:lnTo>
                <a:lnTo>
                  <a:pt x="3236" y="515"/>
                </a:lnTo>
                <a:lnTo>
                  <a:pt x="3232" y="510"/>
                </a:lnTo>
                <a:lnTo>
                  <a:pt x="3229" y="506"/>
                </a:lnTo>
                <a:lnTo>
                  <a:pt x="3227" y="500"/>
                </a:lnTo>
                <a:lnTo>
                  <a:pt x="3225" y="494"/>
                </a:lnTo>
                <a:lnTo>
                  <a:pt x="3223" y="487"/>
                </a:lnTo>
                <a:lnTo>
                  <a:pt x="3223" y="480"/>
                </a:lnTo>
                <a:lnTo>
                  <a:pt x="3223" y="473"/>
                </a:lnTo>
                <a:lnTo>
                  <a:pt x="3225" y="467"/>
                </a:lnTo>
                <a:lnTo>
                  <a:pt x="3226" y="460"/>
                </a:lnTo>
                <a:lnTo>
                  <a:pt x="3229" y="455"/>
                </a:lnTo>
                <a:lnTo>
                  <a:pt x="3232" y="449"/>
                </a:lnTo>
                <a:lnTo>
                  <a:pt x="3236" y="444"/>
                </a:lnTo>
                <a:lnTo>
                  <a:pt x="3238" y="442"/>
                </a:lnTo>
                <a:lnTo>
                  <a:pt x="3240" y="439"/>
                </a:lnTo>
                <a:lnTo>
                  <a:pt x="3245" y="435"/>
                </a:lnTo>
                <a:lnTo>
                  <a:pt x="3251" y="431"/>
                </a:lnTo>
                <a:lnTo>
                  <a:pt x="3257" y="428"/>
                </a:lnTo>
                <a:lnTo>
                  <a:pt x="3263" y="425"/>
                </a:lnTo>
                <a:lnTo>
                  <a:pt x="3270" y="423"/>
                </a:lnTo>
                <a:lnTo>
                  <a:pt x="3277" y="421"/>
                </a:lnTo>
                <a:lnTo>
                  <a:pt x="3284" y="419"/>
                </a:lnTo>
                <a:lnTo>
                  <a:pt x="3291" y="419"/>
                </a:lnTo>
                <a:lnTo>
                  <a:pt x="3299" y="418"/>
                </a:lnTo>
                <a:lnTo>
                  <a:pt x="3312" y="419"/>
                </a:lnTo>
                <a:lnTo>
                  <a:pt x="3318" y="420"/>
                </a:lnTo>
                <a:lnTo>
                  <a:pt x="3323" y="421"/>
                </a:lnTo>
                <a:lnTo>
                  <a:pt x="3334" y="423"/>
                </a:lnTo>
                <a:lnTo>
                  <a:pt x="3340" y="425"/>
                </a:lnTo>
                <a:lnTo>
                  <a:pt x="3345" y="427"/>
                </a:lnTo>
                <a:lnTo>
                  <a:pt x="3354" y="432"/>
                </a:lnTo>
                <a:lnTo>
                  <a:pt x="3363" y="437"/>
                </a:lnTo>
                <a:lnTo>
                  <a:pt x="3371" y="444"/>
                </a:lnTo>
                <a:lnTo>
                  <a:pt x="3378" y="451"/>
                </a:lnTo>
                <a:lnTo>
                  <a:pt x="3365" y="466"/>
                </a:lnTo>
                <a:lnTo>
                  <a:pt x="3358" y="459"/>
                </a:lnTo>
                <a:lnTo>
                  <a:pt x="3354" y="455"/>
                </a:lnTo>
                <a:lnTo>
                  <a:pt x="3351" y="453"/>
                </a:lnTo>
                <a:lnTo>
                  <a:pt x="3343" y="447"/>
                </a:lnTo>
                <a:lnTo>
                  <a:pt x="3335" y="443"/>
                </a:lnTo>
                <a:lnTo>
                  <a:pt x="3331" y="442"/>
                </a:lnTo>
                <a:lnTo>
                  <a:pt x="3326" y="440"/>
                </a:lnTo>
                <a:lnTo>
                  <a:pt x="3317" y="438"/>
                </a:lnTo>
                <a:lnTo>
                  <a:pt x="3308" y="437"/>
                </a:lnTo>
                <a:lnTo>
                  <a:pt x="3298" y="436"/>
                </a:lnTo>
                <a:lnTo>
                  <a:pt x="3287" y="437"/>
                </a:lnTo>
                <a:lnTo>
                  <a:pt x="3282" y="438"/>
                </a:lnTo>
                <a:lnTo>
                  <a:pt x="3277" y="440"/>
                </a:lnTo>
                <a:lnTo>
                  <a:pt x="3272" y="441"/>
                </a:lnTo>
                <a:lnTo>
                  <a:pt x="3267" y="443"/>
                </a:lnTo>
                <a:lnTo>
                  <a:pt x="3259" y="448"/>
                </a:lnTo>
                <a:lnTo>
                  <a:pt x="3256" y="451"/>
                </a:lnTo>
                <a:lnTo>
                  <a:pt x="3253" y="455"/>
                </a:lnTo>
                <a:lnTo>
                  <a:pt x="3250" y="458"/>
                </a:lnTo>
                <a:lnTo>
                  <a:pt x="3248" y="462"/>
                </a:lnTo>
                <a:lnTo>
                  <a:pt x="3246" y="466"/>
                </a:lnTo>
                <a:lnTo>
                  <a:pt x="3245" y="470"/>
                </a:lnTo>
                <a:lnTo>
                  <a:pt x="3244" y="475"/>
                </a:lnTo>
                <a:lnTo>
                  <a:pt x="3244" y="479"/>
                </a:lnTo>
                <a:lnTo>
                  <a:pt x="3244" y="484"/>
                </a:lnTo>
                <a:lnTo>
                  <a:pt x="3245" y="489"/>
                </a:lnTo>
                <a:lnTo>
                  <a:pt x="3247" y="494"/>
                </a:lnTo>
                <a:lnTo>
                  <a:pt x="3250" y="498"/>
                </a:lnTo>
                <a:lnTo>
                  <a:pt x="3253" y="501"/>
                </a:lnTo>
                <a:lnTo>
                  <a:pt x="3257" y="504"/>
                </a:lnTo>
                <a:lnTo>
                  <a:pt x="3266" y="510"/>
                </a:lnTo>
                <a:lnTo>
                  <a:pt x="3271" y="512"/>
                </a:lnTo>
                <a:lnTo>
                  <a:pt x="3276" y="514"/>
                </a:lnTo>
                <a:lnTo>
                  <a:pt x="3288" y="518"/>
                </a:lnTo>
                <a:lnTo>
                  <a:pt x="3313" y="526"/>
                </a:lnTo>
                <a:lnTo>
                  <a:pt x="3326" y="530"/>
                </a:lnTo>
                <a:lnTo>
                  <a:pt x="3339" y="534"/>
                </a:lnTo>
                <a:lnTo>
                  <a:pt x="3351" y="540"/>
                </a:lnTo>
                <a:lnTo>
                  <a:pt x="3356" y="543"/>
                </a:lnTo>
                <a:lnTo>
                  <a:pt x="3361" y="547"/>
                </a:lnTo>
                <a:lnTo>
                  <a:pt x="3366" y="551"/>
                </a:lnTo>
                <a:lnTo>
                  <a:pt x="3368" y="553"/>
                </a:lnTo>
                <a:lnTo>
                  <a:pt x="3370" y="555"/>
                </a:lnTo>
                <a:lnTo>
                  <a:pt x="3374" y="560"/>
                </a:lnTo>
                <a:lnTo>
                  <a:pt x="3377" y="565"/>
                </a:lnTo>
                <a:lnTo>
                  <a:pt x="3380" y="571"/>
                </a:lnTo>
                <a:lnTo>
                  <a:pt x="3381" y="578"/>
                </a:lnTo>
                <a:lnTo>
                  <a:pt x="3383" y="585"/>
                </a:lnTo>
                <a:lnTo>
                  <a:pt x="3383" y="592"/>
                </a:lnTo>
                <a:lnTo>
                  <a:pt x="3383" y="598"/>
                </a:lnTo>
                <a:lnTo>
                  <a:pt x="3382" y="604"/>
                </a:lnTo>
                <a:lnTo>
                  <a:pt x="3379" y="615"/>
                </a:lnTo>
                <a:lnTo>
                  <a:pt x="3376" y="621"/>
                </a:lnTo>
                <a:lnTo>
                  <a:pt x="3373" y="626"/>
                </a:lnTo>
                <a:lnTo>
                  <a:pt x="3370" y="632"/>
                </a:lnTo>
                <a:lnTo>
                  <a:pt x="3365" y="636"/>
                </a:lnTo>
                <a:lnTo>
                  <a:pt x="3360" y="641"/>
                </a:lnTo>
                <a:lnTo>
                  <a:pt x="3354" y="645"/>
                </a:lnTo>
                <a:lnTo>
                  <a:pt x="3347" y="649"/>
                </a:lnTo>
                <a:lnTo>
                  <a:pt x="3340" y="652"/>
                </a:lnTo>
                <a:lnTo>
                  <a:pt x="3331" y="655"/>
                </a:lnTo>
                <a:lnTo>
                  <a:pt x="3322" y="657"/>
                </a:lnTo>
                <a:lnTo>
                  <a:pt x="3312" y="658"/>
                </a:lnTo>
                <a:lnTo>
                  <a:pt x="3301" y="658"/>
                </a:lnTo>
                <a:lnTo>
                  <a:pt x="3287" y="657"/>
                </a:lnTo>
                <a:lnTo>
                  <a:pt x="3274" y="655"/>
                </a:lnTo>
                <a:lnTo>
                  <a:pt x="3262" y="652"/>
                </a:lnTo>
                <a:lnTo>
                  <a:pt x="3250" y="648"/>
                </a:lnTo>
                <a:lnTo>
                  <a:pt x="3240" y="642"/>
                </a:lnTo>
                <a:lnTo>
                  <a:pt x="3231" y="636"/>
                </a:lnTo>
                <a:lnTo>
                  <a:pt x="3227" y="633"/>
                </a:lnTo>
                <a:lnTo>
                  <a:pt x="3223" y="629"/>
                </a:lnTo>
                <a:lnTo>
                  <a:pt x="3216" y="621"/>
                </a:lnTo>
                <a:close/>
                <a:moveTo>
                  <a:pt x="3598" y="654"/>
                </a:moveTo>
                <a:lnTo>
                  <a:pt x="3575" y="597"/>
                </a:lnTo>
                <a:lnTo>
                  <a:pt x="3452" y="597"/>
                </a:lnTo>
                <a:lnTo>
                  <a:pt x="3430" y="654"/>
                </a:lnTo>
                <a:lnTo>
                  <a:pt x="3407" y="654"/>
                </a:lnTo>
                <a:lnTo>
                  <a:pt x="3501" y="422"/>
                </a:lnTo>
                <a:lnTo>
                  <a:pt x="3526" y="422"/>
                </a:lnTo>
                <a:lnTo>
                  <a:pt x="3621" y="654"/>
                </a:lnTo>
                <a:lnTo>
                  <a:pt x="3598" y="654"/>
                </a:lnTo>
                <a:close/>
                <a:moveTo>
                  <a:pt x="3514" y="443"/>
                </a:moveTo>
                <a:lnTo>
                  <a:pt x="3459" y="579"/>
                </a:lnTo>
                <a:lnTo>
                  <a:pt x="3569" y="579"/>
                </a:lnTo>
                <a:lnTo>
                  <a:pt x="3514" y="443"/>
                </a:lnTo>
                <a:close/>
                <a:moveTo>
                  <a:pt x="3658" y="654"/>
                </a:moveTo>
                <a:lnTo>
                  <a:pt x="3658" y="422"/>
                </a:lnTo>
                <a:lnTo>
                  <a:pt x="3805" y="422"/>
                </a:lnTo>
                <a:lnTo>
                  <a:pt x="3805" y="440"/>
                </a:lnTo>
                <a:lnTo>
                  <a:pt x="3678" y="440"/>
                </a:lnTo>
                <a:lnTo>
                  <a:pt x="3678" y="526"/>
                </a:lnTo>
                <a:lnTo>
                  <a:pt x="3802" y="526"/>
                </a:lnTo>
                <a:lnTo>
                  <a:pt x="3802" y="544"/>
                </a:lnTo>
                <a:lnTo>
                  <a:pt x="3678" y="544"/>
                </a:lnTo>
                <a:lnTo>
                  <a:pt x="3678" y="654"/>
                </a:lnTo>
                <a:lnTo>
                  <a:pt x="3658" y="654"/>
                </a:lnTo>
                <a:close/>
                <a:moveTo>
                  <a:pt x="3845" y="654"/>
                </a:moveTo>
                <a:lnTo>
                  <a:pt x="3845" y="422"/>
                </a:lnTo>
                <a:lnTo>
                  <a:pt x="3992" y="422"/>
                </a:lnTo>
                <a:lnTo>
                  <a:pt x="3992" y="440"/>
                </a:lnTo>
                <a:lnTo>
                  <a:pt x="3865" y="440"/>
                </a:lnTo>
                <a:lnTo>
                  <a:pt x="3865" y="526"/>
                </a:lnTo>
                <a:lnTo>
                  <a:pt x="3990" y="526"/>
                </a:lnTo>
                <a:lnTo>
                  <a:pt x="3990" y="544"/>
                </a:lnTo>
                <a:lnTo>
                  <a:pt x="3865" y="544"/>
                </a:lnTo>
                <a:lnTo>
                  <a:pt x="3865" y="636"/>
                </a:lnTo>
                <a:lnTo>
                  <a:pt x="3992" y="636"/>
                </a:lnTo>
                <a:lnTo>
                  <a:pt x="3992" y="654"/>
                </a:lnTo>
                <a:lnTo>
                  <a:pt x="3845" y="654"/>
                </a:lnTo>
                <a:close/>
                <a:moveTo>
                  <a:pt x="4177" y="654"/>
                </a:moveTo>
                <a:lnTo>
                  <a:pt x="4112" y="558"/>
                </a:lnTo>
                <a:lnTo>
                  <a:pt x="4061" y="558"/>
                </a:lnTo>
                <a:lnTo>
                  <a:pt x="4061" y="654"/>
                </a:lnTo>
                <a:lnTo>
                  <a:pt x="4041" y="654"/>
                </a:lnTo>
                <a:lnTo>
                  <a:pt x="4041" y="422"/>
                </a:lnTo>
                <a:lnTo>
                  <a:pt x="4127" y="422"/>
                </a:lnTo>
                <a:lnTo>
                  <a:pt x="4135" y="422"/>
                </a:lnTo>
                <a:lnTo>
                  <a:pt x="4142" y="423"/>
                </a:lnTo>
                <a:lnTo>
                  <a:pt x="4149" y="425"/>
                </a:lnTo>
                <a:lnTo>
                  <a:pt x="4155" y="427"/>
                </a:lnTo>
                <a:lnTo>
                  <a:pt x="4161" y="429"/>
                </a:lnTo>
                <a:lnTo>
                  <a:pt x="4167" y="432"/>
                </a:lnTo>
                <a:lnTo>
                  <a:pt x="4173" y="436"/>
                </a:lnTo>
                <a:lnTo>
                  <a:pt x="4178" y="440"/>
                </a:lnTo>
                <a:lnTo>
                  <a:pt x="4182" y="445"/>
                </a:lnTo>
                <a:lnTo>
                  <a:pt x="4186" y="450"/>
                </a:lnTo>
                <a:lnTo>
                  <a:pt x="4190" y="455"/>
                </a:lnTo>
                <a:lnTo>
                  <a:pt x="4193" y="461"/>
                </a:lnTo>
                <a:lnTo>
                  <a:pt x="4195" y="468"/>
                </a:lnTo>
                <a:lnTo>
                  <a:pt x="4197" y="475"/>
                </a:lnTo>
                <a:lnTo>
                  <a:pt x="4198" y="482"/>
                </a:lnTo>
                <a:lnTo>
                  <a:pt x="4198" y="490"/>
                </a:lnTo>
                <a:lnTo>
                  <a:pt x="4198" y="498"/>
                </a:lnTo>
                <a:lnTo>
                  <a:pt x="4197" y="505"/>
                </a:lnTo>
                <a:lnTo>
                  <a:pt x="4195" y="512"/>
                </a:lnTo>
                <a:lnTo>
                  <a:pt x="4193" y="518"/>
                </a:lnTo>
                <a:lnTo>
                  <a:pt x="4190" y="524"/>
                </a:lnTo>
                <a:lnTo>
                  <a:pt x="4187" y="529"/>
                </a:lnTo>
                <a:lnTo>
                  <a:pt x="4183" y="534"/>
                </a:lnTo>
                <a:lnTo>
                  <a:pt x="4179" y="539"/>
                </a:lnTo>
                <a:lnTo>
                  <a:pt x="4174" y="543"/>
                </a:lnTo>
                <a:lnTo>
                  <a:pt x="4169" y="546"/>
                </a:lnTo>
                <a:lnTo>
                  <a:pt x="4164" y="549"/>
                </a:lnTo>
                <a:lnTo>
                  <a:pt x="4158" y="552"/>
                </a:lnTo>
                <a:lnTo>
                  <a:pt x="4152" y="554"/>
                </a:lnTo>
                <a:lnTo>
                  <a:pt x="4146" y="555"/>
                </a:lnTo>
                <a:lnTo>
                  <a:pt x="4134" y="557"/>
                </a:lnTo>
                <a:lnTo>
                  <a:pt x="4201" y="654"/>
                </a:lnTo>
                <a:lnTo>
                  <a:pt x="4177" y="654"/>
                </a:lnTo>
                <a:close/>
                <a:moveTo>
                  <a:pt x="4177" y="490"/>
                </a:moveTo>
                <a:lnTo>
                  <a:pt x="4177" y="485"/>
                </a:lnTo>
                <a:lnTo>
                  <a:pt x="4176" y="479"/>
                </a:lnTo>
                <a:lnTo>
                  <a:pt x="4175" y="474"/>
                </a:lnTo>
                <a:lnTo>
                  <a:pt x="4173" y="470"/>
                </a:lnTo>
                <a:lnTo>
                  <a:pt x="4171" y="465"/>
                </a:lnTo>
                <a:lnTo>
                  <a:pt x="4169" y="461"/>
                </a:lnTo>
                <a:lnTo>
                  <a:pt x="4166" y="458"/>
                </a:lnTo>
                <a:lnTo>
                  <a:pt x="4163" y="454"/>
                </a:lnTo>
                <a:lnTo>
                  <a:pt x="4159" y="451"/>
                </a:lnTo>
                <a:lnTo>
                  <a:pt x="4155" y="448"/>
                </a:lnTo>
                <a:lnTo>
                  <a:pt x="4151" y="446"/>
                </a:lnTo>
                <a:lnTo>
                  <a:pt x="4147" y="444"/>
                </a:lnTo>
                <a:lnTo>
                  <a:pt x="4142" y="442"/>
                </a:lnTo>
                <a:lnTo>
                  <a:pt x="4137" y="441"/>
                </a:lnTo>
                <a:lnTo>
                  <a:pt x="4131" y="440"/>
                </a:lnTo>
                <a:lnTo>
                  <a:pt x="4126" y="440"/>
                </a:lnTo>
                <a:lnTo>
                  <a:pt x="4061" y="440"/>
                </a:lnTo>
                <a:lnTo>
                  <a:pt x="4061" y="540"/>
                </a:lnTo>
                <a:lnTo>
                  <a:pt x="4126" y="540"/>
                </a:lnTo>
                <a:lnTo>
                  <a:pt x="4131" y="540"/>
                </a:lnTo>
                <a:lnTo>
                  <a:pt x="4137" y="539"/>
                </a:lnTo>
                <a:lnTo>
                  <a:pt x="4142" y="538"/>
                </a:lnTo>
                <a:lnTo>
                  <a:pt x="4147" y="536"/>
                </a:lnTo>
                <a:lnTo>
                  <a:pt x="4151" y="534"/>
                </a:lnTo>
                <a:lnTo>
                  <a:pt x="4155" y="532"/>
                </a:lnTo>
                <a:lnTo>
                  <a:pt x="4159" y="529"/>
                </a:lnTo>
                <a:lnTo>
                  <a:pt x="4163" y="526"/>
                </a:lnTo>
                <a:lnTo>
                  <a:pt x="4166" y="522"/>
                </a:lnTo>
                <a:lnTo>
                  <a:pt x="4169" y="519"/>
                </a:lnTo>
                <a:lnTo>
                  <a:pt x="4171" y="514"/>
                </a:lnTo>
                <a:lnTo>
                  <a:pt x="4173" y="510"/>
                </a:lnTo>
                <a:lnTo>
                  <a:pt x="4174" y="508"/>
                </a:lnTo>
                <a:lnTo>
                  <a:pt x="4175" y="505"/>
                </a:lnTo>
                <a:lnTo>
                  <a:pt x="4176" y="500"/>
                </a:lnTo>
                <a:lnTo>
                  <a:pt x="4177" y="495"/>
                </a:lnTo>
                <a:lnTo>
                  <a:pt x="4177" y="49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0" name="Graphic 9">
            <a:extLst>
              <a:ext uri="{FF2B5EF4-FFF2-40B4-BE49-F238E27FC236}">
                <a16:creationId xmlns:a16="http://schemas.microsoft.com/office/drawing/2014/main" id="{C7BE9B7B-0981-4F9C-8A2C-0F3296E8FD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351838338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I Slogan Terracotta">
    <p:bg>
      <p:bgPr>
        <a:solidFill>
          <a:schemeClr val="accent5"/>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3D63B529-6895-41D5-96ED-F5A3C7F88EEA}"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0" name="Freeform 5">
            <a:extLst>
              <a:ext uri="{FF2B5EF4-FFF2-40B4-BE49-F238E27FC236}">
                <a16:creationId xmlns:a16="http://schemas.microsoft.com/office/drawing/2014/main" id="{3B4A1C7B-02A3-4A38-9A7A-CA53D5FD32C3}"/>
              </a:ext>
            </a:extLst>
          </p:cNvPr>
          <p:cNvSpPr>
            <a:spLocks noChangeAspect="1" noEditPoints="1"/>
          </p:cNvSpPr>
          <p:nvPr userDrawn="1"/>
        </p:nvSpPr>
        <p:spPr bwMode="auto">
          <a:xfrm>
            <a:off x="2063552" y="2204864"/>
            <a:ext cx="8064896" cy="1735371"/>
          </a:xfrm>
          <a:custGeom>
            <a:avLst/>
            <a:gdLst>
              <a:gd name="T0" fmla="*/ 813 w 7222"/>
              <a:gd name="T1" fmla="*/ 1485 h 1554"/>
              <a:gd name="T2" fmla="*/ 967 w 7222"/>
              <a:gd name="T3" fmla="*/ 1450 h 1554"/>
              <a:gd name="T4" fmla="*/ 1356 w 7222"/>
              <a:gd name="T5" fmla="*/ 1548 h 1554"/>
              <a:gd name="T6" fmla="*/ 2030 w 7222"/>
              <a:gd name="T7" fmla="*/ 1548 h 1554"/>
              <a:gd name="T8" fmla="*/ 1970 w 7222"/>
              <a:gd name="T9" fmla="*/ 1439 h 1554"/>
              <a:gd name="T10" fmla="*/ 2145 w 7222"/>
              <a:gd name="T11" fmla="*/ 1507 h 1554"/>
              <a:gd name="T12" fmla="*/ 2165 w 7222"/>
              <a:gd name="T13" fmla="*/ 1532 h 1554"/>
              <a:gd name="T14" fmla="*/ 2524 w 7222"/>
              <a:gd name="T15" fmla="*/ 1196 h 1554"/>
              <a:gd name="T16" fmla="*/ 2527 w 7222"/>
              <a:gd name="T17" fmla="*/ 1376 h 1554"/>
              <a:gd name="T18" fmla="*/ 2540 w 7222"/>
              <a:gd name="T19" fmla="*/ 1287 h 1554"/>
              <a:gd name="T20" fmla="*/ 2790 w 7222"/>
              <a:gd name="T21" fmla="*/ 1512 h 1554"/>
              <a:gd name="T22" fmla="*/ 3631 w 7222"/>
              <a:gd name="T23" fmla="*/ 1180 h 1554"/>
              <a:gd name="T24" fmla="*/ 4030 w 7222"/>
              <a:gd name="T25" fmla="*/ 1496 h 1554"/>
              <a:gd name="T26" fmla="*/ 4249 w 7222"/>
              <a:gd name="T27" fmla="*/ 1493 h 1554"/>
              <a:gd name="T28" fmla="*/ 4090 w 7222"/>
              <a:gd name="T29" fmla="*/ 1347 h 1554"/>
              <a:gd name="T30" fmla="*/ 4116 w 7222"/>
              <a:gd name="T31" fmla="*/ 1181 h 1554"/>
              <a:gd name="T32" fmla="*/ 4232 w 7222"/>
              <a:gd name="T33" fmla="*/ 1220 h 1554"/>
              <a:gd name="T34" fmla="*/ 4076 w 7222"/>
              <a:gd name="T35" fmla="*/ 1277 h 1554"/>
              <a:gd name="T36" fmla="*/ 4282 w 7222"/>
              <a:gd name="T37" fmla="*/ 1400 h 1554"/>
              <a:gd name="T38" fmla="*/ 4177 w 7222"/>
              <a:gd name="T39" fmla="*/ 1554 h 1554"/>
              <a:gd name="T40" fmla="*/ 5001 w 7222"/>
              <a:gd name="T41" fmla="*/ 1180 h 1554"/>
              <a:gd name="T42" fmla="*/ 5817 w 7222"/>
              <a:gd name="T43" fmla="*/ 1428 h 1554"/>
              <a:gd name="T44" fmla="*/ 6354 w 7222"/>
              <a:gd name="T45" fmla="*/ 1519 h 1554"/>
              <a:gd name="T46" fmla="*/ 6377 w 7222"/>
              <a:gd name="T47" fmla="*/ 1552 h 1554"/>
              <a:gd name="T48" fmla="*/ 492 w 7222"/>
              <a:gd name="T49" fmla="*/ 877 h 1554"/>
              <a:gd name="T50" fmla="*/ 1518 w 7222"/>
              <a:gd name="T51" fmla="*/ 996 h 1554"/>
              <a:gd name="T52" fmla="*/ 2086 w 7222"/>
              <a:gd name="T53" fmla="*/ 877 h 1554"/>
              <a:gd name="T54" fmla="*/ 2460 w 7222"/>
              <a:gd name="T55" fmla="*/ 964 h 1554"/>
              <a:gd name="T56" fmla="*/ 2608 w 7222"/>
              <a:gd name="T57" fmla="*/ 886 h 1554"/>
              <a:gd name="T58" fmla="*/ 2393 w 7222"/>
              <a:gd name="T59" fmla="*/ 746 h 1554"/>
              <a:gd name="T60" fmla="*/ 2549 w 7222"/>
              <a:gd name="T61" fmla="*/ 626 h 1554"/>
              <a:gd name="T62" fmla="*/ 2524 w 7222"/>
              <a:gd name="T63" fmla="*/ 651 h 1554"/>
              <a:gd name="T64" fmla="*/ 2457 w 7222"/>
              <a:gd name="T65" fmla="*/ 767 h 1554"/>
              <a:gd name="T66" fmla="*/ 2643 w 7222"/>
              <a:gd name="T67" fmla="*/ 911 h 1554"/>
              <a:gd name="T68" fmla="*/ 2973 w 7222"/>
              <a:gd name="T69" fmla="*/ 657 h 1554"/>
              <a:gd name="T70" fmla="*/ 3738 w 7222"/>
              <a:gd name="T71" fmla="*/ 647 h 1554"/>
              <a:gd name="T72" fmla="*/ 3719 w 7222"/>
              <a:gd name="T73" fmla="*/ 835 h 1554"/>
              <a:gd name="T74" fmla="*/ 3749 w 7222"/>
              <a:gd name="T75" fmla="*/ 727 h 1554"/>
              <a:gd name="T76" fmla="*/ 3947 w 7222"/>
              <a:gd name="T77" fmla="*/ 995 h 1554"/>
              <a:gd name="T78" fmla="*/ 3895 w 7222"/>
              <a:gd name="T79" fmla="*/ 893 h 1554"/>
              <a:gd name="T80" fmla="*/ 4074 w 7222"/>
              <a:gd name="T81" fmla="*/ 953 h 1554"/>
              <a:gd name="T82" fmla="*/ 4084 w 7222"/>
              <a:gd name="T83" fmla="*/ 983 h 1554"/>
              <a:gd name="T84" fmla="*/ 4621 w 7222"/>
              <a:gd name="T85" fmla="*/ 657 h 1554"/>
              <a:gd name="T86" fmla="*/ 5453 w 7222"/>
              <a:gd name="T87" fmla="*/ 628 h 1554"/>
              <a:gd name="T88" fmla="*/ 6146 w 7222"/>
              <a:gd name="T89" fmla="*/ 996 h 1554"/>
              <a:gd name="T90" fmla="*/ 6928 w 7222"/>
              <a:gd name="T91" fmla="*/ 628 h 1554"/>
              <a:gd name="T92" fmla="*/ 936 w 7222"/>
              <a:gd name="T93" fmla="*/ 438 h 1554"/>
              <a:gd name="T94" fmla="*/ 1034 w 7222"/>
              <a:gd name="T95" fmla="*/ 421 h 1554"/>
              <a:gd name="T96" fmla="*/ 1064 w 7222"/>
              <a:gd name="T97" fmla="*/ 290 h 1554"/>
              <a:gd name="T98" fmla="*/ 899 w 7222"/>
              <a:gd name="T99" fmla="*/ 119 h 1554"/>
              <a:gd name="T100" fmla="*/ 1118 w 7222"/>
              <a:gd name="T101" fmla="*/ 111 h 1554"/>
              <a:gd name="T102" fmla="*/ 942 w 7222"/>
              <a:gd name="T103" fmla="*/ 118 h 1554"/>
              <a:gd name="T104" fmla="*/ 1076 w 7222"/>
              <a:gd name="T105" fmla="*/ 258 h 1554"/>
              <a:gd name="T106" fmla="*/ 1099 w 7222"/>
              <a:gd name="T107" fmla="*/ 426 h 1554"/>
              <a:gd name="T108" fmla="*/ 1491 w 7222"/>
              <a:gd name="T109" fmla="*/ 110 h 1554"/>
              <a:gd name="T110" fmla="*/ 2310 w 7222"/>
              <a:gd name="T111" fmla="*/ 77 h 1554"/>
              <a:gd name="T112" fmla="*/ 2895 w 7222"/>
              <a:gd name="T113" fmla="*/ 110 h 1554"/>
              <a:gd name="T114" fmla="*/ 3623 w 7222"/>
              <a:gd name="T115" fmla="*/ 77 h 1554"/>
              <a:gd name="T116" fmla="*/ 4625 w 7222"/>
              <a:gd name="T117" fmla="*/ 444 h 1554"/>
              <a:gd name="T118" fmla="*/ 5408 w 7222"/>
              <a:gd name="T119" fmla="*/ 444 h 1554"/>
              <a:gd name="T120" fmla="*/ 6341 w 7222"/>
              <a:gd name="T121" fmla="*/ 35 h 1554"/>
              <a:gd name="T122" fmla="*/ 6345 w 7222"/>
              <a:gd name="T123" fmla="*/ 13 h 1554"/>
              <a:gd name="T124" fmla="*/ 6210 w 7222"/>
              <a:gd name="T125" fmla="*/ 0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2" h="1554">
                <a:moveTo>
                  <a:pt x="6593" y="444"/>
                </a:moveTo>
                <a:lnTo>
                  <a:pt x="6561" y="444"/>
                </a:lnTo>
                <a:lnTo>
                  <a:pt x="6561" y="105"/>
                </a:lnTo>
                <a:lnTo>
                  <a:pt x="6441" y="105"/>
                </a:lnTo>
                <a:lnTo>
                  <a:pt x="6441" y="77"/>
                </a:lnTo>
                <a:lnTo>
                  <a:pt x="6713" y="77"/>
                </a:lnTo>
                <a:lnTo>
                  <a:pt x="6713" y="105"/>
                </a:lnTo>
                <a:lnTo>
                  <a:pt x="6593" y="105"/>
                </a:lnTo>
                <a:lnTo>
                  <a:pt x="6593" y="444"/>
                </a:lnTo>
                <a:close/>
                <a:moveTo>
                  <a:pt x="888" y="1554"/>
                </a:moveTo>
                <a:lnTo>
                  <a:pt x="873" y="1553"/>
                </a:lnTo>
                <a:lnTo>
                  <a:pt x="867" y="1553"/>
                </a:lnTo>
                <a:lnTo>
                  <a:pt x="860" y="1551"/>
                </a:lnTo>
                <a:lnTo>
                  <a:pt x="853" y="1550"/>
                </a:lnTo>
                <a:lnTo>
                  <a:pt x="847" y="1548"/>
                </a:lnTo>
                <a:lnTo>
                  <a:pt x="841" y="1546"/>
                </a:lnTo>
                <a:lnTo>
                  <a:pt x="835" y="1543"/>
                </a:lnTo>
                <a:lnTo>
                  <a:pt x="829" y="1540"/>
                </a:lnTo>
                <a:lnTo>
                  <a:pt x="824" y="1537"/>
                </a:lnTo>
                <a:lnTo>
                  <a:pt x="818" y="1533"/>
                </a:lnTo>
                <a:lnTo>
                  <a:pt x="813" y="1529"/>
                </a:lnTo>
                <a:lnTo>
                  <a:pt x="808" y="1525"/>
                </a:lnTo>
                <a:lnTo>
                  <a:pt x="803" y="1520"/>
                </a:lnTo>
                <a:lnTo>
                  <a:pt x="798" y="1515"/>
                </a:lnTo>
                <a:lnTo>
                  <a:pt x="794" y="1509"/>
                </a:lnTo>
                <a:lnTo>
                  <a:pt x="813" y="1485"/>
                </a:lnTo>
                <a:lnTo>
                  <a:pt x="819" y="1493"/>
                </a:lnTo>
                <a:lnTo>
                  <a:pt x="827" y="1500"/>
                </a:lnTo>
                <a:lnTo>
                  <a:pt x="834" y="1507"/>
                </a:lnTo>
                <a:lnTo>
                  <a:pt x="843" y="1513"/>
                </a:lnTo>
                <a:lnTo>
                  <a:pt x="848" y="1516"/>
                </a:lnTo>
                <a:lnTo>
                  <a:pt x="852" y="1519"/>
                </a:lnTo>
                <a:lnTo>
                  <a:pt x="857" y="1521"/>
                </a:lnTo>
                <a:lnTo>
                  <a:pt x="863" y="1522"/>
                </a:lnTo>
                <a:lnTo>
                  <a:pt x="868" y="1524"/>
                </a:lnTo>
                <a:lnTo>
                  <a:pt x="874" y="1525"/>
                </a:lnTo>
                <a:lnTo>
                  <a:pt x="886" y="1526"/>
                </a:lnTo>
                <a:lnTo>
                  <a:pt x="896" y="1525"/>
                </a:lnTo>
                <a:lnTo>
                  <a:pt x="904" y="1524"/>
                </a:lnTo>
                <a:lnTo>
                  <a:pt x="912" y="1522"/>
                </a:lnTo>
                <a:lnTo>
                  <a:pt x="920" y="1519"/>
                </a:lnTo>
                <a:lnTo>
                  <a:pt x="927" y="1516"/>
                </a:lnTo>
                <a:lnTo>
                  <a:pt x="934" y="1512"/>
                </a:lnTo>
                <a:lnTo>
                  <a:pt x="940" y="1507"/>
                </a:lnTo>
                <a:lnTo>
                  <a:pt x="946" y="1502"/>
                </a:lnTo>
                <a:lnTo>
                  <a:pt x="951" y="1496"/>
                </a:lnTo>
                <a:lnTo>
                  <a:pt x="955" y="1490"/>
                </a:lnTo>
                <a:lnTo>
                  <a:pt x="959" y="1483"/>
                </a:lnTo>
                <a:lnTo>
                  <a:pt x="962" y="1475"/>
                </a:lnTo>
                <a:lnTo>
                  <a:pt x="965" y="1467"/>
                </a:lnTo>
                <a:lnTo>
                  <a:pt x="966" y="1459"/>
                </a:lnTo>
                <a:lnTo>
                  <a:pt x="967" y="1450"/>
                </a:lnTo>
                <a:lnTo>
                  <a:pt x="968" y="1441"/>
                </a:lnTo>
                <a:lnTo>
                  <a:pt x="968" y="1180"/>
                </a:lnTo>
                <a:lnTo>
                  <a:pt x="999" y="1180"/>
                </a:lnTo>
                <a:lnTo>
                  <a:pt x="999" y="1441"/>
                </a:lnTo>
                <a:lnTo>
                  <a:pt x="999" y="1448"/>
                </a:lnTo>
                <a:lnTo>
                  <a:pt x="998" y="1455"/>
                </a:lnTo>
                <a:lnTo>
                  <a:pt x="997" y="1468"/>
                </a:lnTo>
                <a:lnTo>
                  <a:pt x="996" y="1474"/>
                </a:lnTo>
                <a:lnTo>
                  <a:pt x="994" y="1480"/>
                </a:lnTo>
                <a:lnTo>
                  <a:pt x="990" y="1491"/>
                </a:lnTo>
                <a:lnTo>
                  <a:pt x="986" y="1501"/>
                </a:lnTo>
                <a:lnTo>
                  <a:pt x="980" y="1511"/>
                </a:lnTo>
                <a:lnTo>
                  <a:pt x="977" y="1515"/>
                </a:lnTo>
                <a:lnTo>
                  <a:pt x="974" y="1519"/>
                </a:lnTo>
                <a:lnTo>
                  <a:pt x="970" y="1523"/>
                </a:lnTo>
                <a:lnTo>
                  <a:pt x="967" y="1526"/>
                </a:lnTo>
                <a:lnTo>
                  <a:pt x="958" y="1533"/>
                </a:lnTo>
                <a:lnTo>
                  <a:pt x="950" y="1539"/>
                </a:lnTo>
                <a:lnTo>
                  <a:pt x="941" y="1543"/>
                </a:lnTo>
                <a:lnTo>
                  <a:pt x="931" y="1547"/>
                </a:lnTo>
                <a:lnTo>
                  <a:pt x="921" y="1550"/>
                </a:lnTo>
                <a:lnTo>
                  <a:pt x="911" y="1552"/>
                </a:lnTo>
                <a:lnTo>
                  <a:pt x="899" y="1554"/>
                </a:lnTo>
                <a:lnTo>
                  <a:pt x="888" y="1554"/>
                </a:lnTo>
                <a:close/>
                <a:moveTo>
                  <a:pt x="1392" y="1548"/>
                </a:moveTo>
                <a:lnTo>
                  <a:pt x="1356" y="1548"/>
                </a:lnTo>
                <a:lnTo>
                  <a:pt x="1320" y="1457"/>
                </a:lnTo>
                <a:lnTo>
                  <a:pt x="1125" y="1457"/>
                </a:lnTo>
                <a:lnTo>
                  <a:pt x="1089" y="1548"/>
                </a:lnTo>
                <a:lnTo>
                  <a:pt x="1052" y="1548"/>
                </a:lnTo>
                <a:lnTo>
                  <a:pt x="1203" y="1180"/>
                </a:lnTo>
                <a:lnTo>
                  <a:pt x="1242" y="1180"/>
                </a:lnTo>
                <a:lnTo>
                  <a:pt x="1392" y="1548"/>
                </a:lnTo>
                <a:close/>
                <a:moveTo>
                  <a:pt x="1309" y="1428"/>
                </a:moveTo>
                <a:lnTo>
                  <a:pt x="1223" y="1213"/>
                </a:lnTo>
                <a:lnTo>
                  <a:pt x="1135" y="1428"/>
                </a:lnTo>
                <a:lnTo>
                  <a:pt x="1309" y="1428"/>
                </a:lnTo>
                <a:close/>
                <a:moveTo>
                  <a:pt x="1737" y="1548"/>
                </a:moveTo>
                <a:lnTo>
                  <a:pt x="1705" y="1548"/>
                </a:lnTo>
                <a:lnTo>
                  <a:pt x="1705" y="1208"/>
                </a:lnTo>
                <a:lnTo>
                  <a:pt x="1585" y="1208"/>
                </a:lnTo>
                <a:lnTo>
                  <a:pt x="1585" y="1180"/>
                </a:lnTo>
                <a:lnTo>
                  <a:pt x="1858" y="1180"/>
                </a:lnTo>
                <a:lnTo>
                  <a:pt x="1858" y="1208"/>
                </a:lnTo>
                <a:lnTo>
                  <a:pt x="1737" y="1208"/>
                </a:lnTo>
                <a:lnTo>
                  <a:pt x="1737" y="1548"/>
                </a:lnTo>
                <a:close/>
                <a:moveTo>
                  <a:pt x="2078" y="1554"/>
                </a:moveTo>
                <a:lnTo>
                  <a:pt x="2069" y="1554"/>
                </a:lnTo>
                <a:lnTo>
                  <a:pt x="2061" y="1553"/>
                </a:lnTo>
                <a:lnTo>
                  <a:pt x="2045" y="1551"/>
                </a:lnTo>
                <a:lnTo>
                  <a:pt x="2037" y="1550"/>
                </a:lnTo>
                <a:lnTo>
                  <a:pt x="2030" y="1548"/>
                </a:lnTo>
                <a:lnTo>
                  <a:pt x="2023" y="1546"/>
                </a:lnTo>
                <a:lnTo>
                  <a:pt x="2016" y="1544"/>
                </a:lnTo>
                <a:lnTo>
                  <a:pt x="2003" y="1538"/>
                </a:lnTo>
                <a:lnTo>
                  <a:pt x="1997" y="1535"/>
                </a:lnTo>
                <a:lnTo>
                  <a:pt x="1991" y="1531"/>
                </a:lnTo>
                <a:lnTo>
                  <a:pt x="1981" y="1523"/>
                </a:lnTo>
                <a:lnTo>
                  <a:pt x="1976" y="1519"/>
                </a:lnTo>
                <a:lnTo>
                  <a:pt x="1971" y="1514"/>
                </a:lnTo>
                <a:lnTo>
                  <a:pt x="1963" y="1504"/>
                </a:lnTo>
                <a:lnTo>
                  <a:pt x="1959" y="1498"/>
                </a:lnTo>
                <a:lnTo>
                  <a:pt x="1955" y="1493"/>
                </a:lnTo>
                <a:lnTo>
                  <a:pt x="1949" y="1481"/>
                </a:lnTo>
                <a:lnTo>
                  <a:pt x="1946" y="1474"/>
                </a:lnTo>
                <a:lnTo>
                  <a:pt x="1944" y="1468"/>
                </a:lnTo>
                <a:lnTo>
                  <a:pt x="1940" y="1454"/>
                </a:lnTo>
                <a:lnTo>
                  <a:pt x="1938" y="1446"/>
                </a:lnTo>
                <a:lnTo>
                  <a:pt x="1937" y="1439"/>
                </a:lnTo>
                <a:lnTo>
                  <a:pt x="1935" y="1423"/>
                </a:lnTo>
                <a:lnTo>
                  <a:pt x="1935" y="1415"/>
                </a:lnTo>
                <a:lnTo>
                  <a:pt x="1935" y="1406"/>
                </a:lnTo>
                <a:lnTo>
                  <a:pt x="1935" y="1180"/>
                </a:lnTo>
                <a:lnTo>
                  <a:pt x="1967" y="1180"/>
                </a:lnTo>
                <a:lnTo>
                  <a:pt x="1967" y="1406"/>
                </a:lnTo>
                <a:lnTo>
                  <a:pt x="1967" y="1420"/>
                </a:lnTo>
                <a:lnTo>
                  <a:pt x="1969" y="1432"/>
                </a:lnTo>
                <a:lnTo>
                  <a:pt x="1970" y="1439"/>
                </a:lnTo>
                <a:lnTo>
                  <a:pt x="1971" y="1445"/>
                </a:lnTo>
                <a:lnTo>
                  <a:pt x="1974" y="1456"/>
                </a:lnTo>
                <a:lnTo>
                  <a:pt x="1978" y="1467"/>
                </a:lnTo>
                <a:lnTo>
                  <a:pt x="1980" y="1472"/>
                </a:lnTo>
                <a:lnTo>
                  <a:pt x="1983" y="1476"/>
                </a:lnTo>
                <a:lnTo>
                  <a:pt x="1989" y="1485"/>
                </a:lnTo>
                <a:lnTo>
                  <a:pt x="1992" y="1490"/>
                </a:lnTo>
                <a:lnTo>
                  <a:pt x="1995" y="1494"/>
                </a:lnTo>
                <a:lnTo>
                  <a:pt x="1999" y="1497"/>
                </a:lnTo>
                <a:lnTo>
                  <a:pt x="2003" y="1501"/>
                </a:lnTo>
                <a:lnTo>
                  <a:pt x="2011" y="1507"/>
                </a:lnTo>
                <a:lnTo>
                  <a:pt x="2020" y="1513"/>
                </a:lnTo>
                <a:lnTo>
                  <a:pt x="2025" y="1515"/>
                </a:lnTo>
                <a:lnTo>
                  <a:pt x="2030" y="1517"/>
                </a:lnTo>
                <a:lnTo>
                  <a:pt x="2041" y="1521"/>
                </a:lnTo>
                <a:lnTo>
                  <a:pt x="2053" y="1523"/>
                </a:lnTo>
                <a:lnTo>
                  <a:pt x="2059" y="1524"/>
                </a:lnTo>
                <a:lnTo>
                  <a:pt x="2065" y="1525"/>
                </a:lnTo>
                <a:lnTo>
                  <a:pt x="2078" y="1526"/>
                </a:lnTo>
                <a:lnTo>
                  <a:pt x="2091" y="1525"/>
                </a:lnTo>
                <a:lnTo>
                  <a:pt x="2104" y="1523"/>
                </a:lnTo>
                <a:lnTo>
                  <a:pt x="2115" y="1521"/>
                </a:lnTo>
                <a:lnTo>
                  <a:pt x="2126" y="1517"/>
                </a:lnTo>
                <a:lnTo>
                  <a:pt x="2131" y="1515"/>
                </a:lnTo>
                <a:lnTo>
                  <a:pt x="2136" y="1513"/>
                </a:lnTo>
                <a:lnTo>
                  <a:pt x="2145" y="1507"/>
                </a:lnTo>
                <a:lnTo>
                  <a:pt x="2149" y="1504"/>
                </a:lnTo>
                <a:lnTo>
                  <a:pt x="2154" y="1501"/>
                </a:lnTo>
                <a:lnTo>
                  <a:pt x="2157" y="1497"/>
                </a:lnTo>
                <a:lnTo>
                  <a:pt x="2161" y="1494"/>
                </a:lnTo>
                <a:lnTo>
                  <a:pt x="2168" y="1485"/>
                </a:lnTo>
                <a:lnTo>
                  <a:pt x="2173" y="1476"/>
                </a:lnTo>
                <a:lnTo>
                  <a:pt x="2178" y="1467"/>
                </a:lnTo>
                <a:lnTo>
                  <a:pt x="2182" y="1456"/>
                </a:lnTo>
                <a:lnTo>
                  <a:pt x="2186" y="1445"/>
                </a:lnTo>
                <a:lnTo>
                  <a:pt x="2187" y="1439"/>
                </a:lnTo>
                <a:lnTo>
                  <a:pt x="2188" y="1432"/>
                </a:lnTo>
                <a:lnTo>
                  <a:pt x="2189" y="1420"/>
                </a:lnTo>
                <a:lnTo>
                  <a:pt x="2190" y="1406"/>
                </a:lnTo>
                <a:lnTo>
                  <a:pt x="2190" y="1180"/>
                </a:lnTo>
                <a:lnTo>
                  <a:pt x="2222" y="1180"/>
                </a:lnTo>
                <a:lnTo>
                  <a:pt x="2222" y="1406"/>
                </a:lnTo>
                <a:lnTo>
                  <a:pt x="2221" y="1423"/>
                </a:lnTo>
                <a:lnTo>
                  <a:pt x="2219" y="1439"/>
                </a:lnTo>
                <a:lnTo>
                  <a:pt x="2216" y="1454"/>
                </a:lnTo>
                <a:lnTo>
                  <a:pt x="2213" y="1468"/>
                </a:lnTo>
                <a:lnTo>
                  <a:pt x="2207" y="1481"/>
                </a:lnTo>
                <a:lnTo>
                  <a:pt x="2201" y="1493"/>
                </a:lnTo>
                <a:lnTo>
                  <a:pt x="2194" y="1504"/>
                </a:lnTo>
                <a:lnTo>
                  <a:pt x="2185" y="1514"/>
                </a:lnTo>
                <a:lnTo>
                  <a:pt x="2176" y="1524"/>
                </a:lnTo>
                <a:lnTo>
                  <a:pt x="2165" y="1532"/>
                </a:lnTo>
                <a:lnTo>
                  <a:pt x="2160" y="1535"/>
                </a:lnTo>
                <a:lnTo>
                  <a:pt x="2153" y="1538"/>
                </a:lnTo>
                <a:lnTo>
                  <a:pt x="2147" y="1541"/>
                </a:lnTo>
                <a:lnTo>
                  <a:pt x="2141" y="1544"/>
                </a:lnTo>
                <a:lnTo>
                  <a:pt x="2134" y="1546"/>
                </a:lnTo>
                <a:lnTo>
                  <a:pt x="2127" y="1548"/>
                </a:lnTo>
                <a:lnTo>
                  <a:pt x="2112" y="1551"/>
                </a:lnTo>
                <a:lnTo>
                  <a:pt x="2095" y="1553"/>
                </a:lnTo>
                <a:lnTo>
                  <a:pt x="2087" y="1554"/>
                </a:lnTo>
                <a:lnTo>
                  <a:pt x="2078" y="1554"/>
                </a:lnTo>
                <a:close/>
                <a:moveTo>
                  <a:pt x="2578" y="1548"/>
                </a:moveTo>
                <a:lnTo>
                  <a:pt x="2540" y="1548"/>
                </a:lnTo>
                <a:lnTo>
                  <a:pt x="2436" y="1395"/>
                </a:lnTo>
                <a:lnTo>
                  <a:pt x="2355" y="1395"/>
                </a:lnTo>
                <a:lnTo>
                  <a:pt x="2355" y="1548"/>
                </a:lnTo>
                <a:lnTo>
                  <a:pt x="2324" y="1548"/>
                </a:lnTo>
                <a:lnTo>
                  <a:pt x="2324" y="1180"/>
                </a:lnTo>
                <a:lnTo>
                  <a:pt x="2461" y="1180"/>
                </a:lnTo>
                <a:lnTo>
                  <a:pt x="2473" y="1180"/>
                </a:lnTo>
                <a:lnTo>
                  <a:pt x="2479" y="1181"/>
                </a:lnTo>
                <a:lnTo>
                  <a:pt x="2484" y="1182"/>
                </a:lnTo>
                <a:lnTo>
                  <a:pt x="2490" y="1183"/>
                </a:lnTo>
                <a:lnTo>
                  <a:pt x="2495" y="1184"/>
                </a:lnTo>
                <a:lnTo>
                  <a:pt x="2506" y="1187"/>
                </a:lnTo>
                <a:lnTo>
                  <a:pt x="2515" y="1191"/>
                </a:lnTo>
                <a:lnTo>
                  <a:pt x="2524" y="1196"/>
                </a:lnTo>
                <a:lnTo>
                  <a:pt x="2533" y="1202"/>
                </a:lnTo>
                <a:lnTo>
                  <a:pt x="2541" y="1208"/>
                </a:lnTo>
                <a:lnTo>
                  <a:pt x="2545" y="1212"/>
                </a:lnTo>
                <a:lnTo>
                  <a:pt x="2548" y="1216"/>
                </a:lnTo>
                <a:lnTo>
                  <a:pt x="2552" y="1220"/>
                </a:lnTo>
                <a:lnTo>
                  <a:pt x="2555" y="1224"/>
                </a:lnTo>
                <a:lnTo>
                  <a:pt x="2560" y="1232"/>
                </a:lnTo>
                <a:lnTo>
                  <a:pt x="2562" y="1237"/>
                </a:lnTo>
                <a:lnTo>
                  <a:pt x="2565" y="1242"/>
                </a:lnTo>
                <a:lnTo>
                  <a:pt x="2568" y="1252"/>
                </a:lnTo>
                <a:lnTo>
                  <a:pt x="2570" y="1258"/>
                </a:lnTo>
                <a:lnTo>
                  <a:pt x="2571" y="1263"/>
                </a:lnTo>
                <a:lnTo>
                  <a:pt x="2572" y="1275"/>
                </a:lnTo>
                <a:lnTo>
                  <a:pt x="2573" y="1287"/>
                </a:lnTo>
                <a:lnTo>
                  <a:pt x="2573" y="1293"/>
                </a:lnTo>
                <a:lnTo>
                  <a:pt x="2572" y="1299"/>
                </a:lnTo>
                <a:lnTo>
                  <a:pt x="2571" y="1311"/>
                </a:lnTo>
                <a:lnTo>
                  <a:pt x="2568" y="1322"/>
                </a:lnTo>
                <a:lnTo>
                  <a:pt x="2565" y="1332"/>
                </a:lnTo>
                <a:lnTo>
                  <a:pt x="2561" y="1341"/>
                </a:lnTo>
                <a:lnTo>
                  <a:pt x="2556" y="1349"/>
                </a:lnTo>
                <a:lnTo>
                  <a:pt x="2553" y="1353"/>
                </a:lnTo>
                <a:lnTo>
                  <a:pt x="2550" y="1357"/>
                </a:lnTo>
                <a:lnTo>
                  <a:pt x="2543" y="1364"/>
                </a:lnTo>
                <a:lnTo>
                  <a:pt x="2535" y="1371"/>
                </a:lnTo>
                <a:lnTo>
                  <a:pt x="2527" y="1376"/>
                </a:lnTo>
                <a:lnTo>
                  <a:pt x="2519" y="1381"/>
                </a:lnTo>
                <a:lnTo>
                  <a:pt x="2510" y="1385"/>
                </a:lnTo>
                <a:lnTo>
                  <a:pt x="2501" y="1388"/>
                </a:lnTo>
                <a:lnTo>
                  <a:pt x="2492" y="1391"/>
                </a:lnTo>
                <a:lnTo>
                  <a:pt x="2482" y="1392"/>
                </a:lnTo>
                <a:lnTo>
                  <a:pt x="2471" y="1393"/>
                </a:lnTo>
                <a:lnTo>
                  <a:pt x="2578" y="1548"/>
                </a:lnTo>
                <a:close/>
                <a:moveTo>
                  <a:pt x="2459" y="1367"/>
                </a:moveTo>
                <a:lnTo>
                  <a:pt x="2468" y="1366"/>
                </a:lnTo>
                <a:lnTo>
                  <a:pt x="2476" y="1365"/>
                </a:lnTo>
                <a:lnTo>
                  <a:pt x="2484" y="1363"/>
                </a:lnTo>
                <a:lnTo>
                  <a:pt x="2492" y="1361"/>
                </a:lnTo>
                <a:lnTo>
                  <a:pt x="2499" y="1358"/>
                </a:lnTo>
                <a:lnTo>
                  <a:pt x="2506" y="1354"/>
                </a:lnTo>
                <a:lnTo>
                  <a:pt x="2509" y="1352"/>
                </a:lnTo>
                <a:lnTo>
                  <a:pt x="2512" y="1349"/>
                </a:lnTo>
                <a:lnTo>
                  <a:pt x="2518" y="1344"/>
                </a:lnTo>
                <a:lnTo>
                  <a:pt x="2523" y="1339"/>
                </a:lnTo>
                <a:lnTo>
                  <a:pt x="2527" y="1333"/>
                </a:lnTo>
                <a:lnTo>
                  <a:pt x="2529" y="1329"/>
                </a:lnTo>
                <a:lnTo>
                  <a:pt x="2531" y="1326"/>
                </a:lnTo>
                <a:lnTo>
                  <a:pt x="2534" y="1319"/>
                </a:lnTo>
                <a:lnTo>
                  <a:pt x="2537" y="1312"/>
                </a:lnTo>
                <a:lnTo>
                  <a:pt x="2539" y="1304"/>
                </a:lnTo>
                <a:lnTo>
                  <a:pt x="2540" y="1296"/>
                </a:lnTo>
                <a:lnTo>
                  <a:pt x="2540" y="1287"/>
                </a:lnTo>
                <a:lnTo>
                  <a:pt x="2540" y="1279"/>
                </a:lnTo>
                <a:lnTo>
                  <a:pt x="2539" y="1270"/>
                </a:lnTo>
                <a:lnTo>
                  <a:pt x="2537" y="1263"/>
                </a:lnTo>
                <a:lnTo>
                  <a:pt x="2534" y="1255"/>
                </a:lnTo>
                <a:lnTo>
                  <a:pt x="2531" y="1248"/>
                </a:lnTo>
                <a:lnTo>
                  <a:pt x="2527" y="1242"/>
                </a:lnTo>
                <a:lnTo>
                  <a:pt x="2523" y="1236"/>
                </a:lnTo>
                <a:lnTo>
                  <a:pt x="2520" y="1233"/>
                </a:lnTo>
                <a:lnTo>
                  <a:pt x="2518" y="1230"/>
                </a:lnTo>
                <a:lnTo>
                  <a:pt x="2512" y="1225"/>
                </a:lnTo>
                <a:lnTo>
                  <a:pt x="2506" y="1221"/>
                </a:lnTo>
                <a:lnTo>
                  <a:pt x="2499" y="1217"/>
                </a:lnTo>
                <a:lnTo>
                  <a:pt x="2496" y="1216"/>
                </a:lnTo>
                <a:lnTo>
                  <a:pt x="2492" y="1214"/>
                </a:lnTo>
                <a:lnTo>
                  <a:pt x="2484" y="1212"/>
                </a:lnTo>
                <a:lnTo>
                  <a:pt x="2476" y="1210"/>
                </a:lnTo>
                <a:lnTo>
                  <a:pt x="2468" y="1209"/>
                </a:lnTo>
                <a:lnTo>
                  <a:pt x="2459" y="1208"/>
                </a:lnTo>
                <a:lnTo>
                  <a:pt x="2355" y="1208"/>
                </a:lnTo>
                <a:lnTo>
                  <a:pt x="2355" y="1367"/>
                </a:lnTo>
                <a:lnTo>
                  <a:pt x="2459" y="1367"/>
                </a:lnTo>
                <a:close/>
                <a:moveTo>
                  <a:pt x="2809" y="1548"/>
                </a:moveTo>
                <a:lnTo>
                  <a:pt x="2770" y="1548"/>
                </a:lnTo>
                <a:lnTo>
                  <a:pt x="2619" y="1180"/>
                </a:lnTo>
                <a:lnTo>
                  <a:pt x="2656" y="1180"/>
                </a:lnTo>
                <a:lnTo>
                  <a:pt x="2790" y="1512"/>
                </a:lnTo>
                <a:lnTo>
                  <a:pt x="2923" y="1180"/>
                </a:lnTo>
                <a:lnTo>
                  <a:pt x="2960" y="1180"/>
                </a:lnTo>
                <a:lnTo>
                  <a:pt x="2809" y="1548"/>
                </a:lnTo>
                <a:close/>
                <a:moveTo>
                  <a:pt x="3296" y="1548"/>
                </a:moveTo>
                <a:lnTo>
                  <a:pt x="3259" y="1548"/>
                </a:lnTo>
                <a:lnTo>
                  <a:pt x="3223" y="1457"/>
                </a:lnTo>
                <a:lnTo>
                  <a:pt x="3028" y="1457"/>
                </a:lnTo>
                <a:lnTo>
                  <a:pt x="2992" y="1548"/>
                </a:lnTo>
                <a:lnTo>
                  <a:pt x="2956" y="1548"/>
                </a:lnTo>
                <a:lnTo>
                  <a:pt x="3106" y="1180"/>
                </a:lnTo>
                <a:lnTo>
                  <a:pt x="3145" y="1180"/>
                </a:lnTo>
                <a:lnTo>
                  <a:pt x="3296" y="1548"/>
                </a:lnTo>
                <a:close/>
                <a:moveTo>
                  <a:pt x="3213" y="1428"/>
                </a:moveTo>
                <a:lnTo>
                  <a:pt x="3126" y="1213"/>
                </a:lnTo>
                <a:lnTo>
                  <a:pt x="3039" y="1428"/>
                </a:lnTo>
                <a:lnTo>
                  <a:pt x="3213" y="1428"/>
                </a:lnTo>
                <a:close/>
                <a:moveTo>
                  <a:pt x="3563" y="1548"/>
                </a:moveTo>
                <a:lnTo>
                  <a:pt x="3353" y="1548"/>
                </a:lnTo>
                <a:lnTo>
                  <a:pt x="3353" y="1180"/>
                </a:lnTo>
                <a:lnTo>
                  <a:pt x="3385" y="1180"/>
                </a:lnTo>
                <a:lnTo>
                  <a:pt x="3385" y="1519"/>
                </a:lnTo>
                <a:lnTo>
                  <a:pt x="3563" y="1519"/>
                </a:lnTo>
                <a:lnTo>
                  <a:pt x="3563" y="1548"/>
                </a:lnTo>
                <a:close/>
                <a:moveTo>
                  <a:pt x="3841" y="1548"/>
                </a:moveTo>
                <a:lnTo>
                  <a:pt x="3631" y="1548"/>
                </a:lnTo>
                <a:lnTo>
                  <a:pt x="3631" y="1180"/>
                </a:lnTo>
                <a:lnTo>
                  <a:pt x="3663" y="1180"/>
                </a:lnTo>
                <a:lnTo>
                  <a:pt x="3663" y="1519"/>
                </a:lnTo>
                <a:lnTo>
                  <a:pt x="3841" y="1519"/>
                </a:lnTo>
                <a:lnTo>
                  <a:pt x="3841" y="1548"/>
                </a:lnTo>
                <a:close/>
                <a:moveTo>
                  <a:pt x="3948" y="1548"/>
                </a:moveTo>
                <a:lnTo>
                  <a:pt x="3917" y="1548"/>
                </a:lnTo>
                <a:lnTo>
                  <a:pt x="3917" y="1180"/>
                </a:lnTo>
                <a:lnTo>
                  <a:pt x="3948" y="1180"/>
                </a:lnTo>
                <a:lnTo>
                  <a:pt x="3948" y="1548"/>
                </a:lnTo>
                <a:close/>
                <a:moveTo>
                  <a:pt x="4165" y="1554"/>
                </a:moveTo>
                <a:lnTo>
                  <a:pt x="4154" y="1554"/>
                </a:lnTo>
                <a:lnTo>
                  <a:pt x="4143" y="1553"/>
                </a:lnTo>
                <a:lnTo>
                  <a:pt x="4132" y="1552"/>
                </a:lnTo>
                <a:lnTo>
                  <a:pt x="4122" y="1550"/>
                </a:lnTo>
                <a:lnTo>
                  <a:pt x="4113" y="1547"/>
                </a:lnTo>
                <a:lnTo>
                  <a:pt x="4103" y="1545"/>
                </a:lnTo>
                <a:lnTo>
                  <a:pt x="4094" y="1541"/>
                </a:lnTo>
                <a:lnTo>
                  <a:pt x="4085" y="1538"/>
                </a:lnTo>
                <a:lnTo>
                  <a:pt x="4077" y="1533"/>
                </a:lnTo>
                <a:lnTo>
                  <a:pt x="4069" y="1529"/>
                </a:lnTo>
                <a:lnTo>
                  <a:pt x="4062" y="1524"/>
                </a:lnTo>
                <a:lnTo>
                  <a:pt x="4055" y="1519"/>
                </a:lnTo>
                <a:lnTo>
                  <a:pt x="4048" y="1514"/>
                </a:lnTo>
                <a:lnTo>
                  <a:pt x="4042" y="1508"/>
                </a:lnTo>
                <a:lnTo>
                  <a:pt x="4036" y="1502"/>
                </a:lnTo>
                <a:lnTo>
                  <a:pt x="4030" y="1496"/>
                </a:lnTo>
                <a:lnTo>
                  <a:pt x="4051" y="1472"/>
                </a:lnTo>
                <a:lnTo>
                  <a:pt x="4060" y="1482"/>
                </a:lnTo>
                <a:lnTo>
                  <a:pt x="4066" y="1487"/>
                </a:lnTo>
                <a:lnTo>
                  <a:pt x="4071" y="1492"/>
                </a:lnTo>
                <a:lnTo>
                  <a:pt x="4084" y="1501"/>
                </a:lnTo>
                <a:lnTo>
                  <a:pt x="4097" y="1509"/>
                </a:lnTo>
                <a:lnTo>
                  <a:pt x="4105" y="1513"/>
                </a:lnTo>
                <a:lnTo>
                  <a:pt x="4113" y="1516"/>
                </a:lnTo>
                <a:lnTo>
                  <a:pt x="4121" y="1519"/>
                </a:lnTo>
                <a:lnTo>
                  <a:pt x="4129" y="1521"/>
                </a:lnTo>
                <a:lnTo>
                  <a:pt x="4138" y="1523"/>
                </a:lnTo>
                <a:lnTo>
                  <a:pt x="4147" y="1524"/>
                </a:lnTo>
                <a:lnTo>
                  <a:pt x="4156" y="1525"/>
                </a:lnTo>
                <a:lnTo>
                  <a:pt x="4166" y="1526"/>
                </a:lnTo>
                <a:lnTo>
                  <a:pt x="4175" y="1525"/>
                </a:lnTo>
                <a:lnTo>
                  <a:pt x="4184" y="1525"/>
                </a:lnTo>
                <a:lnTo>
                  <a:pt x="4192" y="1524"/>
                </a:lnTo>
                <a:lnTo>
                  <a:pt x="4199" y="1522"/>
                </a:lnTo>
                <a:lnTo>
                  <a:pt x="4206" y="1521"/>
                </a:lnTo>
                <a:lnTo>
                  <a:pt x="4213" y="1519"/>
                </a:lnTo>
                <a:lnTo>
                  <a:pt x="4219" y="1516"/>
                </a:lnTo>
                <a:lnTo>
                  <a:pt x="4224" y="1513"/>
                </a:lnTo>
                <a:lnTo>
                  <a:pt x="4234" y="1507"/>
                </a:lnTo>
                <a:lnTo>
                  <a:pt x="4243" y="1501"/>
                </a:lnTo>
                <a:lnTo>
                  <a:pt x="4246" y="1497"/>
                </a:lnTo>
                <a:lnTo>
                  <a:pt x="4249" y="1493"/>
                </a:lnTo>
                <a:lnTo>
                  <a:pt x="4252" y="1489"/>
                </a:lnTo>
                <a:lnTo>
                  <a:pt x="4254" y="1485"/>
                </a:lnTo>
                <a:lnTo>
                  <a:pt x="4258" y="1477"/>
                </a:lnTo>
                <a:lnTo>
                  <a:pt x="4261" y="1468"/>
                </a:lnTo>
                <a:lnTo>
                  <a:pt x="4262" y="1460"/>
                </a:lnTo>
                <a:lnTo>
                  <a:pt x="4263" y="1452"/>
                </a:lnTo>
                <a:lnTo>
                  <a:pt x="4262" y="1444"/>
                </a:lnTo>
                <a:lnTo>
                  <a:pt x="4261" y="1437"/>
                </a:lnTo>
                <a:lnTo>
                  <a:pt x="4259" y="1431"/>
                </a:lnTo>
                <a:lnTo>
                  <a:pt x="4256" y="1424"/>
                </a:lnTo>
                <a:lnTo>
                  <a:pt x="4253" y="1419"/>
                </a:lnTo>
                <a:lnTo>
                  <a:pt x="4249" y="1413"/>
                </a:lnTo>
                <a:lnTo>
                  <a:pt x="4245" y="1408"/>
                </a:lnTo>
                <a:lnTo>
                  <a:pt x="4242" y="1406"/>
                </a:lnTo>
                <a:lnTo>
                  <a:pt x="4240" y="1404"/>
                </a:lnTo>
                <a:lnTo>
                  <a:pt x="4228" y="1397"/>
                </a:lnTo>
                <a:lnTo>
                  <a:pt x="4222" y="1393"/>
                </a:lnTo>
                <a:lnTo>
                  <a:pt x="4215" y="1390"/>
                </a:lnTo>
                <a:lnTo>
                  <a:pt x="4201" y="1384"/>
                </a:lnTo>
                <a:lnTo>
                  <a:pt x="4185" y="1379"/>
                </a:lnTo>
                <a:lnTo>
                  <a:pt x="4152" y="1370"/>
                </a:lnTo>
                <a:lnTo>
                  <a:pt x="4120" y="1360"/>
                </a:lnTo>
                <a:lnTo>
                  <a:pt x="4112" y="1357"/>
                </a:lnTo>
                <a:lnTo>
                  <a:pt x="4104" y="1354"/>
                </a:lnTo>
                <a:lnTo>
                  <a:pt x="4097" y="1351"/>
                </a:lnTo>
                <a:lnTo>
                  <a:pt x="4090" y="1347"/>
                </a:lnTo>
                <a:lnTo>
                  <a:pt x="4083" y="1343"/>
                </a:lnTo>
                <a:lnTo>
                  <a:pt x="4077" y="1339"/>
                </a:lnTo>
                <a:lnTo>
                  <a:pt x="4065" y="1329"/>
                </a:lnTo>
                <a:lnTo>
                  <a:pt x="4060" y="1324"/>
                </a:lnTo>
                <a:lnTo>
                  <a:pt x="4055" y="1318"/>
                </a:lnTo>
                <a:lnTo>
                  <a:pt x="4051" y="1312"/>
                </a:lnTo>
                <a:lnTo>
                  <a:pt x="4048" y="1305"/>
                </a:lnTo>
                <a:lnTo>
                  <a:pt x="4046" y="1298"/>
                </a:lnTo>
                <a:lnTo>
                  <a:pt x="4044" y="1290"/>
                </a:lnTo>
                <a:lnTo>
                  <a:pt x="4043" y="1281"/>
                </a:lnTo>
                <a:lnTo>
                  <a:pt x="4042" y="1272"/>
                </a:lnTo>
                <a:lnTo>
                  <a:pt x="4043" y="1261"/>
                </a:lnTo>
                <a:lnTo>
                  <a:pt x="4045" y="1250"/>
                </a:lnTo>
                <a:lnTo>
                  <a:pt x="4046" y="1245"/>
                </a:lnTo>
                <a:lnTo>
                  <a:pt x="4048" y="1240"/>
                </a:lnTo>
                <a:lnTo>
                  <a:pt x="4052" y="1231"/>
                </a:lnTo>
                <a:lnTo>
                  <a:pt x="4056" y="1222"/>
                </a:lnTo>
                <a:lnTo>
                  <a:pt x="4059" y="1218"/>
                </a:lnTo>
                <a:lnTo>
                  <a:pt x="4062" y="1214"/>
                </a:lnTo>
                <a:lnTo>
                  <a:pt x="4069" y="1207"/>
                </a:lnTo>
                <a:lnTo>
                  <a:pt x="4077" y="1200"/>
                </a:lnTo>
                <a:lnTo>
                  <a:pt x="4082" y="1197"/>
                </a:lnTo>
                <a:lnTo>
                  <a:pt x="4086" y="1194"/>
                </a:lnTo>
                <a:lnTo>
                  <a:pt x="4095" y="1189"/>
                </a:lnTo>
                <a:lnTo>
                  <a:pt x="4105" y="1184"/>
                </a:lnTo>
                <a:lnTo>
                  <a:pt x="4116" y="1181"/>
                </a:lnTo>
                <a:lnTo>
                  <a:pt x="4127" y="1178"/>
                </a:lnTo>
                <a:lnTo>
                  <a:pt x="4138" y="1175"/>
                </a:lnTo>
                <a:lnTo>
                  <a:pt x="4150" y="1174"/>
                </a:lnTo>
                <a:lnTo>
                  <a:pt x="4163" y="1174"/>
                </a:lnTo>
                <a:lnTo>
                  <a:pt x="4173" y="1174"/>
                </a:lnTo>
                <a:lnTo>
                  <a:pt x="4183" y="1175"/>
                </a:lnTo>
                <a:lnTo>
                  <a:pt x="4192" y="1176"/>
                </a:lnTo>
                <a:lnTo>
                  <a:pt x="4201" y="1177"/>
                </a:lnTo>
                <a:lnTo>
                  <a:pt x="4210" y="1179"/>
                </a:lnTo>
                <a:lnTo>
                  <a:pt x="4219" y="1181"/>
                </a:lnTo>
                <a:lnTo>
                  <a:pt x="4227" y="1184"/>
                </a:lnTo>
                <a:lnTo>
                  <a:pt x="4235" y="1187"/>
                </a:lnTo>
                <a:lnTo>
                  <a:pt x="4243" y="1191"/>
                </a:lnTo>
                <a:lnTo>
                  <a:pt x="4250" y="1195"/>
                </a:lnTo>
                <a:lnTo>
                  <a:pt x="4264" y="1204"/>
                </a:lnTo>
                <a:lnTo>
                  <a:pt x="4270" y="1209"/>
                </a:lnTo>
                <a:lnTo>
                  <a:pt x="4276" y="1214"/>
                </a:lnTo>
                <a:lnTo>
                  <a:pt x="4282" y="1219"/>
                </a:lnTo>
                <a:lnTo>
                  <a:pt x="4287" y="1225"/>
                </a:lnTo>
                <a:lnTo>
                  <a:pt x="4266" y="1249"/>
                </a:lnTo>
                <a:lnTo>
                  <a:pt x="4261" y="1243"/>
                </a:lnTo>
                <a:lnTo>
                  <a:pt x="4256" y="1237"/>
                </a:lnTo>
                <a:lnTo>
                  <a:pt x="4250" y="1232"/>
                </a:lnTo>
                <a:lnTo>
                  <a:pt x="4245" y="1228"/>
                </a:lnTo>
                <a:lnTo>
                  <a:pt x="4239" y="1224"/>
                </a:lnTo>
                <a:lnTo>
                  <a:pt x="4232" y="1220"/>
                </a:lnTo>
                <a:lnTo>
                  <a:pt x="4226" y="1216"/>
                </a:lnTo>
                <a:lnTo>
                  <a:pt x="4219" y="1213"/>
                </a:lnTo>
                <a:lnTo>
                  <a:pt x="4213" y="1211"/>
                </a:lnTo>
                <a:lnTo>
                  <a:pt x="4206" y="1208"/>
                </a:lnTo>
                <a:lnTo>
                  <a:pt x="4199" y="1207"/>
                </a:lnTo>
                <a:lnTo>
                  <a:pt x="4191" y="1205"/>
                </a:lnTo>
                <a:lnTo>
                  <a:pt x="4184" y="1204"/>
                </a:lnTo>
                <a:lnTo>
                  <a:pt x="4176" y="1203"/>
                </a:lnTo>
                <a:lnTo>
                  <a:pt x="4161" y="1202"/>
                </a:lnTo>
                <a:lnTo>
                  <a:pt x="4152" y="1203"/>
                </a:lnTo>
                <a:lnTo>
                  <a:pt x="4143" y="1204"/>
                </a:lnTo>
                <a:lnTo>
                  <a:pt x="4135" y="1205"/>
                </a:lnTo>
                <a:lnTo>
                  <a:pt x="4127" y="1207"/>
                </a:lnTo>
                <a:lnTo>
                  <a:pt x="4119" y="1210"/>
                </a:lnTo>
                <a:lnTo>
                  <a:pt x="4112" y="1213"/>
                </a:lnTo>
                <a:lnTo>
                  <a:pt x="4106" y="1217"/>
                </a:lnTo>
                <a:lnTo>
                  <a:pt x="4100" y="1221"/>
                </a:lnTo>
                <a:lnTo>
                  <a:pt x="4094" y="1226"/>
                </a:lnTo>
                <a:lnTo>
                  <a:pt x="4089" y="1231"/>
                </a:lnTo>
                <a:lnTo>
                  <a:pt x="4085" y="1237"/>
                </a:lnTo>
                <a:lnTo>
                  <a:pt x="4082" y="1243"/>
                </a:lnTo>
                <a:lnTo>
                  <a:pt x="4079" y="1249"/>
                </a:lnTo>
                <a:lnTo>
                  <a:pt x="4077" y="1256"/>
                </a:lnTo>
                <a:lnTo>
                  <a:pt x="4076" y="1263"/>
                </a:lnTo>
                <a:lnTo>
                  <a:pt x="4075" y="1270"/>
                </a:lnTo>
                <a:lnTo>
                  <a:pt x="4076" y="1277"/>
                </a:lnTo>
                <a:lnTo>
                  <a:pt x="4077" y="1283"/>
                </a:lnTo>
                <a:lnTo>
                  <a:pt x="4079" y="1289"/>
                </a:lnTo>
                <a:lnTo>
                  <a:pt x="4081" y="1294"/>
                </a:lnTo>
                <a:lnTo>
                  <a:pt x="4084" y="1299"/>
                </a:lnTo>
                <a:lnTo>
                  <a:pt x="4088" y="1304"/>
                </a:lnTo>
                <a:lnTo>
                  <a:pt x="4093" y="1308"/>
                </a:lnTo>
                <a:lnTo>
                  <a:pt x="4098" y="1312"/>
                </a:lnTo>
                <a:lnTo>
                  <a:pt x="4110" y="1319"/>
                </a:lnTo>
                <a:lnTo>
                  <a:pt x="4116" y="1322"/>
                </a:lnTo>
                <a:lnTo>
                  <a:pt x="4123" y="1325"/>
                </a:lnTo>
                <a:lnTo>
                  <a:pt x="4130" y="1327"/>
                </a:lnTo>
                <a:lnTo>
                  <a:pt x="4137" y="1330"/>
                </a:lnTo>
                <a:lnTo>
                  <a:pt x="4153" y="1335"/>
                </a:lnTo>
                <a:lnTo>
                  <a:pt x="4185" y="1344"/>
                </a:lnTo>
                <a:lnTo>
                  <a:pt x="4218" y="1354"/>
                </a:lnTo>
                <a:lnTo>
                  <a:pt x="4226" y="1357"/>
                </a:lnTo>
                <a:lnTo>
                  <a:pt x="4234" y="1361"/>
                </a:lnTo>
                <a:lnTo>
                  <a:pt x="4237" y="1363"/>
                </a:lnTo>
                <a:lnTo>
                  <a:pt x="4241" y="1364"/>
                </a:lnTo>
                <a:lnTo>
                  <a:pt x="4248" y="1368"/>
                </a:lnTo>
                <a:lnTo>
                  <a:pt x="4255" y="1373"/>
                </a:lnTo>
                <a:lnTo>
                  <a:pt x="4261" y="1377"/>
                </a:lnTo>
                <a:lnTo>
                  <a:pt x="4267" y="1382"/>
                </a:lnTo>
                <a:lnTo>
                  <a:pt x="4273" y="1388"/>
                </a:lnTo>
                <a:lnTo>
                  <a:pt x="4278" y="1393"/>
                </a:lnTo>
                <a:lnTo>
                  <a:pt x="4282" y="1400"/>
                </a:lnTo>
                <a:lnTo>
                  <a:pt x="4284" y="1403"/>
                </a:lnTo>
                <a:lnTo>
                  <a:pt x="4286" y="1407"/>
                </a:lnTo>
                <a:lnTo>
                  <a:pt x="4289" y="1414"/>
                </a:lnTo>
                <a:lnTo>
                  <a:pt x="4292" y="1422"/>
                </a:lnTo>
                <a:lnTo>
                  <a:pt x="4294" y="1431"/>
                </a:lnTo>
                <a:lnTo>
                  <a:pt x="4295" y="1440"/>
                </a:lnTo>
                <a:lnTo>
                  <a:pt x="4296" y="1450"/>
                </a:lnTo>
                <a:lnTo>
                  <a:pt x="4295" y="1462"/>
                </a:lnTo>
                <a:lnTo>
                  <a:pt x="4293" y="1474"/>
                </a:lnTo>
                <a:lnTo>
                  <a:pt x="4289" y="1486"/>
                </a:lnTo>
                <a:lnTo>
                  <a:pt x="4284" y="1498"/>
                </a:lnTo>
                <a:lnTo>
                  <a:pt x="4281" y="1504"/>
                </a:lnTo>
                <a:lnTo>
                  <a:pt x="4277" y="1509"/>
                </a:lnTo>
                <a:lnTo>
                  <a:pt x="4272" y="1515"/>
                </a:lnTo>
                <a:lnTo>
                  <a:pt x="4268" y="1520"/>
                </a:lnTo>
                <a:lnTo>
                  <a:pt x="4262" y="1525"/>
                </a:lnTo>
                <a:lnTo>
                  <a:pt x="4256" y="1529"/>
                </a:lnTo>
                <a:lnTo>
                  <a:pt x="4250" y="1534"/>
                </a:lnTo>
                <a:lnTo>
                  <a:pt x="4243" y="1538"/>
                </a:lnTo>
                <a:lnTo>
                  <a:pt x="4236" y="1541"/>
                </a:lnTo>
                <a:lnTo>
                  <a:pt x="4227" y="1545"/>
                </a:lnTo>
                <a:lnTo>
                  <a:pt x="4219" y="1547"/>
                </a:lnTo>
                <a:lnTo>
                  <a:pt x="4209" y="1550"/>
                </a:lnTo>
                <a:lnTo>
                  <a:pt x="4199" y="1552"/>
                </a:lnTo>
                <a:lnTo>
                  <a:pt x="4188" y="1553"/>
                </a:lnTo>
                <a:lnTo>
                  <a:pt x="4177" y="1554"/>
                </a:lnTo>
                <a:lnTo>
                  <a:pt x="4165" y="1554"/>
                </a:lnTo>
                <a:close/>
                <a:moveTo>
                  <a:pt x="4615" y="1548"/>
                </a:moveTo>
                <a:lnTo>
                  <a:pt x="4382" y="1548"/>
                </a:lnTo>
                <a:lnTo>
                  <a:pt x="4382" y="1180"/>
                </a:lnTo>
                <a:lnTo>
                  <a:pt x="4615" y="1180"/>
                </a:lnTo>
                <a:lnTo>
                  <a:pt x="4615" y="1208"/>
                </a:lnTo>
                <a:lnTo>
                  <a:pt x="4413" y="1208"/>
                </a:lnTo>
                <a:lnTo>
                  <a:pt x="4413" y="1345"/>
                </a:lnTo>
                <a:lnTo>
                  <a:pt x="4611" y="1345"/>
                </a:lnTo>
                <a:lnTo>
                  <a:pt x="4611" y="1373"/>
                </a:lnTo>
                <a:lnTo>
                  <a:pt x="4413" y="1373"/>
                </a:lnTo>
                <a:lnTo>
                  <a:pt x="4413" y="1519"/>
                </a:lnTo>
                <a:lnTo>
                  <a:pt x="4615" y="1519"/>
                </a:lnTo>
                <a:lnTo>
                  <a:pt x="4615" y="1548"/>
                </a:lnTo>
                <a:close/>
                <a:moveTo>
                  <a:pt x="5048" y="1548"/>
                </a:moveTo>
                <a:lnTo>
                  <a:pt x="5016" y="1548"/>
                </a:lnTo>
                <a:lnTo>
                  <a:pt x="5016" y="1219"/>
                </a:lnTo>
                <a:lnTo>
                  <a:pt x="4882" y="1548"/>
                </a:lnTo>
                <a:lnTo>
                  <a:pt x="4870" y="1548"/>
                </a:lnTo>
                <a:lnTo>
                  <a:pt x="4736" y="1219"/>
                </a:lnTo>
                <a:lnTo>
                  <a:pt x="4736" y="1548"/>
                </a:lnTo>
                <a:lnTo>
                  <a:pt x="4704" y="1548"/>
                </a:lnTo>
                <a:lnTo>
                  <a:pt x="4704" y="1180"/>
                </a:lnTo>
                <a:lnTo>
                  <a:pt x="4751" y="1180"/>
                </a:lnTo>
                <a:lnTo>
                  <a:pt x="4876" y="1486"/>
                </a:lnTo>
                <a:lnTo>
                  <a:pt x="5001" y="1180"/>
                </a:lnTo>
                <a:lnTo>
                  <a:pt x="5048" y="1180"/>
                </a:lnTo>
                <a:lnTo>
                  <a:pt x="5048" y="1548"/>
                </a:lnTo>
                <a:close/>
                <a:moveTo>
                  <a:pt x="5495" y="1548"/>
                </a:moveTo>
                <a:lnTo>
                  <a:pt x="5464" y="1548"/>
                </a:lnTo>
                <a:lnTo>
                  <a:pt x="5464" y="1219"/>
                </a:lnTo>
                <a:lnTo>
                  <a:pt x="5328" y="1548"/>
                </a:lnTo>
                <a:lnTo>
                  <a:pt x="5316" y="1548"/>
                </a:lnTo>
                <a:lnTo>
                  <a:pt x="5182" y="1219"/>
                </a:lnTo>
                <a:lnTo>
                  <a:pt x="5182" y="1548"/>
                </a:lnTo>
                <a:lnTo>
                  <a:pt x="5150" y="1548"/>
                </a:lnTo>
                <a:lnTo>
                  <a:pt x="5150" y="1180"/>
                </a:lnTo>
                <a:lnTo>
                  <a:pt x="5197" y="1180"/>
                </a:lnTo>
                <a:lnTo>
                  <a:pt x="5322" y="1486"/>
                </a:lnTo>
                <a:lnTo>
                  <a:pt x="5448" y="1180"/>
                </a:lnTo>
                <a:lnTo>
                  <a:pt x="5495" y="1180"/>
                </a:lnTo>
                <a:lnTo>
                  <a:pt x="5495" y="1548"/>
                </a:lnTo>
                <a:close/>
                <a:moveTo>
                  <a:pt x="5900" y="1548"/>
                </a:moveTo>
                <a:lnTo>
                  <a:pt x="5864" y="1548"/>
                </a:lnTo>
                <a:lnTo>
                  <a:pt x="5828" y="1457"/>
                </a:lnTo>
                <a:lnTo>
                  <a:pt x="5633" y="1457"/>
                </a:lnTo>
                <a:lnTo>
                  <a:pt x="5596" y="1548"/>
                </a:lnTo>
                <a:lnTo>
                  <a:pt x="5560" y="1548"/>
                </a:lnTo>
                <a:lnTo>
                  <a:pt x="5711" y="1180"/>
                </a:lnTo>
                <a:lnTo>
                  <a:pt x="5750" y="1180"/>
                </a:lnTo>
                <a:lnTo>
                  <a:pt x="5900" y="1548"/>
                </a:lnTo>
                <a:close/>
                <a:moveTo>
                  <a:pt x="5817" y="1428"/>
                </a:moveTo>
                <a:lnTo>
                  <a:pt x="5730" y="1213"/>
                </a:lnTo>
                <a:lnTo>
                  <a:pt x="5643" y="1428"/>
                </a:lnTo>
                <a:lnTo>
                  <a:pt x="5817" y="1428"/>
                </a:lnTo>
                <a:close/>
                <a:moveTo>
                  <a:pt x="6259" y="1548"/>
                </a:moveTo>
                <a:lnTo>
                  <a:pt x="6228" y="1548"/>
                </a:lnTo>
                <a:lnTo>
                  <a:pt x="5997" y="1232"/>
                </a:lnTo>
                <a:lnTo>
                  <a:pt x="5997" y="1548"/>
                </a:lnTo>
                <a:lnTo>
                  <a:pt x="5965" y="1548"/>
                </a:lnTo>
                <a:lnTo>
                  <a:pt x="5965" y="1180"/>
                </a:lnTo>
                <a:lnTo>
                  <a:pt x="5997" y="1180"/>
                </a:lnTo>
                <a:lnTo>
                  <a:pt x="6228" y="1491"/>
                </a:lnTo>
                <a:lnTo>
                  <a:pt x="6228" y="1180"/>
                </a:lnTo>
                <a:lnTo>
                  <a:pt x="6259" y="1180"/>
                </a:lnTo>
                <a:lnTo>
                  <a:pt x="6259" y="1548"/>
                </a:lnTo>
                <a:close/>
                <a:moveTo>
                  <a:pt x="6377" y="1552"/>
                </a:moveTo>
                <a:lnTo>
                  <a:pt x="6372" y="1552"/>
                </a:lnTo>
                <a:lnTo>
                  <a:pt x="6367" y="1551"/>
                </a:lnTo>
                <a:lnTo>
                  <a:pt x="6363" y="1548"/>
                </a:lnTo>
                <a:lnTo>
                  <a:pt x="6359" y="1545"/>
                </a:lnTo>
                <a:lnTo>
                  <a:pt x="6356" y="1542"/>
                </a:lnTo>
                <a:lnTo>
                  <a:pt x="6354" y="1538"/>
                </a:lnTo>
                <a:lnTo>
                  <a:pt x="6352" y="1533"/>
                </a:lnTo>
                <a:lnTo>
                  <a:pt x="6352" y="1528"/>
                </a:lnTo>
                <a:lnTo>
                  <a:pt x="6352" y="1524"/>
                </a:lnTo>
                <a:lnTo>
                  <a:pt x="6353" y="1521"/>
                </a:lnTo>
                <a:lnTo>
                  <a:pt x="6354" y="1519"/>
                </a:lnTo>
                <a:lnTo>
                  <a:pt x="6355" y="1517"/>
                </a:lnTo>
                <a:lnTo>
                  <a:pt x="6356" y="1515"/>
                </a:lnTo>
                <a:lnTo>
                  <a:pt x="6359" y="1512"/>
                </a:lnTo>
                <a:lnTo>
                  <a:pt x="6363" y="1509"/>
                </a:lnTo>
                <a:lnTo>
                  <a:pt x="6367" y="1506"/>
                </a:lnTo>
                <a:lnTo>
                  <a:pt x="6372" y="1505"/>
                </a:lnTo>
                <a:lnTo>
                  <a:pt x="6377" y="1505"/>
                </a:lnTo>
                <a:lnTo>
                  <a:pt x="6382" y="1505"/>
                </a:lnTo>
                <a:lnTo>
                  <a:pt x="6386" y="1506"/>
                </a:lnTo>
                <a:lnTo>
                  <a:pt x="6388" y="1507"/>
                </a:lnTo>
                <a:lnTo>
                  <a:pt x="6390" y="1509"/>
                </a:lnTo>
                <a:lnTo>
                  <a:pt x="6394" y="1512"/>
                </a:lnTo>
                <a:lnTo>
                  <a:pt x="6397" y="1515"/>
                </a:lnTo>
                <a:lnTo>
                  <a:pt x="6399" y="1519"/>
                </a:lnTo>
                <a:lnTo>
                  <a:pt x="6400" y="1524"/>
                </a:lnTo>
                <a:lnTo>
                  <a:pt x="6401" y="1528"/>
                </a:lnTo>
                <a:lnTo>
                  <a:pt x="6400" y="1533"/>
                </a:lnTo>
                <a:lnTo>
                  <a:pt x="6399" y="1538"/>
                </a:lnTo>
                <a:lnTo>
                  <a:pt x="6398" y="1540"/>
                </a:lnTo>
                <a:lnTo>
                  <a:pt x="6397" y="1542"/>
                </a:lnTo>
                <a:lnTo>
                  <a:pt x="6394" y="1545"/>
                </a:lnTo>
                <a:lnTo>
                  <a:pt x="6392" y="1547"/>
                </a:lnTo>
                <a:lnTo>
                  <a:pt x="6390" y="1548"/>
                </a:lnTo>
                <a:lnTo>
                  <a:pt x="6386" y="1551"/>
                </a:lnTo>
                <a:lnTo>
                  <a:pt x="6382" y="1552"/>
                </a:lnTo>
                <a:lnTo>
                  <a:pt x="6377" y="1552"/>
                </a:lnTo>
                <a:close/>
                <a:moveTo>
                  <a:pt x="344" y="996"/>
                </a:moveTo>
                <a:lnTo>
                  <a:pt x="312" y="996"/>
                </a:lnTo>
                <a:lnTo>
                  <a:pt x="312" y="668"/>
                </a:lnTo>
                <a:lnTo>
                  <a:pt x="178" y="996"/>
                </a:lnTo>
                <a:lnTo>
                  <a:pt x="166" y="996"/>
                </a:lnTo>
                <a:lnTo>
                  <a:pt x="31" y="668"/>
                </a:lnTo>
                <a:lnTo>
                  <a:pt x="31" y="996"/>
                </a:lnTo>
                <a:lnTo>
                  <a:pt x="0" y="996"/>
                </a:lnTo>
                <a:lnTo>
                  <a:pt x="0" y="628"/>
                </a:lnTo>
                <a:lnTo>
                  <a:pt x="47" y="628"/>
                </a:lnTo>
                <a:lnTo>
                  <a:pt x="172" y="934"/>
                </a:lnTo>
                <a:lnTo>
                  <a:pt x="297" y="628"/>
                </a:lnTo>
                <a:lnTo>
                  <a:pt x="344" y="628"/>
                </a:lnTo>
                <a:lnTo>
                  <a:pt x="344" y="996"/>
                </a:lnTo>
                <a:close/>
                <a:moveTo>
                  <a:pt x="749" y="996"/>
                </a:moveTo>
                <a:lnTo>
                  <a:pt x="713" y="996"/>
                </a:lnTo>
                <a:lnTo>
                  <a:pt x="676" y="906"/>
                </a:lnTo>
                <a:lnTo>
                  <a:pt x="482" y="906"/>
                </a:lnTo>
                <a:lnTo>
                  <a:pt x="445" y="996"/>
                </a:lnTo>
                <a:lnTo>
                  <a:pt x="409" y="996"/>
                </a:lnTo>
                <a:lnTo>
                  <a:pt x="559" y="628"/>
                </a:lnTo>
                <a:lnTo>
                  <a:pt x="599" y="628"/>
                </a:lnTo>
                <a:lnTo>
                  <a:pt x="749" y="996"/>
                </a:lnTo>
                <a:close/>
                <a:moveTo>
                  <a:pt x="666" y="877"/>
                </a:moveTo>
                <a:lnTo>
                  <a:pt x="579" y="662"/>
                </a:lnTo>
                <a:lnTo>
                  <a:pt x="492" y="877"/>
                </a:lnTo>
                <a:lnTo>
                  <a:pt x="666" y="877"/>
                </a:lnTo>
                <a:close/>
                <a:moveTo>
                  <a:pt x="1117" y="996"/>
                </a:moveTo>
                <a:lnTo>
                  <a:pt x="1080" y="996"/>
                </a:lnTo>
                <a:lnTo>
                  <a:pt x="1044" y="906"/>
                </a:lnTo>
                <a:lnTo>
                  <a:pt x="849" y="906"/>
                </a:lnTo>
                <a:lnTo>
                  <a:pt x="813" y="996"/>
                </a:lnTo>
                <a:lnTo>
                  <a:pt x="776" y="996"/>
                </a:lnTo>
                <a:lnTo>
                  <a:pt x="927" y="628"/>
                </a:lnTo>
                <a:lnTo>
                  <a:pt x="966" y="628"/>
                </a:lnTo>
                <a:lnTo>
                  <a:pt x="1117" y="996"/>
                </a:lnTo>
                <a:close/>
                <a:moveTo>
                  <a:pt x="1033" y="877"/>
                </a:moveTo>
                <a:lnTo>
                  <a:pt x="947" y="662"/>
                </a:lnTo>
                <a:lnTo>
                  <a:pt x="860" y="877"/>
                </a:lnTo>
                <a:lnTo>
                  <a:pt x="1033" y="877"/>
                </a:lnTo>
                <a:close/>
                <a:moveTo>
                  <a:pt x="1213" y="996"/>
                </a:moveTo>
                <a:lnTo>
                  <a:pt x="1182" y="996"/>
                </a:lnTo>
                <a:lnTo>
                  <a:pt x="1182" y="628"/>
                </a:lnTo>
                <a:lnTo>
                  <a:pt x="1213" y="628"/>
                </a:lnTo>
                <a:lnTo>
                  <a:pt x="1213" y="996"/>
                </a:lnTo>
                <a:close/>
                <a:moveTo>
                  <a:pt x="1518" y="996"/>
                </a:moveTo>
                <a:lnTo>
                  <a:pt x="1308" y="996"/>
                </a:lnTo>
                <a:lnTo>
                  <a:pt x="1308" y="628"/>
                </a:lnTo>
                <a:lnTo>
                  <a:pt x="1340" y="628"/>
                </a:lnTo>
                <a:lnTo>
                  <a:pt x="1340" y="967"/>
                </a:lnTo>
                <a:lnTo>
                  <a:pt x="1518" y="967"/>
                </a:lnTo>
                <a:lnTo>
                  <a:pt x="1518" y="996"/>
                </a:lnTo>
                <a:close/>
                <a:moveTo>
                  <a:pt x="1939" y="996"/>
                </a:moveTo>
                <a:lnTo>
                  <a:pt x="1907" y="996"/>
                </a:lnTo>
                <a:lnTo>
                  <a:pt x="1907" y="668"/>
                </a:lnTo>
                <a:lnTo>
                  <a:pt x="1772" y="996"/>
                </a:lnTo>
                <a:lnTo>
                  <a:pt x="1759" y="996"/>
                </a:lnTo>
                <a:lnTo>
                  <a:pt x="1625" y="668"/>
                </a:lnTo>
                <a:lnTo>
                  <a:pt x="1625" y="996"/>
                </a:lnTo>
                <a:lnTo>
                  <a:pt x="1594" y="996"/>
                </a:lnTo>
                <a:lnTo>
                  <a:pt x="1594" y="628"/>
                </a:lnTo>
                <a:lnTo>
                  <a:pt x="1640" y="628"/>
                </a:lnTo>
                <a:lnTo>
                  <a:pt x="1766" y="934"/>
                </a:lnTo>
                <a:lnTo>
                  <a:pt x="1891" y="628"/>
                </a:lnTo>
                <a:lnTo>
                  <a:pt x="1939" y="628"/>
                </a:lnTo>
                <a:lnTo>
                  <a:pt x="1939" y="996"/>
                </a:lnTo>
                <a:close/>
                <a:moveTo>
                  <a:pt x="2343" y="996"/>
                </a:moveTo>
                <a:lnTo>
                  <a:pt x="2307" y="996"/>
                </a:lnTo>
                <a:lnTo>
                  <a:pt x="2271" y="906"/>
                </a:lnTo>
                <a:lnTo>
                  <a:pt x="2076" y="906"/>
                </a:lnTo>
                <a:lnTo>
                  <a:pt x="2040" y="996"/>
                </a:lnTo>
                <a:lnTo>
                  <a:pt x="2003" y="996"/>
                </a:lnTo>
                <a:lnTo>
                  <a:pt x="2154" y="628"/>
                </a:lnTo>
                <a:lnTo>
                  <a:pt x="2193" y="628"/>
                </a:lnTo>
                <a:lnTo>
                  <a:pt x="2343" y="996"/>
                </a:lnTo>
                <a:close/>
                <a:moveTo>
                  <a:pt x="2260" y="877"/>
                </a:moveTo>
                <a:lnTo>
                  <a:pt x="2174" y="662"/>
                </a:lnTo>
                <a:lnTo>
                  <a:pt x="2086" y="877"/>
                </a:lnTo>
                <a:lnTo>
                  <a:pt x="2260" y="877"/>
                </a:lnTo>
                <a:close/>
                <a:moveTo>
                  <a:pt x="2513" y="1003"/>
                </a:moveTo>
                <a:lnTo>
                  <a:pt x="2501" y="1002"/>
                </a:lnTo>
                <a:lnTo>
                  <a:pt x="2490" y="1001"/>
                </a:lnTo>
                <a:lnTo>
                  <a:pt x="2480" y="1000"/>
                </a:lnTo>
                <a:lnTo>
                  <a:pt x="2470" y="998"/>
                </a:lnTo>
                <a:lnTo>
                  <a:pt x="2460" y="996"/>
                </a:lnTo>
                <a:lnTo>
                  <a:pt x="2451" y="993"/>
                </a:lnTo>
                <a:lnTo>
                  <a:pt x="2442" y="990"/>
                </a:lnTo>
                <a:lnTo>
                  <a:pt x="2433" y="986"/>
                </a:lnTo>
                <a:lnTo>
                  <a:pt x="2425" y="982"/>
                </a:lnTo>
                <a:lnTo>
                  <a:pt x="2417" y="977"/>
                </a:lnTo>
                <a:lnTo>
                  <a:pt x="2409" y="973"/>
                </a:lnTo>
                <a:lnTo>
                  <a:pt x="2402" y="968"/>
                </a:lnTo>
                <a:lnTo>
                  <a:pt x="2396" y="962"/>
                </a:lnTo>
                <a:lnTo>
                  <a:pt x="2389" y="956"/>
                </a:lnTo>
                <a:lnTo>
                  <a:pt x="2383" y="950"/>
                </a:lnTo>
                <a:lnTo>
                  <a:pt x="2378" y="944"/>
                </a:lnTo>
                <a:lnTo>
                  <a:pt x="2398" y="920"/>
                </a:lnTo>
                <a:lnTo>
                  <a:pt x="2408" y="931"/>
                </a:lnTo>
                <a:lnTo>
                  <a:pt x="2413" y="936"/>
                </a:lnTo>
                <a:lnTo>
                  <a:pt x="2419" y="940"/>
                </a:lnTo>
                <a:lnTo>
                  <a:pt x="2431" y="949"/>
                </a:lnTo>
                <a:lnTo>
                  <a:pt x="2445" y="957"/>
                </a:lnTo>
                <a:lnTo>
                  <a:pt x="2452" y="961"/>
                </a:lnTo>
                <a:lnTo>
                  <a:pt x="2460" y="964"/>
                </a:lnTo>
                <a:lnTo>
                  <a:pt x="2468" y="967"/>
                </a:lnTo>
                <a:lnTo>
                  <a:pt x="2477" y="969"/>
                </a:lnTo>
                <a:lnTo>
                  <a:pt x="2485" y="971"/>
                </a:lnTo>
                <a:lnTo>
                  <a:pt x="2494" y="973"/>
                </a:lnTo>
                <a:lnTo>
                  <a:pt x="2504" y="974"/>
                </a:lnTo>
                <a:lnTo>
                  <a:pt x="2514" y="974"/>
                </a:lnTo>
                <a:lnTo>
                  <a:pt x="2523" y="974"/>
                </a:lnTo>
                <a:lnTo>
                  <a:pt x="2531" y="973"/>
                </a:lnTo>
                <a:lnTo>
                  <a:pt x="2539" y="972"/>
                </a:lnTo>
                <a:lnTo>
                  <a:pt x="2547" y="971"/>
                </a:lnTo>
                <a:lnTo>
                  <a:pt x="2554" y="969"/>
                </a:lnTo>
                <a:lnTo>
                  <a:pt x="2560" y="967"/>
                </a:lnTo>
                <a:lnTo>
                  <a:pt x="2566" y="965"/>
                </a:lnTo>
                <a:lnTo>
                  <a:pt x="2572" y="962"/>
                </a:lnTo>
                <a:lnTo>
                  <a:pt x="2582" y="956"/>
                </a:lnTo>
                <a:lnTo>
                  <a:pt x="2590" y="949"/>
                </a:lnTo>
                <a:lnTo>
                  <a:pt x="2594" y="945"/>
                </a:lnTo>
                <a:lnTo>
                  <a:pt x="2597" y="942"/>
                </a:lnTo>
                <a:lnTo>
                  <a:pt x="2599" y="938"/>
                </a:lnTo>
                <a:lnTo>
                  <a:pt x="2602" y="934"/>
                </a:lnTo>
                <a:lnTo>
                  <a:pt x="2606" y="925"/>
                </a:lnTo>
                <a:lnTo>
                  <a:pt x="2608" y="917"/>
                </a:lnTo>
                <a:lnTo>
                  <a:pt x="2610" y="909"/>
                </a:lnTo>
                <a:lnTo>
                  <a:pt x="2610" y="901"/>
                </a:lnTo>
                <a:lnTo>
                  <a:pt x="2610" y="893"/>
                </a:lnTo>
                <a:lnTo>
                  <a:pt x="2608" y="886"/>
                </a:lnTo>
                <a:lnTo>
                  <a:pt x="2607" y="879"/>
                </a:lnTo>
                <a:lnTo>
                  <a:pt x="2604" y="873"/>
                </a:lnTo>
                <a:lnTo>
                  <a:pt x="2601" y="867"/>
                </a:lnTo>
                <a:lnTo>
                  <a:pt x="2597" y="862"/>
                </a:lnTo>
                <a:lnTo>
                  <a:pt x="2592" y="857"/>
                </a:lnTo>
                <a:lnTo>
                  <a:pt x="2590" y="855"/>
                </a:lnTo>
                <a:lnTo>
                  <a:pt x="2587" y="853"/>
                </a:lnTo>
                <a:lnTo>
                  <a:pt x="2576" y="845"/>
                </a:lnTo>
                <a:lnTo>
                  <a:pt x="2569" y="842"/>
                </a:lnTo>
                <a:lnTo>
                  <a:pt x="2563" y="838"/>
                </a:lnTo>
                <a:lnTo>
                  <a:pt x="2548" y="832"/>
                </a:lnTo>
                <a:lnTo>
                  <a:pt x="2533" y="827"/>
                </a:lnTo>
                <a:lnTo>
                  <a:pt x="2500" y="818"/>
                </a:lnTo>
                <a:lnTo>
                  <a:pt x="2467" y="808"/>
                </a:lnTo>
                <a:lnTo>
                  <a:pt x="2459" y="805"/>
                </a:lnTo>
                <a:lnTo>
                  <a:pt x="2452" y="802"/>
                </a:lnTo>
                <a:lnTo>
                  <a:pt x="2444" y="799"/>
                </a:lnTo>
                <a:lnTo>
                  <a:pt x="2437" y="795"/>
                </a:lnTo>
                <a:lnTo>
                  <a:pt x="2431" y="792"/>
                </a:lnTo>
                <a:lnTo>
                  <a:pt x="2424" y="787"/>
                </a:lnTo>
                <a:lnTo>
                  <a:pt x="2413" y="778"/>
                </a:lnTo>
                <a:lnTo>
                  <a:pt x="2407" y="773"/>
                </a:lnTo>
                <a:lnTo>
                  <a:pt x="2403" y="767"/>
                </a:lnTo>
                <a:lnTo>
                  <a:pt x="2399" y="761"/>
                </a:lnTo>
                <a:lnTo>
                  <a:pt x="2396" y="754"/>
                </a:lnTo>
                <a:lnTo>
                  <a:pt x="2393" y="746"/>
                </a:lnTo>
                <a:lnTo>
                  <a:pt x="2391" y="738"/>
                </a:lnTo>
                <a:lnTo>
                  <a:pt x="2390" y="729"/>
                </a:lnTo>
                <a:lnTo>
                  <a:pt x="2390" y="720"/>
                </a:lnTo>
                <a:lnTo>
                  <a:pt x="2390" y="709"/>
                </a:lnTo>
                <a:lnTo>
                  <a:pt x="2392" y="699"/>
                </a:lnTo>
                <a:lnTo>
                  <a:pt x="2394" y="694"/>
                </a:lnTo>
                <a:lnTo>
                  <a:pt x="2395" y="689"/>
                </a:lnTo>
                <a:lnTo>
                  <a:pt x="2399" y="680"/>
                </a:lnTo>
                <a:lnTo>
                  <a:pt x="2404" y="671"/>
                </a:lnTo>
                <a:lnTo>
                  <a:pt x="2407" y="667"/>
                </a:lnTo>
                <a:lnTo>
                  <a:pt x="2410" y="663"/>
                </a:lnTo>
                <a:lnTo>
                  <a:pt x="2417" y="655"/>
                </a:lnTo>
                <a:lnTo>
                  <a:pt x="2425" y="649"/>
                </a:lnTo>
                <a:lnTo>
                  <a:pt x="2429" y="645"/>
                </a:lnTo>
                <a:lnTo>
                  <a:pt x="2434" y="642"/>
                </a:lnTo>
                <a:lnTo>
                  <a:pt x="2443" y="637"/>
                </a:lnTo>
                <a:lnTo>
                  <a:pt x="2453" y="633"/>
                </a:lnTo>
                <a:lnTo>
                  <a:pt x="2463" y="629"/>
                </a:lnTo>
                <a:lnTo>
                  <a:pt x="2474" y="626"/>
                </a:lnTo>
                <a:lnTo>
                  <a:pt x="2486" y="624"/>
                </a:lnTo>
                <a:lnTo>
                  <a:pt x="2498" y="623"/>
                </a:lnTo>
                <a:lnTo>
                  <a:pt x="2510" y="622"/>
                </a:lnTo>
                <a:lnTo>
                  <a:pt x="2520" y="622"/>
                </a:lnTo>
                <a:lnTo>
                  <a:pt x="2530" y="623"/>
                </a:lnTo>
                <a:lnTo>
                  <a:pt x="2540" y="624"/>
                </a:lnTo>
                <a:lnTo>
                  <a:pt x="2549" y="626"/>
                </a:lnTo>
                <a:lnTo>
                  <a:pt x="2558" y="628"/>
                </a:lnTo>
                <a:lnTo>
                  <a:pt x="2566" y="630"/>
                </a:lnTo>
                <a:lnTo>
                  <a:pt x="2575" y="633"/>
                </a:lnTo>
                <a:lnTo>
                  <a:pt x="2583" y="636"/>
                </a:lnTo>
                <a:lnTo>
                  <a:pt x="2590" y="639"/>
                </a:lnTo>
                <a:lnTo>
                  <a:pt x="2598" y="643"/>
                </a:lnTo>
                <a:lnTo>
                  <a:pt x="2611" y="652"/>
                </a:lnTo>
                <a:lnTo>
                  <a:pt x="2618" y="657"/>
                </a:lnTo>
                <a:lnTo>
                  <a:pt x="2624" y="662"/>
                </a:lnTo>
                <a:lnTo>
                  <a:pt x="2630" y="668"/>
                </a:lnTo>
                <a:lnTo>
                  <a:pt x="2635" y="674"/>
                </a:lnTo>
                <a:lnTo>
                  <a:pt x="2614" y="697"/>
                </a:lnTo>
                <a:lnTo>
                  <a:pt x="2609" y="691"/>
                </a:lnTo>
                <a:lnTo>
                  <a:pt x="2604" y="686"/>
                </a:lnTo>
                <a:lnTo>
                  <a:pt x="2598" y="681"/>
                </a:lnTo>
                <a:lnTo>
                  <a:pt x="2592" y="676"/>
                </a:lnTo>
                <a:lnTo>
                  <a:pt x="2586" y="672"/>
                </a:lnTo>
                <a:lnTo>
                  <a:pt x="2580" y="668"/>
                </a:lnTo>
                <a:lnTo>
                  <a:pt x="2574" y="665"/>
                </a:lnTo>
                <a:lnTo>
                  <a:pt x="2567" y="662"/>
                </a:lnTo>
                <a:lnTo>
                  <a:pt x="2560" y="659"/>
                </a:lnTo>
                <a:lnTo>
                  <a:pt x="2553" y="657"/>
                </a:lnTo>
                <a:lnTo>
                  <a:pt x="2546" y="655"/>
                </a:lnTo>
                <a:lnTo>
                  <a:pt x="2539" y="653"/>
                </a:lnTo>
                <a:lnTo>
                  <a:pt x="2532" y="652"/>
                </a:lnTo>
                <a:lnTo>
                  <a:pt x="2524" y="651"/>
                </a:lnTo>
                <a:lnTo>
                  <a:pt x="2509" y="651"/>
                </a:lnTo>
                <a:lnTo>
                  <a:pt x="2499" y="651"/>
                </a:lnTo>
                <a:lnTo>
                  <a:pt x="2491" y="652"/>
                </a:lnTo>
                <a:lnTo>
                  <a:pt x="2482" y="654"/>
                </a:lnTo>
                <a:lnTo>
                  <a:pt x="2474" y="656"/>
                </a:lnTo>
                <a:lnTo>
                  <a:pt x="2467" y="658"/>
                </a:lnTo>
                <a:lnTo>
                  <a:pt x="2460" y="662"/>
                </a:lnTo>
                <a:lnTo>
                  <a:pt x="2453" y="665"/>
                </a:lnTo>
                <a:lnTo>
                  <a:pt x="2447" y="670"/>
                </a:lnTo>
                <a:lnTo>
                  <a:pt x="2442" y="675"/>
                </a:lnTo>
                <a:lnTo>
                  <a:pt x="2437" y="680"/>
                </a:lnTo>
                <a:lnTo>
                  <a:pt x="2433" y="685"/>
                </a:lnTo>
                <a:lnTo>
                  <a:pt x="2429" y="691"/>
                </a:lnTo>
                <a:lnTo>
                  <a:pt x="2426" y="697"/>
                </a:lnTo>
                <a:lnTo>
                  <a:pt x="2424" y="704"/>
                </a:lnTo>
                <a:lnTo>
                  <a:pt x="2423" y="711"/>
                </a:lnTo>
                <a:lnTo>
                  <a:pt x="2423" y="719"/>
                </a:lnTo>
                <a:lnTo>
                  <a:pt x="2423" y="725"/>
                </a:lnTo>
                <a:lnTo>
                  <a:pt x="2424" y="732"/>
                </a:lnTo>
                <a:lnTo>
                  <a:pt x="2426" y="737"/>
                </a:lnTo>
                <a:lnTo>
                  <a:pt x="2429" y="743"/>
                </a:lnTo>
                <a:lnTo>
                  <a:pt x="2432" y="748"/>
                </a:lnTo>
                <a:lnTo>
                  <a:pt x="2436" y="752"/>
                </a:lnTo>
                <a:lnTo>
                  <a:pt x="2440" y="757"/>
                </a:lnTo>
                <a:lnTo>
                  <a:pt x="2446" y="760"/>
                </a:lnTo>
                <a:lnTo>
                  <a:pt x="2457" y="767"/>
                </a:lnTo>
                <a:lnTo>
                  <a:pt x="2464" y="770"/>
                </a:lnTo>
                <a:lnTo>
                  <a:pt x="2470" y="773"/>
                </a:lnTo>
                <a:lnTo>
                  <a:pt x="2477" y="776"/>
                </a:lnTo>
                <a:lnTo>
                  <a:pt x="2485" y="778"/>
                </a:lnTo>
                <a:lnTo>
                  <a:pt x="2500" y="783"/>
                </a:lnTo>
                <a:lnTo>
                  <a:pt x="2533" y="792"/>
                </a:lnTo>
                <a:lnTo>
                  <a:pt x="2566" y="803"/>
                </a:lnTo>
                <a:lnTo>
                  <a:pt x="2574" y="806"/>
                </a:lnTo>
                <a:lnTo>
                  <a:pt x="2581" y="809"/>
                </a:lnTo>
                <a:lnTo>
                  <a:pt x="2585" y="811"/>
                </a:lnTo>
                <a:lnTo>
                  <a:pt x="2589" y="813"/>
                </a:lnTo>
                <a:lnTo>
                  <a:pt x="2596" y="817"/>
                </a:lnTo>
                <a:lnTo>
                  <a:pt x="2602" y="821"/>
                </a:lnTo>
                <a:lnTo>
                  <a:pt x="2609" y="826"/>
                </a:lnTo>
                <a:lnTo>
                  <a:pt x="2615" y="831"/>
                </a:lnTo>
                <a:lnTo>
                  <a:pt x="2620" y="836"/>
                </a:lnTo>
                <a:lnTo>
                  <a:pt x="2625" y="842"/>
                </a:lnTo>
                <a:lnTo>
                  <a:pt x="2630" y="848"/>
                </a:lnTo>
                <a:lnTo>
                  <a:pt x="2632" y="851"/>
                </a:lnTo>
                <a:lnTo>
                  <a:pt x="2634" y="855"/>
                </a:lnTo>
                <a:lnTo>
                  <a:pt x="2637" y="863"/>
                </a:lnTo>
                <a:lnTo>
                  <a:pt x="2640" y="871"/>
                </a:lnTo>
                <a:lnTo>
                  <a:pt x="2641" y="879"/>
                </a:lnTo>
                <a:lnTo>
                  <a:pt x="2643" y="889"/>
                </a:lnTo>
                <a:lnTo>
                  <a:pt x="2643" y="898"/>
                </a:lnTo>
                <a:lnTo>
                  <a:pt x="2643" y="911"/>
                </a:lnTo>
                <a:lnTo>
                  <a:pt x="2640" y="923"/>
                </a:lnTo>
                <a:lnTo>
                  <a:pt x="2637" y="935"/>
                </a:lnTo>
                <a:lnTo>
                  <a:pt x="2631" y="946"/>
                </a:lnTo>
                <a:lnTo>
                  <a:pt x="2628" y="952"/>
                </a:lnTo>
                <a:lnTo>
                  <a:pt x="2624" y="958"/>
                </a:lnTo>
                <a:lnTo>
                  <a:pt x="2620" y="963"/>
                </a:lnTo>
                <a:lnTo>
                  <a:pt x="2615" y="968"/>
                </a:lnTo>
                <a:lnTo>
                  <a:pt x="2610" y="973"/>
                </a:lnTo>
                <a:lnTo>
                  <a:pt x="2604" y="978"/>
                </a:lnTo>
                <a:lnTo>
                  <a:pt x="2597" y="982"/>
                </a:lnTo>
                <a:lnTo>
                  <a:pt x="2591" y="986"/>
                </a:lnTo>
                <a:lnTo>
                  <a:pt x="2583" y="990"/>
                </a:lnTo>
                <a:lnTo>
                  <a:pt x="2575" y="993"/>
                </a:lnTo>
                <a:lnTo>
                  <a:pt x="2566" y="996"/>
                </a:lnTo>
                <a:lnTo>
                  <a:pt x="2557" y="998"/>
                </a:lnTo>
                <a:lnTo>
                  <a:pt x="2547" y="1000"/>
                </a:lnTo>
                <a:lnTo>
                  <a:pt x="2536" y="1001"/>
                </a:lnTo>
                <a:lnTo>
                  <a:pt x="2525" y="1002"/>
                </a:lnTo>
                <a:lnTo>
                  <a:pt x="2513" y="1003"/>
                </a:lnTo>
                <a:close/>
                <a:moveTo>
                  <a:pt x="2853" y="996"/>
                </a:moveTo>
                <a:lnTo>
                  <a:pt x="2821" y="996"/>
                </a:lnTo>
                <a:lnTo>
                  <a:pt x="2821" y="657"/>
                </a:lnTo>
                <a:lnTo>
                  <a:pt x="2701" y="657"/>
                </a:lnTo>
                <a:lnTo>
                  <a:pt x="2701" y="628"/>
                </a:lnTo>
                <a:lnTo>
                  <a:pt x="2973" y="628"/>
                </a:lnTo>
                <a:lnTo>
                  <a:pt x="2973" y="657"/>
                </a:lnTo>
                <a:lnTo>
                  <a:pt x="2853" y="657"/>
                </a:lnTo>
                <a:lnTo>
                  <a:pt x="2853" y="996"/>
                </a:lnTo>
                <a:close/>
                <a:moveTo>
                  <a:pt x="3315" y="996"/>
                </a:moveTo>
                <a:lnTo>
                  <a:pt x="3278" y="996"/>
                </a:lnTo>
                <a:lnTo>
                  <a:pt x="3242" y="906"/>
                </a:lnTo>
                <a:lnTo>
                  <a:pt x="3047" y="906"/>
                </a:lnTo>
                <a:lnTo>
                  <a:pt x="3011" y="996"/>
                </a:lnTo>
                <a:lnTo>
                  <a:pt x="2974" y="996"/>
                </a:lnTo>
                <a:lnTo>
                  <a:pt x="3125" y="628"/>
                </a:lnTo>
                <a:lnTo>
                  <a:pt x="3164" y="628"/>
                </a:lnTo>
                <a:lnTo>
                  <a:pt x="3315" y="996"/>
                </a:lnTo>
                <a:close/>
                <a:moveTo>
                  <a:pt x="3231" y="877"/>
                </a:moveTo>
                <a:lnTo>
                  <a:pt x="3145" y="662"/>
                </a:lnTo>
                <a:lnTo>
                  <a:pt x="3058" y="877"/>
                </a:lnTo>
                <a:lnTo>
                  <a:pt x="3231" y="877"/>
                </a:lnTo>
                <a:close/>
                <a:moveTo>
                  <a:pt x="3565" y="996"/>
                </a:moveTo>
                <a:lnTo>
                  <a:pt x="3534" y="996"/>
                </a:lnTo>
                <a:lnTo>
                  <a:pt x="3534" y="628"/>
                </a:lnTo>
                <a:lnTo>
                  <a:pt x="3672" y="628"/>
                </a:lnTo>
                <a:lnTo>
                  <a:pt x="3685" y="629"/>
                </a:lnTo>
                <a:lnTo>
                  <a:pt x="3697" y="631"/>
                </a:lnTo>
                <a:lnTo>
                  <a:pt x="3708" y="633"/>
                </a:lnTo>
                <a:lnTo>
                  <a:pt x="3719" y="637"/>
                </a:lnTo>
                <a:lnTo>
                  <a:pt x="3724" y="639"/>
                </a:lnTo>
                <a:lnTo>
                  <a:pt x="3729" y="641"/>
                </a:lnTo>
                <a:lnTo>
                  <a:pt x="3738" y="647"/>
                </a:lnTo>
                <a:lnTo>
                  <a:pt x="3742" y="650"/>
                </a:lnTo>
                <a:lnTo>
                  <a:pt x="3746" y="653"/>
                </a:lnTo>
                <a:lnTo>
                  <a:pt x="3750" y="656"/>
                </a:lnTo>
                <a:lnTo>
                  <a:pt x="3754" y="660"/>
                </a:lnTo>
                <a:lnTo>
                  <a:pt x="3757" y="664"/>
                </a:lnTo>
                <a:lnTo>
                  <a:pt x="3760" y="668"/>
                </a:lnTo>
                <a:lnTo>
                  <a:pt x="3766" y="676"/>
                </a:lnTo>
                <a:lnTo>
                  <a:pt x="3771" y="685"/>
                </a:lnTo>
                <a:lnTo>
                  <a:pt x="3775" y="694"/>
                </a:lnTo>
                <a:lnTo>
                  <a:pt x="3778" y="704"/>
                </a:lnTo>
                <a:lnTo>
                  <a:pt x="3781" y="714"/>
                </a:lnTo>
                <a:lnTo>
                  <a:pt x="3782" y="725"/>
                </a:lnTo>
                <a:lnTo>
                  <a:pt x="3783" y="736"/>
                </a:lnTo>
                <a:lnTo>
                  <a:pt x="3782" y="747"/>
                </a:lnTo>
                <a:lnTo>
                  <a:pt x="3781" y="757"/>
                </a:lnTo>
                <a:lnTo>
                  <a:pt x="3780" y="762"/>
                </a:lnTo>
                <a:lnTo>
                  <a:pt x="3778" y="767"/>
                </a:lnTo>
                <a:lnTo>
                  <a:pt x="3775" y="777"/>
                </a:lnTo>
                <a:lnTo>
                  <a:pt x="3771" y="786"/>
                </a:lnTo>
                <a:lnTo>
                  <a:pt x="3766" y="795"/>
                </a:lnTo>
                <a:lnTo>
                  <a:pt x="3760" y="803"/>
                </a:lnTo>
                <a:lnTo>
                  <a:pt x="3753" y="811"/>
                </a:lnTo>
                <a:lnTo>
                  <a:pt x="3746" y="818"/>
                </a:lnTo>
                <a:lnTo>
                  <a:pt x="3737" y="825"/>
                </a:lnTo>
                <a:lnTo>
                  <a:pt x="3728" y="830"/>
                </a:lnTo>
                <a:lnTo>
                  <a:pt x="3719" y="835"/>
                </a:lnTo>
                <a:lnTo>
                  <a:pt x="3708" y="838"/>
                </a:lnTo>
                <a:lnTo>
                  <a:pt x="3702" y="840"/>
                </a:lnTo>
                <a:lnTo>
                  <a:pt x="3697" y="841"/>
                </a:lnTo>
                <a:lnTo>
                  <a:pt x="3685" y="842"/>
                </a:lnTo>
                <a:lnTo>
                  <a:pt x="3672" y="843"/>
                </a:lnTo>
                <a:lnTo>
                  <a:pt x="3565" y="843"/>
                </a:lnTo>
                <a:lnTo>
                  <a:pt x="3565" y="996"/>
                </a:lnTo>
                <a:close/>
                <a:moveTo>
                  <a:pt x="3668" y="815"/>
                </a:moveTo>
                <a:lnTo>
                  <a:pt x="3677" y="814"/>
                </a:lnTo>
                <a:lnTo>
                  <a:pt x="3686" y="813"/>
                </a:lnTo>
                <a:lnTo>
                  <a:pt x="3694" y="811"/>
                </a:lnTo>
                <a:lnTo>
                  <a:pt x="3702" y="809"/>
                </a:lnTo>
                <a:lnTo>
                  <a:pt x="3709" y="806"/>
                </a:lnTo>
                <a:lnTo>
                  <a:pt x="3716" y="802"/>
                </a:lnTo>
                <a:lnTo>
                  <a:pt x="3719" y="800"/>
                </a:lnTo>
                <a:lnTo>
                  <a:pt x="3722" y="797"/>
                </a:lnTo>
                <a:lnTo>
                  <a:pt x="3727" y="792"/>
                </a:lnTo>
                <a:lnTo>
                  <a:pt x="3732" y="787"/>
                </a:lnTo>
                <a:lnTo>
                  <a:pt x="3737" y="781"/>
                </a:lnTo>
                <a:lnTo>
                  <a:pt x="3741" y="774"/>
                </a:lnTo>
                <a:lnTo>
                  <a:pt x="3744" y="767"/>
                </a:lnTo>
                <a:lnTo>
                  <a:pt x="3746" y="760"/>
                </a:lnTo>
                <a:lnTo>
                  <a:pt x="3748" y="752"/>
                </a:lnTo>
                <a:lnTo>
                  <a:pt x="3749" y="744"/>
                </a:lnTo>
                <a:lnTo>
                  <a:pt x="3750" y="736"/>
                </a:lnTo>
                <a:lnTo>
                  <a:pt x="3749" y="727"/>
                </a:lnTo>
                <a:lnTo>
                  <a:pt x="3748" y="719"/>
                </a:lnTo>
                <a:lnTo>
                  <a:pt x="3746" y="711"/>
                </a:lnTo>
                <a:lnTo>
                  <a:pt x="3744" y="704"/>
                </a:lnTo>
                <a:lnTo>
                  <a:pt x="3741" y="697"/>
                </a:lnTo>
                <a:lnTo>
                  <a:pt x="3737" y="690"/>
                </a:lnTo>
                <a:lnTo>
                  <a:pt x="3732" y="684"/>
                </a:lnTo>
                <a:lnTo>
                  <a:pt x="3727" y="679"/>
                </a:lnTo>
                <a:lnTo>
                  <a:pt x="3722" y="674"/>
                </a:lnTo>
                <a:lnTo>
                  <a:pt x="3716" y="669"/>
                </a:lnTo>
                <a:lnTo>
                  <a:pt x="3709" y="666"/>
                </a:lnTo>
                <a:lnTo>
                  <a:pt x="3705" y="664"/>
                </a:lnTo>
                <a:lnTo>
                  <a:pt x="3702" y="663"/>
                </a:lnTo>
                <a:lnTo>
                  <a:pt x="3694" y="660"/>
                </a:lnTo>
                <a:lnTo>
                  <a:pt x="3686" y="658"/>
                </a:lnTo>
                <a:lnTo>
                  <a:pt x="3677" y="657"/>
                </a:lnTo>
                <a:lnTo>
                  <a:pt x="3668" y="657"/>
                </a:lnTo>
                <a:lnTo>
                  <a:pt x="3565" y="657"/>
                </a:lnTo>
                <a:lnTo>
                  <a:pt x="3565" y="815"/>
                </a:lnTo>
                <a:lnTo>
                  <a:pt x="3668" y="815"/>
                </a:lnTo>
                <a:close/>
                <a:moveTo>
                  <a:pt x="4003" y="1003"/>
                </a:moveTo>
                <a:lnTo>
                  <a:pt x="3994" y="1002"/>
                </a:lnTo>
                <a:lnTo>
                  <a:pt x="3986" y="1002"/>
                </a:lnTo>
                <a:lnTo>
                  <a:pt x="3970" y="1000"/>
                </a:lnTo>
                <a:lnTo>
                  <a:pt x="3962" y="998"/>
                </a:lnTo>
                <a:lnTo>
                  <a:pt x="3955" y="997"/>
                </a:lnTo>
                <a:lnTo>
                  <a:pt x="3947" y="995"/>
                </a:lnTo>
                <a:lnTo>
                  <a:pt x="3941" y="992"/>
                </a:lnTo>
                <a:lnTo>
                  <a:pt x="3928" y="987"/>
                </a:lnTo>
                <a:lnTo>
                  <a:pt x="3922" y="983"/>
                </a:lnTo>
                <a:lnTo>
                  <a:pt x="3916" y="980"/>
                </a:lnTo>
                <a:lnTo>
                  <a:pt x="3905" y="972"/>
                </a:lnTo>
                <a:lnTo>
                  <a:pt x="3900" y="967"/>
                </a:lnTo>
                <a:lnTo>
                  <a:pt x="3896" y="963"/>
                </a:lnTo>
                <a:lnTo>
                  <a:pt x="3887" y="952"/>
                </a:lnTo>
                <a:lnTo>
                  <a:pt x="3883" y="947"/>
                </a:lnTo>
                <a:lnTo>
                  <a:pt x="3880" y="941"/>
                </a:lnTo>
                <a:lnTo>
                  <a:pt x="3874" y="929"/>
                </a:lnTo>
                <a:lnTo>
                  <a:pt x="3871" y="923"/>
                </a:lnTo>
                <a:lnTo>
                  <a:pt x="3869" y="916"/>
                </a:lnTo>
                <a:lnTo>
                  <a:pt x="3865" y="902"/>
                </a:lnTo>
                <a:lnTo>
                  <a:pt x="3863" y="895"/>
                </a:lnTo>
                <a:lnTo>
                  <a:pt x="3862" y="887"/>
                </a:lnTo>
                <a:lnTo>
                  <a:pt x="3860" y="872"/>
                </a:lnTo>
                <a:lnTo>
                  <a:pt x="3860" y="863"/>
                </a:lnTo>
                <a:lnTo>
                  <a:pt x="3859" y="855"/>
                </a:lnTo>
                <a:lnTo>
                  <a:pt x="3859" y="628"/>
                </a:lnTo>
                <a:lnTo>
                  <a:pt x="3891" y="628"/>
                </a:lnTo>
                <a:lnTo>
                  <a:pt x="3891" y="854"/>
                </a:lnTo>
                <a:lnTo>
                  <a:pt x="3892" y="868"/>
                </a:lnTo>
                <a:lnTo>
                  <a:pt x="3893" y="881"/>
                </a:lnTo>
                <a:lnTo>
                  <a:pt x="3894" y="887"/>
                </a:lnTo>
                <a:lnTo>
                  <a:pt x="3895" y="893"/>
                </a:lnTo>
                <a:lnTo>
                  <a:pt x="3899" y="904"/>
                </a:lnTo>
                <a:lnTo>
                  <a:pt x="3903" y="915"/>
                </a:lnTo>
                <a:lnTo>
                  <a:pt x="3905" y="920"/>
                </a:lnTo>
                <a:lnTo>
                  <a:pt x="3908" y="925"/>
                </a:lnTo>
                <a:lnTo>
                  <a:pt x="3913" y="934"/>
                </a:lnTo>
                <a:lnTo>
                  <a:pt x="3917" y="938"/>
                </a:lnTo>
                <a:lnTo>
                  <a:pt x="3920" y="942"/>
                </a:lnTo>
                <a:lnTo>
                  <a:pt x="3924" y="946"/>
                </a:lnTo>
                <a:lnTo>
                  <a:pt x="3927" y="949"/>
                </a:lnTo>
                <a:lnTo>
                  <a:pt x="3936" y="956"/>
                </a:lnTo>
                <a:lnTo>
                  <a:pt x="3945" y="961"/>
                </a:lnTo>
                <a:lnTo>
                  <a:pt x="3950" y="964"/>
                </a:lnTo>
                <a:lnTo>
                  <a:pt x="3955" y="966"/>
                </a:lnTo>
                <a:lnTo>
                  <a:pt x="3966" y="969"/>
                </a:lnTo>
                <a:lnTo>
                  <a:pt x="3977" y="972"/>
                </a:lnTo>
                <a:lnTo>
                  <a:pt x="3983" y="973"/>
                </a:lnTo>
                <a:lnTo>
                  <a:pt x="3990" y="973"/>
                </a:lnTo>
                <a:lnTo>
                  <a:pt x="4003" y="974"/>
                </a:lnTo>
                <a:lnTo>
                  <a:pt x="4016" y="973"/>
                </a:lnTo>
                <a:lnTo>
                  <a:pt x="4028" y="972"/>
                </a:lnTo>
                <a:lnTo>
                  <a:pt x="4040" y="969"/>
                </a:lnTo>
                <a:lnTo>
                  <a:pt x="4051" y="966"/>
                </a:lnTo>
                <a:lnTo>
                  <a:pt x="4056" y="964"/>
                </a:lnTo>
                <a:lnTo>
                  <a:pt x="4061" y="961"/>
                </a:lnTo>
                <a:lnTo>
                  <a:pt x="4070" y="956"/>
                </a:lnTo>
                <a:lnTo>
                  <a:pt x="4074" y="953"/>
                </a:lnTo>
                <a:lnTo>
                  <a:pt x="4078" y="949"/>
                </a:lnTo>
                <a:lnTo>
                  <a:pt x="4082" y="946"/>
                </a:lnTo>
                <a:lnTo>
                  <a:pt x="4086" y="942"/>
                </a:lnTo>
                <a:lnTo>
                  <a:pt x="4092" y="934"/>
                </a:lnTo>
                <a:lnTo>
                  <a:pt x="4098" y="925"/>
                </a:lnTo>
                <a:lnTo>
                  <a:pt x="4103" y="915"/>
                </a:lnTo>
                <a:lnTo>
                  <a:pt x="4107" y="904"/>
                </a:lnTo>
                <a:lnTo>
                  <a:pt x="4110" y="893"/>
                </a:lnTo>
                <a:lnTo>
                  <a:pt x="4111" y="887"/>
                </a:lnTo>
                <a:lnTo>
                  <a:pt x="4112" y="881"/>
                </a:lnTo>
                <a:lnTo>
                  <a:pt x="4114" y="868"/>
                </a:lnTo>
                <a:lnTo>
                  <a:pt x="4114" y="854"/>
                </a:lnTo>
                <a:lnTo>
                  <a:pt x="4114" y="628"/>
                </a:lnTo>
                <a:lnTo>
                  <a:pt x="4146" y="628"/>
                </a:lnTo>
                <a:lnTo>
                  <a:pt x="4146" y="855"/>
                </a:lnTo>
                <a:lnTo>
                  <a:pt x="4146" y="872"/>
                </a:lnTo>
                <a:lnTo>
                  <a:pt x="4144" y="887"/>
                </a:lnTo>
                <a:lnTo>
                  <a:pt x="4141" y="902"/>
                </a:lnTo>
                <a:lnTo>
                  <a:pt x="4137" y="916"/>
                </a:lnTo>
                <a:lnTo>
                  <a:pt x="4132" y="929"/>
                </a:lnTo>
                <a:lnTo>
                  <a:pt x="4126" y="941"/>
                </a:lnTo>
                <a:lnTo>
                  <a:pt x="4119" y="953"/>
                </a:lnTo>
                <a:lnTo>
                  <a:pt x="4110" y="963"/>
                </a:lnTo>
                <a:lnTo>
                  <a:pt x="4100" y="972"/>
                </a:lnTo>
                <a:lnTo>
                  <a:pt x="4090" y="980"/>
                </a:lnTo>
                <a:lnTo>
                  <a:pt x="4084" y="983"/>
                </a:lnTo>
                <a:lnTo>
                  <a:pt x="4078" y="987"/>
                </a:lnTo>
                <a:lnTo>
                  <a:pt x="4072" y="990"/>
                </a:lnTo>
                <a:lnTo>
                  <a:pt x="4065" y="992"/>
                </a:lnTo>
                <a:lnTo>
                  <a:pt x="4058" y="995"/>
                </a:lnTo>
                <a:lnTo>
                  <a:pt x="4051" y="997"/>
                </a:lnTo>
                <a:lnTo>
                  <a:pt x="4036" y="1000"/>
                </a:lnTo>
                <a:lnTo>
                  <a:pt x="4020" y="1002"/>
                </a:lnTo>
                <a:lnTo>
                  <a:pt x="4012" y="1002"/>
                </a:lnTo>
                <a:lnTo>
                  <a:pt x="4003" y="1003"/>
                </a:lnTo>
                <a:close/>
                <a:moveTo>
                  <a:pt x="4545" y="996"/>
                </a:moveTo>
                <a:lnTo>
                  <a:pt x="4513" y="996"/>
                </a:lnTo>
                <a:lnTo>
                  <a:pt x="4513" y="821"/>
                </a:lnTo>
                <a:lnTo>
                  <a:pt x="4280" y="821"/>
                </a:lnTo>
                <a:lnTo>
                  <a:pt x="4280" y="996"/>
                </a:lnTo>
                <a:lnTo>
                  <a:pt x="4249" y="996"/>
                </a:lnTo>
                <a:lnTo>
                  <a:pt x="4249" y="628"/>
                </a:lnTo>
                <a:lnTo>
                  <a:pt x="4280" y="628"/>
                </a:lnTo>
                <a:lnTo>
                  <a:pt x="4280" y="793"/>
                </a:lnTo>
                <a:lnTo>
                  <a:pt x="4513" y="793"/>
                </a:lnTo>
                <a:lnTo>
                  <a:pt x="4513" y="628"/>
                </a:lnTo>
                <a:lnTo>
                  <a:pt x="4545" y="628"/>
                </a:lnTo>
                <a:lnTo>
                  <a:pt x="4545" y="996"/>
                </a:lnTo>
                <a:close/>
                <a:moveTo>
                  <a:pt x="4773" y="996"/>
                </a:moveTo>
                <a:lnTo>
                  <a:pt x="4741" y="996"/>
                </a:lnTo>
                <a:lnTo>
                  <a:pt x="4741" y="657"/>
                </a:lnTo>
                <a:lnTo>
                  <a:pt x="4621" y="657"/>
                </a:lnTo>
                <a:lnTo>
                  <a:pt x="4621" y="628"/>
                </a:lnTo>
                <a:lnTo>
                  <a:pt x="4893" y="628"/>
                </a:lnTo>
                <a:lnTo>
                  <a:pt x="4893" y="657"/>
                </a:lnTo>
                <a:lnTo>
                  <a:pt x="4773" y="657"/>
                </a:lnTo>
                <a:lnTo>
                  <a:pt x="4773" y="996"/>
                </a:lnTo>
                <a:close/>
                <a:moveTo>
                  <a:pt x="5235" y="996"/>
                </a:moveTo>
                <a:lnTo>
                  <a:pt x="5199" y="996"/>
                </a:lnTo>
                <a:lnTo>
                  <a:pt x="5162" y="906"/>
                </a:lnTo>
                <a:lnTo>
                  <a:pt x="4967" y="906"/>
                </a:lnTo>
                <a:lnTo>
                  <a:pt x="4931" y="996"/>
                </a:lnTo>
                <a:lnTo>
                  <a:pt x="4895" y="996"/>
                </a:lnTo>
                <a:lnTo>
                  <a:pt x="5045" y="628"/>
                </a:lnTo>
                <a:lnTo>
                  <a:pt x="5084" y="628"/>
                </a:lnTo>
                <a:lnTo>
                  <a:pt x="5235" y="996"/>
                </a:lnTo>
                <a:close/>
                <a:moveTo>
                  <a:pt x="5152" y="877"/>
                </a:moveTo>
                <a:lnTo>
                  <a:pt x="5065" y="662"/>
                </a:lnTo>
                <a:lnTo>
                  <a:pt x="4978" y="877"/>
                </a:lnTo>
                <a:lnTo>
                  <a:pt x="5152" y="877"/>
                </a:lnTo>
                <a:close/>
                <a:moveTo>
                  <a:pt x="5604" y="996"/>
                </a:moveTo>
                <a:lnTo>
                  <a:pt x="5567" y="996"/>
                </a:lnTo>
                <a:lnTo>
                  <a:pt x="5531" y="906"/>
                </a:lnTo>
                <a:lnTo>
                  <a:pt x="5335" y="906"/>
                </a:lnTo>
                <a:lnTo>
                  <a:pt x="5299" y="996"/>
                </a:lnTo>
                <a:lnTo>
                  <a:pt x="5262" y="996"/>
                </a:lnTo>
                <a:lnTo>
                  <a:pt x="5414" y="628"/>
                </a:lnTo>
                <a:lnTo>
                  <a:pt x="5453" y="628"/>
                </a:lnTo>
                <a:lnTo>
                  <a:pt x="5604" y="996"/>
                </a:lnTo>
                <a:close/>
                <a:moveTo>
                  <a:pt x="5520" y="877"/>
                </a:moveTo>
                <a:lnTo>
                  <a:pt x="5434" y="662"/>
                </a:lnTo>
                <a:lnTo>
                  <a:pt x="5346" y="877"/>
                </a:lnTo>
                <a:lnTo>
                  <a:pt x="5520" y="877"/>
                </a:lnTo>
                <a:close/>
                <a:moveTo>
                  <a:pt x="6012" y="996"/>
                </a:moveTo>
                <a:lnTo>
                  <a:pt x="5981" y="996"/>
                </a:lnTo>
                <a:lnTo>
                  <a:pt x="5981" y="668"/>
                </a:lnTo>
                <a:lnTo>
                  <a:pt x="5846" y="996"/>
                </a:lnTo>
                <a:lnTo>
                  <a:pt x="5834" y="996"/>
                </a:lnTo>
                <a:lnTo>
                  <a:pt x="5700" y="668"/>
                </a:lnTo>
                <a:lnTo>
                  <a:pt x="5700" y="996"/>
                </a:lnTo>
                <a:lnTo>
                  <a:pt x="5668" y="996"/>
                </a:lnTo>
                <a:lnTo>
                  <a:pt x="5668" y="628"/>
                </a:lnTo>
                <a:lnTo>
                  <a:pt x="5715" y="628"/>
                </a:lnTo>
                <a:lnTo>
                  <a:pt x="5840" y="934"/>
                </a:lnTo>
                <a:lnTo>
                  <a:pt x="5965" y="628"/>
                </a:lnTo>
                <a:lnTo>
                  <a:pt x="6012" y="628"/>
                </a:lnTo>
                <a:lnTo>
                  <a:pt x="6012" y="996"/>
                </a:lnTo>
                <a:close/>
                <a:moveTo>
                  <a:pt x="6459" y="996"/>
                </a:moveTo>
                <a:lnTo>
                  <a:pt x="6427" y="996"/>
                </a:lnTo>
                <a:lnTo>
                  <a:pt x="6427" y="668"/>
                </a:lnTo>
                <a:lnTo>
                  <a:pt x="6293" y="996"/>
                </a:lnTo>
                <a:lnTo>
                  <a:pt x="6281" y="996"/>
                </a:lnTo>
                <a:lnTo>
                  <a:pt x="6146" y="668"/>
                </a:lnTo>
                <a:lnTo>
                  <a:pt x="6146" y="996"/>
                </a:lnTo>
                <a:lnTo>
                  <a:pt x="6115" y="996"/>
                </a:lnTo>
                <a:lnTo>
                  <a:pt x="6115" y="628"/>
                </a:lnTo>
                <a:lnTo>
                  <a:pt x="6161" y="628"/>
                </a:lnTo>
                <a:lnTo>
                  <a:pt x="6287" y="934"/>
                </a:lnTo>
                <a:lnTo>
                  <a:pt x="6411" y="628"/>
                </a:lnTo>
                <a:lnTo>
                  <a:pt x="6459" y="628"/>
                </a:lnTo>
                <a:lnTo>
                  <a:pt x="6459" y="996"/>
                </a:lnTo>
                <a:close/>
                <a:moveTo>
                  <a:pt x="6864" y="996"/>
                </a:moveTo>
                <a:lnTo>
                  <a:pt x="6827" y="996"/>
                </a:lnTo>
                <a:lnTo>
                  <a:pt x="6791" y="906"/>
                </a:lnTo>
                <a:lnTo>
                  <a:pt x="6596" y="906"/>
                </a:lnTo>
                <a:lnTo>
                  <a:pt x="6560" y="996"/>
                </a:lnTo>
                <a:lnTo>
                  <a:pt x="6523" y="996"/>
                </a:lnTo>
                <a:lnTo>
                  <a:pt x="6674" y="628"/>
                </a:lnTo>
                <a:lnTo>
                  <a:pt x="6713" y="628"/>
                </a:lnTo>
                <a:lnTo>
                  <a:pt x="6864" y="996"/>
                </a:lnTo>
                <a:close/>
                <a:moveTo>
                  <a:pt x="6780" y="877"/>
                </a:moveTo>
                <a:lnTo>
                  <a:pt x="6694" y="662"/>
                </a:lnTo>
                <a:lnTo>
                  <a:pt x="6607" y="877"/>
                </a:lnTo>
                <a:lnTo>
                  <a:pt x="6780" y="877"/>
                </a:lnTo>
                <a:close/>
                <a:moveTo>
                  <a:pt x="7222" y="996"/>
                </a:moveTo>
                <a:lnTo>
                  <a:pt x="7191" y="996"/>
                </a:lnTo>
                <a:lnTo>
                  <a:pt x="6960" y="680"/>
                </a:lnTo>
                <a:lnTo>
                  <a:pt x="6960" y="996"/>
                </a:lnTo>
                <a:lnTo>
                  <a:pt x="6928" y="996"/>
                </a:lnTo>
                <a:lnTo>
                  <a:pt x="6928" y="628"/>
                </a:lnTo>
                <a:lnTo>
                  <a:pt x="6960" y="628"/>
                </a:lnTo>
                <a:lnTo>
                  <a:pt x="7191" y="940"/>
                </a:lnTo>
                <a:lnTo>
                  <a:pt x="7191" y="628"/>
                </a:lnTo>
                <a:lnTo>
                  <a:pt x="7222" y="628"/>
                </a:lnTo>
                <a:lnTo>
                  <a:pt x="7222" y="996"/>
                </a:lnTo>
                <a:close/>
                <a:moveTo>
                  <a:pt x="838" y="444"/>
                </a:moveTo>
                <a:lnTo>
                  <a:pt x="802" y="444"/>
                </a:lnTo>
                <a:lnTo>
                  <a:pt x="765" y="354"/>
                </a:lnTo>
                <a:lnTo>
                  <a:pt x="571" y="354"/>
                </a:lnTo>
                <a:lnTo>
                  <a:pt x="534" y="444"/>
                </a:lnTo>
                <a:lnTo>
                  <a:pt x="498" y="444"/>
                </a:lnTo>
                <a:lnTo>
                  <a:pt x="648" y="77"/>
                </a:lnTo>
                <a:lnTo>
                  <a:pt x="688" y="77"/>
                </a:lnTo>
                <a:lnTo>
                  <a:pt x="838" y="444"/>
                </a:lnTo>
                <a:close/>
                <a:moveTo>
                  <a:pt x="755" y="325"/>
                </a:moveTo>
                <a:lnTo>
                  <a:pt x="668" y="110"/>
                </a:lnTo>
                <a:lnTo>
                  <a:pt x="581" y="325"/>
                </a:lnTo>
                <a:lnTo>
                  <a:pt x="755" y="325"/>
                </a:lnTo>
                <a:close/>
                <a:moveTo>
                  <a:pt x="1007" y="451"/>
                </a:moveTo>
                <a:lnTo>
                  <a:pt x="996" y="451"/>
                </a:lnTo>
                <a:lnTo>
                  <a:pt x="985" y="450"/>
                </a:lnTo>
                <a:lnTo>
                  <a:pt x="975" y="448"/>
                </a:lnTo>
                <a:lnTo>
                  <a:pt x="965" y="447"/>
                </a:lnTo>
                <a:lnTo>
                  <a:pt x="955" y="444"/>
                </a:lnTo>
                <a:lnTo>
                  <a:pt x="945" y="442"/>
                </a:lnTo>
                <a:lnTo>
                  <a:pt x="936" y="438"/>
                </a:lnTo>
                <a:lnTo>
                  <a:pt x="928" y="434"/>
                </a:lnTo>
                <a:lnTo>
                  <a:pt x="919" y="430"/>
                </a:lnTo>
                <a:lnTo>
                  <a:pt x="912" y="426"/>
                </a:lnTo>
                <a:lnTo>
                  <a:pt x="904" y="421"/>
                </a:lnTo>
                <a:lnTo>
                  <a:pt x="897" y="416"/>
                </a:lnTo>
                <a:lnTo>
                  <a:pt x="890" y="411"/>
                </a:lnTo>
                <a:lnTo>
                  <a:pt x="884" y="405"/>
                </a:lnTo>
                <a:lnTo>
                  <a:pt x="878" y="399"/>
                </a:lnTo>
                <a:lnTo>
                  <a:pt x="873" y="393"/>
                </a:lnTo>
                <a:lnTo>
                  <a:pt x="893" y="369"/>
                </a:lnTo>
                <a:lnTo>
                  <a:pt x="903" y="379"/>
                </a:lnTo>
                <a:lnTo>
                  <a:pt x="908" y="384"/>
                </a:lnTo>
                <a:lnTo>
                  <a:pt x="914" y="389"/>
                </a:lnTo>
                <a:lnTo>
                  <a:pt x="926" y="398"/>
                </a:lnTo>
                <a:lnTo>
                  <a:pt x="940" y="406"/>
                </a:lnTo>
                <a:lnTo>
                  <a:pt x="947" y="410"/>
                </a:lnTo>
                <a:lnTo>
                  <a:pt x="955" y="413"/>
                </a:lnTo>
                <a:lnTo>
                  <a:pt x="963" y="416"/>
                </a:lnTo>
                <a:lnTo>
                  <a:pt x="971" y="418"/>
                </a:lnTo>
                <a:lnTo>
                  <a:pt x="980" y="420"/>
                </a:lnTo>
                <a:lnTo>
                  <a:pt x="989" y="421"/>
                </a:lnTo>
                <a:lnTo>
                  <a:pt x="999" y="422"/>
                </a:lnTo>
                <a:lnTo>
                  <a:pt x="1008" y="422"/>
                </a:lnTo>
                <a:lnTo>
                  <a:pt x="1017" y="422"/>
                </a:lnTo>
                <a:lnTo>
                  <a:pt x="1026" y="422"/>
                </a:lnTo>
                <a:lnTo>
                  <a:pt x="1034" y="421"/>
                </a:lnTo>
                <a:lnTo>
                  <a:pt x="1041" y="419"/>
                </a:lnTo>
                <a:lnTo>
                  <a:pt x="1049" y="418"/>
                </a:lnTo>
                <a:lnTo>
                  <a:pt x="1055" y="415"/>
                </a:lnTo>
                <a:lnTo>
                  <a:pt x="1061" y="413"/>
                </a:lnTo>
                <a:lnTo>
                  <a:pt x="1067" y="410"/>
                </a:lnTo>
                <a:lnTo>
                  <a:pt x="1076" y="404"/>
                </a:lnTo>
                <a:lnTo>
                  <a:pt x="1085" y="398"/>
                </a:lnTo>
                <a:lnTo>
                  <a:pt x="1088" y="394"/>
                </a:lnTo>
                <a:lnTo>
                  <a:pt x="1091" y="390"/>
                </a:lnTo>
                <a:lnTo>
                  <a:pt x="1094" y="386"/>
                </a:lnTo>
                <a:lnTo>
                  <a:pt x="1096" y="382"/>
                </a:lnTo>
                <a:lnTo>
                  <a:pt x="1100" y="374"/>
                </a:lnTo>
                <a:lnTo>
                  <a:pt x="1103" y="365"/>
                </a:lnTo>
                <a:lnTo>
                  <a:pt x="1104" y="357"/>
                </a:lnTo>
                <a:lnTo>
                  <a:pt x="1105" y="349"/>
                </a:lnTo>
                <a:lnTo>
                  <a:pt x="1104" y="341"/>
                </a:lnTo>
                <a:lnTo>
                  <a:pt x="1103" y="334"/>
                </a:lnTo>
                <a:lnTo>
                  <a:pt x="1101" y="327"/>
                </a:lnTo>
                <a:lnTo>
                  <a:pt x="1099" y="321"/>
                </a:lnTo>
                <a:lnTo>
                  <a:pt x="1095" y="315"/>
                </a:lnTo>
                <a:lnTo>
                  <a:pt x="1092" y="310"/>
                </a:lnTo>
                <a:lnTo>
                  <a:pt x="1087" y="305"/>
                </a:lnTo>
                <a:lnTo>
                  <a:pt x="1085" y="303"/>
                </a:lnTo>
                <a:lnTo>
                  <a:pt x="1082" y="301"/>
                </a:lnTo>
                <a:lnTo>
                  <a:pt x="1070" y="293"/>
                </a:lnTo>
                <a:lnTo>
                  <a:pt x="1064" y="290"/>
                </a:lnTo>
                <a:lnTo>
                  <a:pt x="1057" y="287"/>
                </a:lnTo>
                <a:lnTo>
                  <a:pt x="1043" y="281"/>
                </a:lnTo>
                <a:lnTo>
                  <a:pt x="1027" y="276"/>
                </a:lnTo>
                <a:lnTo>
                  <a:pt x="995" y="267"/>
                </a:lnTo>
                <a:lnTo>
                  <a:pt x="962" y="257"/>
                </a:lnTo>
                <a:lnTo>
                  <a:pt x="954" y="254"/>
                </a:lnTo>
                <a:lnTo>
                  <a:pt x="946" y="251"/>
                </a:lnTo>
                <a:lnTo>
                  <a:pt x="939" y="248"/>
                </a:lnTo>
                <a:lnTo>
                  <a:pt x="932" y="244"/>
                </a:lnTo>
                <a:lnTo>
                  <a:pt x="925" y="240"/>
                </a:lnTo>
                <a:lnTo>
                  <a:pt x="919" y="236"/>
                </a:lnTo>
                <a:lnTo>
                  <a:pt x="907" y="226"/>
                </a:lnTo>
                <a:lnTo>
                  <a:pt x="902" y="221"/>
                </a:lnTo>
                <a:lnTo>
                  <a:pt x="897" y="215"/>
                </a:lnTo>
                <a:lnTo>
                  <a:pt x="894" y="209"/>
                </a:lnTo>
                <a:lnTo>
                  <a:pt x="890" y="202"/>
                </a:lnTo>
                <a:lnTo>
                  <a:pt x="888" y="195"/>
                </a:lnTo>
                <a:lnTo>
                  <a:pt x="886" y="186"/>
                </a:lnTo>
                <a:lnTo>
                  <a:pt x="885" y="178"/>
                </a:lnTo>
                <a:lnTo>
                  <a:pt x="884" y="169"/>
                </a:lnTo>
                <a:lnTo>
                  <a:pt x="885" y="158"/>
                </a:lnTo>
                <a:lnTo>
                  <a:pt x="887" y="147"/>
                </a:lnTo>
                <a:lnTo>
                  <a:pt x="888" y="142"/>
                </a:lnTo>
                <a:lnTo>
                  <a:pt x="890" y="137"/>
                </a:lnTo>
                <a:lnTo>
                  <a:pt x="894" y="128"/>
                </a:lnTo>
                <a:lnTo>
                  <a:pt x="899" y="119"/>
                </a:lnTo>
                <a:lnTo>
                  <a:pt x="901" y="115"/>
                </a:lnTo>
                <a:lnTo>
                  <a:pt x="905" y="111"/>
                </a:lnTo>
                <a:lnTo>
                  <a:pt x="912" y="104"/>
                </a:lnTo>
                <a:lnTo>
                  <a:pt x="920" y="97"/>
                </a:lnTo>
                <a:lnTo>
                  <a:pt x="924" y="94"/>
                </a:lnTo>
                <a:lnTo>
                  <a:pt x="928" y="91"/>
                </a:lnTo>
                <a:lnTo>
                  <a:pt x="938" y="86"/>
                </a:lnTo>
                <a:lnTo>
                  <a:pt x="948" y="81"/>
                </a:lnTo>
                <a:lnTo>
                  <a:pt x="958" y="77"/>
                </a:lnTo>
                <a:lnTo>
                  <a:pt x="969" y="75"/>
                </a:lnTo>
                <a:lnTo>
                  <a:pt x="980" y="72"/>
                </a:lnTo>
                <a:lnTo>
                  <a:pt x="992" y="71"/>
                </a:lnTo>
                <a:lnTo>
                  <a:pt x="1005" y="71"/>
                </a:lnTo>
                <a:lnTo>
                  <a:pt x="1015" y="71"/>
                </a:lnTo>
                <a:lnTo>
                  <a:pt x="1025" y="71"/>
                </a:lnTo>
                <a:lnTo>
                  <a:pt x="1034" y="73"/>
                </a:lnTo>
                <a:lnTo>
                  <a:pt x="1044" y="74"/>
                </a:lnTo>
                <a:lnTo>
                  <a:pt x="1052" y="76"/>
                </a:lnTo>
                <a:lnTo>
                  <a:pt x="1061" y="78"/>
                </a:lnTo>
                <a:lnTo>
                  <a:pt x="1069" y="81"/>
                </a:lnTo>
                <a:lnTo>
                  <a:pt x="1077" y="84"/>
                </a:lnTo>
                <a:lnTo>
                  <a:pt x="1085" y="88"/>
                </a:lnTo>
                <a:lnTo>
                  <a:pt x="1092" y="92"/>
                </a:lnTo>
                <a:lnTo>
                  <a:pt x="1106" y="101"/>
                </a:lnTo>
                <a:lnTo>
                  <a:pt x="1112" y="105"/>
                </a:lnTo>
                <a:lnTo>
                  <a:pt x="1118" y="111"/>
                </a:lnTo>
                <a:lnTo>
                  <a:pt x="1124" y="116"/>
                </a:lnTo>
                <a:lnTo>
                  <a:pt x="1130" y="122"/>
                </a:lnTo>
                <a:lnTo>
                  <a:pt x="1109" y="146"/>
                </a:lnTo>
                <a:lnTo>
                  <a:pt x="1104" y="140"/>
                </a:lnTo>
                <a:lnTo>
                  <a:pt x="1098" y="134"/>
                </a:lnTo>
                <a:lnTo>
                  <a:pt x="1093" y="129"/>
                </a:lnTo>
                <a:lnTo>
                  <a:pt x="1087" y="125"/>
                </a:lnTo>
                <a:lnTo>
                  <a:pt x="1081" y="121"/>
                </a:lnTo>
                <a:lnTo>
                  <a:pt x="1075" y="117"/>
                </a:lnTo>
                <a:lnTo>
                  <a:pt x="1068" y="113"/>
                </a:lnTo>
                <a:lnTo>
                  <a:pt x="1062" y="110"/>
                </a:lnTo>
                <a:lnTo>
                  <a:pt x="1055" y="108"/>
                </a:lnTo>
                <a:lnTo>
                  <a:pt x="1048" y="105"/>
                </a:lnTo>
                <a:lnTo>
                  <a:pt x="1041" y="103"/>
                </a:lnTo>
                <a:lnTo>
                  <a:pt x="1034" y="102"/>
                </a:lnTo>
                <a:lnTo>
                  <a:pt x="1026" y="101"/>
                </a:lnTo>
                <a:lnTo>
                  <a:pt x="1019" y="100"/>
                </a:lnTo>
                <a:lnTo>
                  <a:pt x="1003" y="99"/>
                </a:lnTo>
                <a:lnTo>
                  <a:pt x="994" y="100"/>
                </a:lnTo>
                <a:lnTo>
                  <a:pt x="985" y="101"/>
                </a:lnTo>
                <a:lnTo>
                  <a:pt x="977" y="102"/>
                </a:lnTo>
                <a:lnTo>
                  <a:pt x="969" y="104"/>
                </a:lnTo>
                <a:lnTo>
                  <a:pt x="962" y="107"/>
                </a:lnTo>
                <a:lnTo>
                  <a:pt x="955" y="110"/>
                </a:lnTo>
                <a:lnTo>
                  <a:pt x="948" y="114"/>
                </a:lnTo>
                <a:lnTo>
                  <a:pt x="942" y="118"/>
                </a:lnTo>
                <a:lnTo>
                  <a:pt x="936" y="123"/>
                </a:lnTo>
                <a:lnTo>
                  <a:pt x="931" y="128"/>
                </a:lnTo>
                <a:lnTo>
                  <a:pt x="927" y="134"/>
                </a:lnTo>
                <a:lnTo>
                  <a:pt x="924" y="140"/>
                </a:lnTo>
                <a:lnTo>
                  <a:pt x="921" y="146"/>
                </a:lnTo>
                <a:lnTo>
                  <a:pt x="919" y="153"/>
                </a:lnTo>
                <a:lnTo>
                  <a:pt x="918" y="160"/>
                </a:lnTo>
                <a:lnTo>
                  <a:pt x="917" y="167"/>
                </a:lnTo>
                <a:lnTo>
                  <a:pt x="918" y="174"/>
                </a:lnTo>
                <a:lnTo>
                  <a:pt x="919" y="180"/>
                </a:lnTo>
                <a:lnTo>
                  <a:pt x="921" y="186"/>
                </a:lnTo>
                <a:lnTo>
                  <a:pt x="923" y="191"/>
                </a:lnTo>
                <a:lnTo>
                  <a:pt x="927" y="196"/>
                </a:lnTo>
                <a:lnTo>
                  <a:pt x="930" y="201"/>
                </a:lnTo>
                <a:lnTo>
                  <a:pt x="935" y="205"/>
                </a:lnTo>
                <a:lnTo>
                  <a:pt x="940" y="209"/>
                </a:lnTo>
                <a:lnTo>
                  <a:pt x="952" y="215"/>
                </a:lnTo>
                <a:lnTo>
                  <a:pt x="958" y="219"/>
                </a:lnTo>
                <a:lnTo>
                  <a:pt x="965" y="222"/>
                </a:lnTo>
                <a:lnTo>
                  <a:pt x="972" y="224"/>
                </a:lnTo>
                <a:lnTo>
                  <a:pt x="979" y="227"/>
                </a:lnTo>
                <a:lnTo>
                  <a:pt x="995" y="232"/>
                </a:lnTo>
                <a:lnTo>
                  <a:pt x="1028" y="241"/>
                </a:lnTo>
                <a:lnTo>
                  <a:pt x="1060" y="251"/>
                </a:lnTo>
                <a:lnTo>
                  <a:pt x="1068" y="254"/>
                </a:lnTo>
                <a:lnTo>
                  <a:pt x="1076" y="258"/>
                </a:lnTo>
                <a:lnTo>
                  <a:pt x="1080" y="259"/>
                </a:lnTo>
                <a:lnTo>
                  <a:pt x="1083" y="261"/>
                </a:lnTo>
                <a:lnTo>
                  <a:pt x="1090" y="265"/>
                </a:lnTo>
                <a:lnTo>
                  <a:pt x="1097" y="270"/>
                </a:lnTo>
                <a:lnTo>
                  <a:pt x="1103" y="274"/>
                </a:lnTo>
                <a:lnTo>
                  <a:pt x="1109" y="279"/>
                </a:lnTo>
                <a:lnTo>
                  <a:pt x="1115" y="284"/>
                </a:lnTo>
                <a:lnTo>
                  <a:pt x="1120" y="290"/>
                </a:lnTo>
                <a:lnTo>
                  <a:pt x="1125" y="297"/>
                </a:lnTo>
                <a:lnTo>
                  <a:pt x="1127" y="300"/>
                </a:lnTo>
                <a:lnTo>
                  <a:pt x="1128" y="303"/>
                </a:lnTo>
                <a:lnTo>
                  <a:pt x="1132" y="311"/>
                </a:lnTo>
                <a:lnTo>
                  <a:pt x="1134" y="319"/>
                </a:lnTo>
                <a:lnTo>
                  <a:pt x="1136" y="328"/>
                </a:lnTo>
                <a:lnTo>
                  <a:pt x="1137" y="337"/>
                </a:lnTo>
                <a:lnTo>
                  <a:pt x="1138" y="347"/>
                </a:lnTo>
                <a:lnTo>
                  <a:pt x="1137" y="359"/>
                </a:lnTo>
                <a:lnTo>
                  <a:pt x="1135" y="371"/>
                </a:lnTo>
                <a:lnTo>
                  <a:pt x="1131" y="383"/>
                </a:lnTo>
                <a:lnTo>
                  <a:pt x="1126" y="395"/>
                </a:lnTo>
                <a:lnTo>
                  <a:pt x="1123" y="401"/>
                </a:lnTo>
                <a:lnTo>
                  <a:pt x="1119" y="406"/>
                </a:lnTo>
                <a:lnTo>
                  <a:pt x="1115" y="412"/>
                </a:lnTo>
                <a:lnTo>
                  <a:pt x="1110" y="417"/>
                </a:lnTo>
                <a:lnTo>
                  <a:pt x="1104" y="422"/>
                </a:lnTo>
                <a:lnTo>
                  <a:pt x="1099" y="426"/>
                </a:lnTo>
                <a:lnTo>
                  <a:pt x="1092" y="430"/>
                </a:lnTo>
                <a:lnTo>
                  <a:pt x="1085" y="435"/>
                </a:lnTo>
                <a:lnTo>
                  <a:pt x="1078" y="438"/>
                </a:lnTo>
                <a:lnTo>
                  <a:pt x="1070" y="442"/>
                </a:lnTo>
                <a:lnTo>
                  <a:pt x="1061" y="444"/>
                </a:lnTo>
                <a:lnTo>
                  <a:pt x="1051" y="447"/>
                </a:lnTo>
                <a:lnTo>
                  <a:pt x="1041" y="448"/>
                </a:lnTo>
                <a:lnTo>
                  <a:pt x="1031" y="450"/>
                </a:lnTo>
                <a:lnTo>
                  <a:pt x="1019" y="451"/>
                </a:lnTo>
                <a:lnTo>
                  <a:pt x="1007" y="451"/>
                </a:lnTo>
                <a:close/>
                <a:moveTo>
                  <a:pt x="1255" y="444"/>
                </a:moveTo>
                <a:lnTo>
                  <a:pt x="1224" y="444"/>
                </a:lnTo>
                <a:lnTo>
                  <a:pt x="1224" y="77"/>
                </a:lnTo>
                <a:lnTo>
                  <a:pt x="1255" y="77"/>
                </a:lnTo>
                <a:lnTo>
                  <a:pt x="1255" y="444"/>
                </a:lnTo>
                <a:close/>
                <a:moveTo>
                  <a:pt x="1661" y="444"/>
                </a:moveTo>
                <a:lnTo>
                  <a:pt x="1624" y="444"/>
                </a:lnTo>
                <a:lnTo>
                  <a:pt x="1588" y="354"/>
                </a:lnTo>
                <a:lnTo>
                  <a:pt x="1393" y="354"/>
                </a:lnTo>
                <a:lnTo>
                  <a:pt x="1357" y="444"/>
                </a:lnTo>
                <a:lnTo>
                  <a:pt x="1320" y="444"/>
                </a:lnTo>
                <a:lnTo>
                  <a:pt x="1471" y="77"/>
                </a:lnTo>
                <a:lnTo>
                  <a:pt x="1510" y="77"/>
                </a:lnTo>
                <a:lnTo>
                  <a:pt x="1661" y="444"/>
                </a:lnTo>
                <a:close/>
                <a:moveTo>
                  <a:pt x="1577" y="325"/>
                </a:moveTo>
                <a:lnTo>
                  <a:pt x="1491" y="110"/>
                </a:lnTo>
                <a:lnTo>
                  <a:pt x="1404" y="325"/>
                </a:lnTo>
                <a:lnTo>
                  <a:pt x="1577" y="325"/>
                </a:lnTo>
                <a:close/>
                <a:moveTo>
                  <a:pt x="1991" y="444"/>
                </a:moveTo>
                <a:lnTo>
                  <a:pt x="1950" y="444"/>
                </a:lnTo>
                <a:lnTo>
                  <a:pt x="1798" y="271"/>
                </a:lnTo>
                <a:lnTo>
                  <a:pt x="1757" y="316"/>
                </a:lnTo>
                <a:lnTo>
                  <a:pt x="1757" y="444"/>
                </a:lnTo>
                <a:lnTo>
                  <a:pt x="1725" y="444"/>
                </a:lnTo>
                <a:lnTo>
                  <a:pt x="1725" y="77"/>
                </a:lnTo>
                <a:lnTo>
                  <a:pt x="1757" y="77"/>
                </a:lnTo>
                <a:lnTo>
                  <a:pt x="1757" y="278"/>
                </a:lnTo>
                <a:lnTo>
                  <a:pt x="1935" y="77"/>
                </a:lnTo>
                <a:lnTo>
                  <a:pt x="1976" y="77"/>
                </a:lnTo>
                <a:lnTo>
                  <a:pt x="1819" y="252"/>
                </a:lnTo>
                <a:lnTo>
                  <a:pt x="1991" y="444"/>
                </a:lnTo>
                <a:close/>
                <a:moveTo>
                  <a:pt x="2325" y="444"/>
                </a:moveTo>
                <a:lnTo>
                  <a:pt x="2284" y="444"/>
                </a:lnTo>
                <a:lnTo>
                  <a:pt x="2133" y="271"/>
                </a:lnTo>
                <a:lnTo>
                  <a:pt x="2092" y="316"/>
                </a:lnTo>
                <a:lnTo>
                  <a:pt x="2092" y="444"/>
                </a:lnTo>
                <a:lnTo>
                  <a:pt x="2061" y="444"/>
                </a:lnTo>
                <a:lnTo>
                  <a:pt x="2061" y="77"/>
                </a:lnTo>
                <a:lnTo>
                  <a:pt x="2092" y="77"/>
                </a:lnTo>
                <a:lnTo>
                  <a:pt x="2092" y="278"/>
                </a:lnTo>
                <a:lnTo>
                  <a:pt x="2270" y="77"/>
                </a:lnTo>
                <a:lnTo>
                  <a:pt x="2310" y="77"/>
                </a:lnTo>
                <a:lnTo>
                  <a:pt x="2153" y="252"/>
                </a:lnTo>
                <a:lnTo>
                  <a:pt x="2325" y="444"/>
                </a:lnTo>
                <a:close/>
                <a:moveTo>
                  <a:pt x="2698" y="444"/>
                </a:moveTo>
                <a:lnTo>
                  <a:pt x="2661" y="444"/>
                </a:lnTo>
                <a:lnTo>
                  <a:pt x="2625" y="354"/>
                </a:lnTo>
                <a:lnTo>
                  <a:pt x="2430" y="354"/>
                </a:lnTo>
                <a:lnTo>
                  <a:pt x="2394" y="444"/>
                </a:lnTo>
                <a:lnTo>
                  <a:pt x="2357" y="444"/>
                </a:lnTo>
                <a:lnTo>
                  <a:pt x="2508" y="77"/>
                </a:lnTo>
                <a:lnTo>
                  <a:pt x="2547" y="77"/>
                </a:lnTo>
                <a:lnTo>
                  <a:pt x="2698" y="444"/>
                </a:lnTo>
                <a:close/>
                <a:moveTo>
                  <a:pt x="2614" y="325"/>
                </a:moveTo>
                <a:lnTo>
                  <a:pt x="2528" y="110"/>
                </a:lnTo>
                <a:lnTo>
                  <a:pt x="2441" y="325"/>
                </a:lnTo>
                <a:lnTo>
                  <a:pt x="2614" y="325"/>
                </a:lnTo>
                <a:close/>
                <a:moveTo>
                  <a:pt x="3065" y="444"/>
                </a:moveTo>
                <a:lnTo>
                  <a:pt x="3029" y="444"/>
                </a:lnTo>
                <a:lnTo>
                  <a:pt x="2992" y="354"/>
                </a:lnTo>
                <a:lnTo>
                  <a:pt x="2798" y="354"/>
                </a:lnTo>
                <a:lnTo>
                  <a:pt x="2761" y="444"/>
                </a:lnTo>
                <a:lnTo>
                  <a:pt x="2725" y="444"/>
                </a:lnTo>
                <a:lnTo>
                  <a:pt x="2875" y="77"/>
                </a:lnTo>
                <a:lnTo>
                  <a:pt x="2915" y="77"/>
                </a:lnTo>
                <a:lnTo>
                  <a:pt x="3065" y="444"/>
                </a:lnTo>
                <a:close/>
                <a:moveTo>
                  <a:pt x="2982" y="325"/>
                </a:moveTo>
                <a:lnTo>
                  <a:pt x="2895" y="110"/>
                </a:lnTo>
                <a:lnTo>
                  <a:pt x="2808" y="325"/>
                </a:lnTo>
                <a:lnTo>
                  <a:pt x="2982" y="325"/>
                </a:lnTo>
                <a:close/>
                <a:moveTo>
                  <a:pt x="3474" y="444"/>
                </a:moveTo>
                <a:lnTo>
                  <a:pt x="3442" y="444"/>
                </a:lnTo>
                <a:lnTo>
                  <a:pt x="3442" y="116"/>
                </a:lnTo>
                <a:lnTo>
                  <a:pt x="3308" y="444"/>
                </a:lnTo>
                <a:lnTo>
                  <a:pt x="3296" y="444"/>
                </a:lnTo>
                <a:lnTo>
                  <a:pt x="3161" y="116"/>
                </a:lnTo>
                <a:lnTo>
                  <a:pt x="3161" y="444"/>
                </a:lnTo>
                <a:lnTo>
                  <a:pt x="3130" y="444"/>
                </a:lnTo>
                <a:lnTo>
                  <a:pt x="3130" y="77"/>
                </a:lnTo>
                <a:lnTo>
                  <a:pt x="3177" y="77"/>
                </a:lnTo>
                <a:lnTo>
                  <a:pt x="3302" y="383"/>
                </a:lnTo>
                <a:lnTo>
                  <a:pt x="3427" y="77"/>
                </a:lnTo>
                <a:lnTo>
                  <a:pt x="3474" y="77"/>
                </a:lnTo>
                <a:lnTo>
                  <a:pt x="3474" y="444"/>
                </a:lnTo>
                <a:close/>
                <a:moveTo>
                  <a:pt x="3920" y="444"/>
                </a:moveTo>
                <a:lnTo>
                  <a:pt x="3888" y="444"/>
                </a:lnTo>
                <a:lnTo>
                  <a:pt x="3888" y="116"/>
                </a:lnTo>
                <a:lnTo>
                  <a:pt x="3754" y="444"/>
                </a:lnTo>
                <a:lnTo>
                  <a:pt x="3742" y="444"/>
                </a:lnTo>
                <a:lnTo>
                  <a:pt x="3608" y="116"/>
                </a:lnTo>
                <a:lnTo>
                  <a:pt x="3608" y="444"/>
                </a:lnTo>
                <a:lnTo>
                  <a:pt x="3576" y="444"/>
                </a:lnTo>
                <a:lnTo>
                  <a:pt x="3576" y="77"/>
                </a:lnTo>
                <a:lnTo>
                  <a:pt x="3623" y="77"/>
                </a:lnTo>
                <a:lnTo>
                  <a:pt x="3748" y="383"/>
                </a:lnTo>
                <a:lnTo>
                  <a:pt x="3873" y="77"/>
                </a:lnTo>
                <a:lnTo>
                  <a:pt x="3920" y="77"/>
                </a:lnTo>
                <a:lnTo>
                  <a:pt x="3920" y="444"/>
                </a:lnTo>
                <a:close/>
                <a:moveTo>
                  <a:pt x="4256" y="444"/>
                </a:moveTo>
                <a:lnTo>
                  <a:pt x="4022" y="444"/>
                </a:lnTo>
                <a:lnTo>
                  <a:pt x="4022" y="77"/>
                </a:lnTo>
                <a:lnTo>
                  <a:pt x="4256" y="77"/>
                </a:lnTo>
                <a:lnTo>
                  <a:pt x="4256" y="105"/>
                </a:lnTo>
                <a:lnTo>
                  <a:pt x="4054" y="105"/>
                </a:lnTo>
                <a:lnTo>
                  <a:pt x="4054" y="242"/>
                </a:lnTo>
                <a:lnTo>
                  <a:pt x="4252" y="242"/>
                </a:lnTo>
                <a:lnTo>
                  <a:pt x="4252" y="270"/>
                </a:lnTo>
                <a:lnTo>
                  <a:pt x="4054" y="270"/>
                </a:lnTo>
                <a:lnTo>
                  <a:pt x="4054" y="416"/>
                </a:lnTo>
                <a:lnTo>
                  <a:pt x="4256" y="416"/>
                </a:lnTo>
                <a:lnTo>
                  <a:pt x="4256" y="444"/>
                </a:lnTo>
                <a:close/>
                <a:moveTo>
                  <a:pt x="4625" y="444"/>
                </a:moveTo>
                <a:lnTo>
                  <a:pt x="4593" y="444"/>
                </a:lnTo>
                <a:lnTo>
                  <a:pt x="4593" y="105"/>
                </a:lnTo>
                <a:lnTo>
                  <a:pt x="4473" y="105"/>
                </a:lnTo>
                <a:lnTo>
                  <a:pt x="4473" y="77"/>
                </a:lnTo>
                <a:lnTo>
                  <a:pt x="4745" y="77"/>
                </a:lnTo>
                <a:lnTo>
                  <a:pt x="4745" y="105"/>
                </a:lnTo>
                <a:lnTo>
                  <a:pt x="4625" y="105"/>
                </a:lnTo>
                <a:lnTo>
                  <a:pt x="4625" y="444"/>
                </a:lnTo>
                <a:close/>
                <a:moveTo>
                  <a:pt x="5055" y="444"/>
                </a:moveTo>
                <a:lnTo>
                  <a:pt x="4821" y="444"/>
                </a:lnTo>
                <a:lnTo>
                  <a:pt x="4821" y="77"/>
                </a:lnTo>
                <a:lnTo>
                  <a:pt x="5055" y="77"/>
                </a:lnTo>
                <a:lnTo>
                  <a:pt x="5055" y="105"/>
                </a:lnTo>
                <a:lnTo>
                  <a:pt x="4853" y="105"/>
                </a:lnTo>
                <a:lnTo>
                  <a:pt x="4853" y="242"/>
                </a:lnTo>
                <a:lnTo>
                  <a:pt x="5051" y="242"/>
                </a:lnTo>
                <a:lnTo>
                  <a:pt x="5051" y="270"/>
                </a:lnTo>
                <a:lnTo>
                  <a:pt x="4853" y="270"/>
                </a:lnTo>
                <a:lnTo>
                  <a:pt x="4853" y="416"/>
                </a:lnTo>
                <a:lnTo>
                  <a:pt x="5055" y="416"/>
                </a:lnTo>
                <a:lnTo>
                  <a:pt x="5055" y="444"/>
                </a:lnTo>
                <a:close/>
                <a:moveTo>
                  <a:pt x="5408" y="444"/>
                </a:moveTo>
                <a:lnTo>
                  <a:pt x="5368" y="444"/>
                </a:lnTo>
                <a:lnTo>
                  <a:pt x="5216" y="271"/>
                </a:lnTo>
                <a:lnTo>
                  <a:pt x="5175" y="316"/>
                </a:lnTo>
                <a:lnTo>
                  <a:pt x="5175" y="444"/>
                </a:lnTo>
                <a:lnTo>
                  <a:pt x="5144" y="444"/>
                </a:lnTo>
                <a:lnTo>
                  <a:pt x="5144" y="77"/>
                </a:lnTo>
                <a:lnTo>
                  <a:pt x="5175" y="77"/>
                </a:lnTo>
                <a:lnTo>
                  <a:pt x="5175" y="278"/>
                </a:lnTo>
                <a:lnTo>
                  <a:pt x="5353" y="77"/>
                </a:lnTo>
                <a:lnTo>
                  <a:pt x="5393" y="77"/>
                </a:lnTo>
                <a:lnTo>
                  <a:pt x="5236" y="252"/>
                </a:lnTo>
                <a:lnTo>
                  <a:pt x="5408" y="444"/>
                </a:lnTo>
                <a:close/>
                <a:moveTo>
                  <a:pt x="5712" y="444"/>
                </a:moveTo>
                <a:lnTo>
                  <a:pt x="5479" y="444"/>
                </a:lnTo>
                <a:lnTo>
                  <a:pt x="5479" y="77"/>
                </a:lnTo>
                <a:lnTo>
                  <a:pt x="5712" y="77"/>
                </a:lnTo>
                <a:lnTo>
                  <a:pt x="5712" y="105"/>
                </a:lnTo>
                <a:lnTo>
                  <a:pt x="5510" y="105"/>
                </a:lnTo>
                <a:lnTo>
                  <a:pt x="5510" y="242"/>
                </a:lnTo>
                <a:lnTo>
                  <a:pt x="5708" y="242"/>
                </a:lnTo>
                <a:lnTo>
                  <a:pt x="5708" y="270"/>
                </a:lnTo>
                <a:lnTo>
                  <a:pt x="5510" y="270"/>
                </a:lnTo>
                <a:lnTo>
                  <a:pt x="5510" y="416"/>
                </a:lnTo>
                <a:lnTo>
                  <a:pt x="5712" y="416"/>
                </a:lnTo>
                <a:lnTo>
                  <a:pt x="5712" y="444"/>
                </a:lnTo>
                <a:close/>
                <a:moveTo>
                  <a:pt x="5953" y="444"/>
                </a:moveTo>
                <a:lnTo>
                  <a:pt x="5914" y="444"/>
                </a:lnTo>
                <a:lnTo>
                  <a:pt x="5764" y="77"/>
                </a:lnTo>
                <a:lnTo>
                  <a:pt x="5800" y="77"/>
                </a:lnTo>
                <a:lnTo>
                  <a:pt x="5934" y="409"/>
                </a:lnTo>
                <a:lnTo>
                  <a:pt x="6068" y="77"/>
                </a:lnTo>
                <a:lnTo>
                  <a:pt x="6104" y="77"/>
                </a:lnTo>
                <a:lnTo>
                  <a:pt x="5953" y="444"/>
                </a:lnTo>
                <a:close/>
                <a:moveTo>
                  <a:pt x="6347" y="20"/>
                </a:moveTo>
                <a:lnTo>
                  <a:pt x="6346" y="24"/>
                </a:lnTo>
                <a:lnTo>
                  <a:pt x="6345" y="28"/>
                </a:lnTo>
                <a:lnTo>
                  <a:pt x="6343" y="32"/>
                </a:lnTo>
                <a:lnTo>
                  <a:pt x="6341" y="35"/>
                </a:lnTo>
                <a:lnTo>
                  <a:pt x="6338" y="37"/>
                </a:lnTo>
                <a:lnTo>
                  <a:pt x="6334" y="39"/>
                </a:lnTo>
                <a:lnTo>
                  <a:pt x="6331" y="40"/>
                </a:lnTo>
                <a:lnTo>
                  <a:pt x="6327" y="41"/>
                </a:lnTo>
                <a:lnTo>
                  <a:pt x="6322" y="40"/>
                </a:lnTo>
                <a:lnTo>
                  <a:pt x="6319" y="39"/>
                </a:lnTo>
                <a:lnTo>
                  <a:pt x="6315" y="37"/>
                </a:lnTo>
                <a:lnTo>
                  <a:pt x="6312" y="35"/>
                </a:lnTo>
                <a:lnTo>
                  <a:pt x="6310" y="32"/>
                </a:lnTo>
                <a:lnTo>
                  <a:pt x="6308" y="28"/>
                </a:lnTo>
                <a:lnTo>
                  <a:pt x="6307" y="24"/>
                </a:lnTo>
                <a:lnTo>
                  <a:pt x="6306" y="20"/>
                </a:lnTo>
                <a:lnTo>
                  <a:pt x="6307" y="16"/>
                </a:lnTo>
                <a:lnTo>
                  <a:pt x="6308" y="13"/>
                </a:lnTo>
                <a:lnTo>
                  <a:pt x="6310" y="9"/>
                </a:lnTo>
                <a:lnTo>
                  <a:pt x="6312" y="6"/>
                </a:lnTo>
                <a:lnTo>
                  <a:pt x="6315" y="3"/>
                </a:lnTo>
                <a:lnTo>
                  <a:pt x="6319" y="2"/>
                </a:lnTo>
                <a:lnTo>
                  <a:pt x="6322" y="0"/>
                </a:lnTo>
                <a:lnTo>
                  <a:pt x="6327" y="0"/>
                </a:lnTo>
                <a:lnTo>
                  <a:pt x="6331" y="0"/>
                </a:lnTo>
                <a:lnTo>
                  <a:pt x="6334" y="2"/>
                </a:lnTo>
                <a:lnTo>
                  <a:pt x="6338" y="3"/>
                </a:lnTo>
                <a:lnTo>
                  <a:pt x="6341" y="6"/>
                </a:lnTo>
                <a:lnTo>
                  <a:pt x="6343" y="9"/>
                </a:lnTo>
                <a:lnTo>
                  <a:pt x="6345" y="13"/>
                </a:lnTo>
                <a:lnTo>
                  <a:pt x="6346" y="16"/>
                </a:lnTo>
                <a:lnTo>
                  <a:pt x="6347" y="20"/>
                </a:lnTo>
                <a:close/>
                <a:moveTo>
                  <a:pt x="6234" y="20"/>
                </a:moveTo>
                <a:lnTo>
                  <a:pt x="6234" y="24"/>
                </a:lnTo>
                <a:lnTo>
                  <a:pt x="6233" y="28"/>
                </a:lnTo>
                <a:lnTo>
                  <a:pt x="6231" y="32"/>
                </a:lnTo>
                <a:lnTo>
                  <a:pt x="6228" y="35"/>
                </a:lnTo>
                <a:lnTo>
                  <a:pt x="6225" y="37"/>
                </a:lnTo>
                <a:lnTo>
                  <a:pt x="6222" y="39"/>
                </a:lnTo>
                <a:lnTo>
                  <a:pt x="6218" y="40"/>
                </a:lnTo>
                <a:lnTo>
                  <a:pt x="6214" y="41"/>
                </a:lnTo>
                <a:lnTo>
                  <a:pt x="6210" y="40"/>
                </a:lnTo>
                <a:lnTo>
                  <a:pt x="6206" y="39"/>
                </a:lnTo>
                <a:lnTo>
                  <a:pt x="6203" y="37"/>
                </a:lnTo>
                <a:lnTo>
                  <a:pt x="6200" y="35"/>
                </a:lnTo>
                <a:lnTo>
                  <a:pt x="6197" y="32"/>
                </a:lnTo>
                <a:lnTo>
                  <a:pt x="6195" y="28"/>
                </a:lnTo>
                <a:lnTo>
                  <a:pt x="6194" y="24"/>
                </a:lnTo>
                <a:lnTo>
                  <a:pt x="6194" y="20"/>
                </a:lnTo>
                <a:lnTo>
                  <a:pt x="6194" y="16"/>
                </a:lnTo>
                <a:lnTo>
                  <a:pt x="6195" y="13"/>
                </a:lnTo>
                <a:lnTo>
                  <a:pt x="6197" y="9"/>
                </a:lnTo>
                <a:lnTo>
                  <a:pt x="6200" y="6"/>
                </a:lnTo>
                <a:lnTo>
                  <a:pt x="6203" y="3"/>
                </a:lnTo>
                <a:lnTo>
                  <a:pt x="6206" y="2"/>
                </a:lnTo>
                <a:lnTo>
                  <a:pt x="6210" y="0"/>
                </a:lnTo>
                <a:lnTo>
                  <a:pt x="6214" y="0"/>
                </a:lnTo>
                <a:lnTo>
                  <a:pt x="6218" y="0"/>
                </a:lnTo>
                <a:lnTo>
                  <a:pt x="6222" y="2"/>
                </a:lnTo>
                <a:lnTo>
                  <a:pt x="6225" y="3"/>
                </a:lnTo>
                <a:lnTo>
                  <a:pt x="6228" y="6"/>
                </a:lnTo>
                <a:lnTo>
                  <a:pt x="6231" y="9"/>
                </a:lnTo>
                <a:lnTo>
                  <a:pt x="6233" y="13"/>
                </a:lnTo>
                <a:lnTo>
                  <a:pt x="6234" y="16"/>
                </a:lnTo>
                <a:lnTo>
                  <a:pt x="6234" y="20"/>
                </a:lnTo>
                <a:close/>
                <a:moveTo>
                  <a:pt x="6440" y="444"/>
                </a:moveTo>
                <a:lnTo>
                  <a:pt x="6404" y="444"/>
                </a:lnTo>
                <a:lnTo>
                  <a:pt x="6367" y="354"/>
                </a:lnTo>
                <a:lnTo>
                  <a:pt x="6173" y="354"/>
                </a:lnTo>
                <a:lnTo>
                  <a:pt x="6136" y="444"/>
                </a:lnTo>
                <a:lnTo>
                  <a:pt x="6100" y="444"/>
                </a:lnTo>
                <a:lnTo>
                  <a:pt x="6250" y="77"/>
                </a:lnTo>
                <a:lnTo>
                  <a:pt x="6290" y="77"/>
                </a:lnTo>
                <a:lnTo>
                  <a:pt x="6440" y="444"/>
                </a:lnTo>
                <a:close/>
                <a:moveTo>
                  <a:pt x="6357" y="325"/>
                </a:moveTo>
                <a:lnTo>
                  <a:pt x="6270" y="110"/>
                </a:lnTo>
                <a:lnTo>
                  <a:pt x="6183" y="325"/>
                </a:lnTo>
                <a:lnTo>
                  <a:pt x="6357" y="3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pic>
        <p:nvPicPr>
          <p:cNvPr id="12" name="Graphic 11">
            <a:extLst>
              <a:ext uri="{FF2B5EF4-FFF2-40B4-BE49-F238E27FC236}">
                <a16:creationId xmlns:a16="http://schemas.microsoft.com/office/drawing/2014/main" id="{F8D4CB46-D5A3-4772-9C52-A93DBE63B7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5100490"/>
            <a:ext cx="2301994" cy="920798"/>
          </a:xfrm>
          <a:prstGeom prst="rect">
            <a:avLst/>
          </a:prstGeom>
        </p:spPr>
      </p:pic>
    </p:spTree>
    <p:extLst>
      <p:ext uri="{BB962C8B-B14F-4D97-AF65-F5344CB8AC3E}">
        <p14:creationId xmlns:p14="http://schemas.microsoft.com/office/powerpoint/2010/main" val="250041603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DFB53A11-1B14-4671-AADC-960C321190DC}"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1" name="Title 1"/>
          <p:cNvSpPr>
            <a:spLocks noGrp="1"/>
          </p:cNvSpPr>
          <p:nvPr>
            <p:ph type="title" hasCustomPrompt="1"/>
          </p:nvPr>
        </p:nvSpPr>
        <p:spPr>
          <a:xfrm>
            <a:off x="623888" y="1628775"/>
            <a:ext cx="10944225" cy="1800225"/>
          </a:xfrm>
        </p:spPr>
        <p:txBody>
          <a:bodyPr anchor="b" anchorCtr="0">
            <a:noAutofit/>
          </a:bodyPr>
          <a:lstStyle>
            <a:lvl1pPr algn="ctr">
              <a:defRPr sz="5000" b="1" spc="-100" baseline="0">
                <a:solidFill>
                  <a:srgbClr val="404040"/>
                </a:solidFill>
              </a:defRPr>
            </a:lvl1pPr>
          </a:lstStyle>
          <a:p>
            <a:r>
              <a:rPr lang="en-US" dirty="0"/>
              <a:t>Add thank you message.</a:t>
            </a:r>
            <a:endParaRPr lang="fi-FI" dirty="0"/>
          </a:p>
        </p:txBody>
      </p:sp>
      <p:sp>
        <p:nvSpPr>
          <p:cNvPr id="19" name="Text Placeholder 22"/>
          <p:cNvSpPr>
            <a:spLocks noGrp="1"/>
          </p:cNvSpPr>
          <p:nvPr>
            <p:ph type="body" sz="quarter" idx="31" hasCustomPrompt="1"/>
          </p:nvPr>
        </p:nvSpPr>
        <p:spPr>
          <a:xfrm>
            <a:off x="623889" y="3645024"/>
            <a:ext cx="10944224" cy="1584201"/>
          </a:xfrm>
        </p:spPr>
        <p:txBody>
          <a:bodyPr/>
          <a:lstStyle>
            <a:lvl1pPr marL="0" indent="0" algn="ctr">
              <a:buFontTx/>
              <a:buNone/>
              <a:defRPr sz="1600" b="1" baseline="0"/>
            </a:lvl1pPr>
            <a:lvl2pPr marL="0" indent="0" algn="ctr">
              <a:buFontTx/>
              <a:buNone/>
              <a:defRPr sz="1400"/>
            </a:lvl2pPr>
            <a:lvl3pPr marL="0" indent="0" algn="ctr">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Contact details</a:t>
            </a:r>
          </a:p>
          <a:p>
            <a:pPr lvl="1"/>
            <a:r>
              <a:rPr lang="en-US" dirty="0"/>
              <a:t>Address</a:t>
            </a:r>
          </a:p>
        </p:txBody>
      </p:sp>
      <p:sp>
        <p:nvSpPr>
          <p:cNvPr id="20" name="Freeform 6">
            <a:hlinkClick r:id="rId2" tooltip="twitter"/>
          </p:cNvPr>
          <p:cNvSpPr>
            <a:spLocks noChangeAspect="1" noEditPoints="1"/>
          </p:cNvSpPr>
          <p:nvPr userDrawn="1"/>
        </p:nvSpPr>
        <p:spPr bwMode="auto">
          <a:xfrm>
            <a:off x="6168008" y="5841388"/>
            <a:ext cx="360000" cy="360000"/>
          </a:xfrm>
          <a:custGeom>
            <a:avLst/>
            <a:gdLst>
              <a:gd name="T0" fmla="*/ 1130 w 2361"/>
              <a:gd name="T1" fmla="*/ 1782 h 2362"/>
              <a:gd name="T2" fmla="*/ 1329 w 2361"/>
              <a:gd name="T3" fmla="*/ 1703 h 2362"/>
              <a:gd name="T4" fmla="*/ 1491 w 2361"/>
              <a:gd name="T5" fmla="*/ 1581 h 2362"/>
              <a:gd name="T6" fmla="*/ 1614 w 2361"/>
              <a:gd name="T7" fmla="*/ 1427 h 2362"/>
              <a:gd name="T8" fmla="*/ 1714 w 2361"/>
              <a:gd name="T9" fmla="*/ 1199 h 2362"/>
              <a:gd name="T10" fmla="*/ 1745 w 2361"/>
              <a:gd name="T11" fmla="*/ 980 h 2362"/>
              <a:gd name="T12" fmla="*/ 1889 w 2361"/>
              <a:gd name="T13" fmla="*/ 792 h 2362"/>
              <a:gd name="T14" fmla="*/ 1744 w 2361"/>
              <a:gd name="T15" fmla="*/ 824 h 2362"/>
              <a:gd name="T16" fmla="*/ 1822 w 2361"/>
              <a:gd name="T17" fmla="*/ 738 h 2362"/>
              <a:gd name="T18" fmla="*/ 1773 w 2361"/>
              <a:gd name="T19" fmla="*/ 716 h 2362"/>
              <a:gd name="T20" fmla="*/ 1621 w 2361"/>
              <a:gd name="T21" fmla="*/ 709 h 2362"/>
              <a:gd name="T22" fmla="*/ 1485 w 2361"/>
              <a:gd name="T23" fmla="*/ 657 h 2362"/>
              <a:gd name="T24" fmla="*/ 1340 w 2361"/>
              <a:gd name="T25" fmla="*/ 679 h 2362"/>
              <a:gd name="T26" fmla="*/ 1230 w 2361"/>
              <a:gd name="T27" fmla="*/ 761 h 2362"/>
              <a:gd name="T28" fmla="*/ 1168 w 2361"/>
              <a:gd name="T29" fmla="*/ 888 h 2362"/>
              <a:gd name="T30" fmla="*/ 1125 w 2361"/>
              <a:gd name="T31" fmla="*/ 1009 h 2362"/>
              <a:gd name="T32" fmla="*/ 913 w 2361"/>
              <a:gd name="T33" fmla="*/ 957 h 2362"/>
              <a:gd name="T34" fmla="*/ 726 w 2361"/>
              <a:gd name="T35" fmla="*/ 855 h 2362"/>
              <a:gd name="T36" fmla="*/ 572 w 2361"/>
              <a:gd name="T37" fmla="*/ 709 h 2362"/>
              <a:gd name="T38" fmla="*/ 532 w 2361"/>
              <a:gd name="T39" fmla="*/ 845 h 2362"/>
              <a:gd name="T40" fmla="*/ 577 w 2361"/>
              <a:gd name="T41" fmla="*/ 1009 h 2362"/>
              <a:gd name="T42" fmla="*/ 661 w 2361"/>
              <a:gd name="T43" fmla="*/ 1097 h 2362"/>
              <a:gd name="T44" fmla="*/ 537 w 2361"/>
              <a:gd name="T45" fmla="*/ 1065 h 2362"/>
              <a:gd name="T46" fmla="*/ 543 w 2361"/>
              <a:gd name="T47" fmla="*/ 1153 h 2362"/>
              <a:gd name="T48" fmla="*/ 605 w 2361"/>
              <a:gd name="T49" fmla="*/ 1258 h 2362"/>
              <a:gd name="T50" fmla="*/ 704 w 2361"/>
              <a:gd name="T51" fmla="*/ 1330 h 2362"/>
              <a:gd name="T52" fmla="*/ 686 w 2361"/>
              <a:gd name="T53" fmla="*/ 1359 h 2362"/>
              <a:gd name="T54" fmla="*/ 660 w 2361"/>
              <a:gd name="T55" fmla="*/ 1416 h 2362"/>
              <a:gd name="T56" fmla="*/ 752 w 2361"/>
              <a:gd name="T57" fmla="*/ 1510 h 2362"/>
              <a:gd name="T58" fmla="*/ 857 w 2361"/>
              <a:gd name="T59" fmla="*/ 1551 h 2362"/>
              <a:gd name="T60" fmla="*/ 792 w 2361"/>
              <a:gd name="T61" fmla="*/ 1625 h 2362"/>
              <a:gd name="T62" fmla="*/ 617 w 2361"/>
              <a:gd name="T63" fmla="*/ 1676 h 2362"/>
              <a:gd name="T64" fmla="*/ 535 w 2361"/>
              <a:gd name="T65" fmla="*/ 1712 h 2362"/>
              <a:gd name="T66" fmla="*/ 768 w 2361"/>
              <a:gd name="T67" fmla="*/ 1794 h 2362"/>
              <a:gd name="T68" fmla="*/ 6 w 2361"/>
              <a:gd name="T69" fmla="*/ 1060 h 2362"/>
              <a:gd name="T70" fmla="*/ 72 w 2361"/>
              <a:gd name="T71" fmla="*/ 775 h 2362"/>
              <a:gd name="T72" fmla="*/ 202 w 2361"/>
              <a:gd name="T73" fmla="*/ 521 h 2362"/>
              <a:gd name="T74" fmla="*/ 387 w 2361"/>
              <a:gd name="T75" fmla="*/ 307 h 2362"/>
              <a:gd name="T76" fmla="*/ 618 w 2361"/>
              <a:gd name="T77" fmla="*/ 143 h 2362"/>
              <a:gd name="T78" fmla="*/ 886 w 2361"/>
              <a:gd name="T79" fmla="*/ 38 h 2362"/>
              <a:gd name="T80" fmla="*/ 1181 w 2361"/>
              <a:gd name="T81" fmla="*/ 0 h 2362"/>
              <a:gd name="T82" fmla="*/ 1476 w 2361"/>
              <a:gd name="T83" fmla="*/ 38 h 2362"/>
              <a:gd name="T84" fmla="*/ 1744 w 2361"/>
              <a:gd name="T85" fmla="*/ 143 h 2362"/>
              <a:gd name="T86" fmla="*/ 1975 w 2361"/>
              <a:gd name="T87" fmla="*/ 307 h 2362"/>
              <a:gd name="T88" fmla="*/ 2159 w 2361"/>
              <a:gd name="T89" fmla="*/ 521 h 2362"/>
              <a:gd name="T90" fmla="*/ 2290 w 2361"/>
              <a:gd name="T91" fmla="*/ 775 h 2362"/>
              <a:gd name="T92" fmla="*/ 2355 w 2361"/>
              <a:gd name="T93" fmla="*/ 1060 h 2362"/>
              <a:gd name="T94" fmla="*/ 2348 w 2361"/>
              <a:gd name="T95" fmla="*/ 1361 h 2362"/>
              <a:gd name="T96" fmla="*/ 2269 w 2361"/>
              <a:gd name="T97" fmla="*/ 1640 h 2362"/>
              <a:gd name="T98" fmla="*/ 2127 w 2361"/>
              <a:gd name="T99" fmla="*/ 1888 h 2362"/>
              <a:gd name="T100" fmla="*/ 1932 w 2361"/>
              <a:gd name="T101" fmla="*/ 2092 h 2362"/>
              <a:gd name="T102" fmla="*/ 1693 w 2361"/>
              <a:gd name="T103" fmla="*/ 2246 h 2362"/>
              <a:gd name="T104" fmla="*/ 1419 w 2361"/>
              <a:gd name="T105" fmla="*/ 2338 h 2362"/>
              <a:gd name="T106" fmla="*/ 1120 w 2361"/>
              <a:gd name="T107" fmla="*/ 2361 h 2362"/>
              <a:gd name="T108" fmla="*/ 830 w 2361"/>
              <a:gd name="T109" fmla="*/ 2309 h 2362"/>
              <a:gd name="T110" fmla="*/ 568 w 2361"/>
              <a:gd name="T111" fmla="*/ 2191 h 2362"/>
              <a:gd name="T112" fmla="*/ 346 w 2361"/>
              <a:gd name="T113" fmla="*/ 2016 h 2362"/>
              <a:gd name="T114" fmla="*/ 172 w 2361"/>
              <a:gd name="T115" fmla="*/ 1794 h 2362"/>
              <a:gd name="T116" fmla="*/ 53 w 2361"/>
              <a:gd name="T117" fmla="*/ 1532 h 2362"/>
              <a:gd name="T118" fmla="*/ 2 w 2361"/>
              <a:gd name="T119" fmla="*/ 1242 h 2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1" h="2362">
                <a:moveTo>
                  <a:pt x="918" y="1807"/>
                </a:moveTo>
                <a:lnTo>
                  <a:pt x="943" y="1806"/>
                </a:lnTo>
                <a:lnTo>
                  <a:pt x="967" y="1805"/>
                </a:lnTo>
                <a:lnTo>
                  <a:pt x="992" y="1804"/>
                </a:lnTo>
                <a:lnTo>
                  <a:pt x="1016" y="1802"/>
                </a:lnTo>
                <a:lnTo>
                  <a:pt x="1039" y="1799"/>
                </a:lnTo>
                <a:lnTo>
                  <a:pt x="1062" y="1796"/>
                </a:lnTo>
                <a:lnTo>
                  <a:pt x="1085" y="1792"/>
                </a:lnTo>
                <a:lnTo>
                  <a:pt x="1107" y="1787"/>
                </a:lnTo>
                <a:lnTo>
                  <a:pt x="1130" y="1782"/>
                </a:lnTo>
                <a:lnTo>
                  <a:pt x="1150" y="1776"/>
                </a:lnTo>
                <a:lnTo>
                  <a:pt x="1172" y="1770"/>
                </a:lnTo>
                <a:lnTo>
                  <a:pt x="1193" y="1763"/>
                </a:lnTo>
                <a:lnTo>
                  <a:pt x="1214" y="1756"/>
                </a:lnTo>
                <a:lnTo>
                  <a:pt x="1234" y="1749"/>
                </a:lnTo>
                <a:lnTo>
                  <a:pt x="1254" y="1740"/>
                </a:lnTo>
                <a:lnTo>
                  <a:pt x="1273" y="1731"/>
                </a:lnTo>
                <a:lnTo>
                  <a:pt x="1292" y="1723"/>
                </a:lnTo>
                <a:lnTo>
                  <a:pt x="1311" y="1712"/>
                </a:lnTo>
                <a:lnTo>
                  <a:pt x="1329" y="1703"/>
                </a:lnTo>
                <a:lnTo>
                  <a:pt x="1346" y="1693"/>
                </a:lnTo>
                <a:lnTo>
                  <a:pt x="1364" y="1681"/>
                </a:lnTo>
                <a:lnTo>
                  <a:pt x="1382" y="1671"/>
                </a:lnTo>
                <a:lnTo>
                  <a:pt x="1398" y="1658"/>
                </a:lnTo>
                <a:lnTo>
                  <a:pt x="1415" y="1647"/>
                </a:lnTo>
                <a:lnTo>
                  <a:pt x="1431" y="1634"/>
                </a:lnTo>
                <a:lnTo>
                  <a:pt x="1446" y="1621"/>
                </a:lnTo>
                <a:lnTo>
                  <a:pt x="1462" y="1608"/>
                </a:lnTo>
                <a:lnTo>
                  <a:pt x="1476" y="1595"/>
                </a:lnTo>
                <a:lnTo>
                  <a:pt x="1491" y="1581"/>
                </a:lnTo>
                <a:lnTo>
                  <a:pt x="1504" y="1567"/>
                </a:lnTo>
                <a:lnTo>
                  <a:pt x="1519" y="1552"/>
                </a:lnTo>
                <a:lnTo>
                  <a:pt x="1532" y="1537"/>
                </a:lnTo>
                <a:lnTo>
                  <a:pt x="1545" y="1523"/>
                </a:lnTo>
                <a:lnTo>
                  <a:pt x="1558" y="1507"/>
                </a:lnTo>
                <a:lnTo>
                  <a:pt x="1569" y="1492"/>
                </a:lnTo>
                <a:lnTo>
                  <a:pt x="1582" y="1476"/>
                </a:lnTo>
                <a:lnTo>
                  <a:pt x="1593" y="1459"/>
                </a:lnTo>
                <a:lnTo>
                  <a:pt x="1603" y="1444"/>
                </a:lnTo>
                <a:lnTo>
                  <a:pt x="1614" y="1427"/>
                </a:lnTo>
                <a:lnTo>
                  <a:pt x="1624" y="1410"/>
                </a:lnTo>
                <a:lnTo>
                  <a:pt x="1634" y="1394"/>
                </a:lnTo>
                <a:lnTo>
                  <a:pt x="1643" y="1377"/>
                </a:lnTo>
                <a:lnTo>
                  <a:pt x="1652" y="1359"/>
                </a:lnTo>
                <a:lnTo>
                  <a:pt x="1661" y="1342"/>
                </a:lnTo>
                <a:lnTo>
                  <a:pt x="1669" y="1325"/>
                </a:lnTo>
                <a:lnTo>
                  <a:pt x="1676" y="1307"/>
                </a:lnTo>
                <a:lnTo>
                  <a:pt x="1691" y="1271"/>
                </a:lnTo>
                <a:lnTo>
                  <a:pt x="1703" y="1235"/>
                </a:lnTo>
                <a:lnTo>
                  <a:pt x="1714" y="1199"/>
                </a:lnTo>
                <a:lnTo>
                  <a:pt x="1723" y="1162"/>
                </a:lnTo>
                <a:lnTo>
                  <a:pt x="1727" y="1144"/>
                </a:lnTo>
                <a:lnTo>
                  <a:pt x="1731" y="1126"/>
                </a:lnTo>
                <a:lnTo>
                  <a:pt x="1735" y="1107"/>
                </a:lnTo>
                <a:lnTo>
                  <a:pt x="1737" y="1090"/>
                </a:lnTo>
                <a:lnTo>
                  <a:pt x="1740" y="1071"/>
                </a:lnTo>
                <a:lnTo>
                  <a:pt x="1741" y="1053"/>
                </a:lnTo>
                <a:lnTo>
                  <a:pt x="1743" y="1034"/>
                </a:lnTo>
                <a:lnTo>
                  <a:pt x="1744" y="1017"/>
                </a:lnTo>
                <a:lnTo>
                  <a:pt x="1745" y="980"/>
                </a:lnTo>
                <a:lnTo>
                  <a:pt x="1744" y="943"/>
                </a:lnTo>
                <a:lnTo>
                  <a:pt x="1765" y="927"/>
                </a:lnTo>
                <a:lnTo>
                  <a:pt x="1785" y="910"/>
                </a:lnTo>
                <a:lnTo>
                  <a:pt x="1804" y="893"/>
                </a:lnTo>
                <a:lnTo>
                  <a:pt x="1823" y="874"/>
                </a:lnTo>
                <a:lnTo>
                  <a:pt x="1841" y="854"/>
                </a:lnTo>
                <a:lnTo>
                  <a:pt x="1857" y="834"/>
                </a:lnTo>
                <a:lnTo>
                  <a:pt x="1866" y="824"/>
                </a:lnTo>
                <a:lnTo>
                  <a:pt x="1874" y="814"/>
                </a:lnTo>
                <a:lnTo>
                  <a:pt x="1889" y="792"/>
                </a:lnTo>
                <a:lnTo>
                  <a:pt x="1869" y="800"/>
                </a:lnTo>
                <a:lnTo>
                  <a:pt x="1849" y="808"/>
                </a:lnTo>
                <a:lnTo>
                  <a:pt x="1828" y="815"/>
                </a:lnTo>
                <a:lnTo>
                  <a:pt x="1807" y="821"/>
                </a:lnTo>
                <a:lnTo>
                  <a:pt x="1787" y="826"/>
                </a:lnTo>
                <a:lnTo>
                  <a:pt x="1766" y="831"/>
                </a:lnTo>
                <a:lnTo>
                  <a:pt x="1744" y="834"/>
                </a:lnTo>
                <a:lnTo>
                  <a:pt x="1722" y="838"/>
                </a:lnTo>
                <a:lnTo>
                  <a:pt x="1734" y="831"/>
                </a:lnTo>
                <a:lnTo>
                  <a:pt x="1744" y="824"/>
                </a:lnTo>
                <a:lnTo>
                  <a:pt x="1754" y="816"/>
                </a:lnTo>
                <a:lnTo>
                  <a:pt x="1764" y="807"/>
                </a:lnTo>
                <a:lnTo>
                  <a:pt x="1774" y="798"/>
                </a:lnTo>
                <a:lnTo>
                  <a:pt x="1784" y="790"/>
                </a:lnTo>
                <a:lnTo>
                  <a:pt x="1792" y="779"/>
                </a:lnTo>
                <a:lnTo>
                  <a:pt x="1800" y="770"/>
                </a:lnTo>
                <a:lnTo>
                  <a:pt x="1804" y="765"/>
                </a:lnTo>
                <a:lnTo>
                  <a:pt x="1809" y="759"/>
                </a:lnTo>
                <a:lnTo>
                  <a:pt x="1816" y="748"/>
                </a:lnTo>
                <a:lnTo>
                  <a:pt x="1822" y="738"/>
                </a:lnTo>
                <a:lnTo>
                  <a:pt x="1829" y="726"/>
                </a:lnTo>
                <a:lnTo>
                  <a:pt x="1835" y="715"/>
                </a:lnTo>
                <a:lnTo>
                  <a:pt x="1841" y="702"/>
                </a:lnTo>
                <a:lnTo>
                  <a:pt x="1845" y="690"/>
                </a:lnTo>
                <a:lnTo>
                  <a:pt x="1850" y="677"/>
                </a:lnTo>
                <a:lnTo>
                  <a:pt x="1828" y="690"/>
                </a:lnTo>
                <a:lnTo>
                  <a:pt x="1806" y="700"/>
                </a:lnTo>
                <a:lnTo>
                  <a:pt x="1795" y="705"/>
                </a:lnTo>
                <a:lnTo>
                  <a:pt x="1785" y="710"/>
                </a:lnTo>
                <a:lnTo>
                  <a:pt x="1773" y="716"/>
                </a:lnTo>
                <a:lnTo>
                  <a:pt x="1762" y="720"/>
                </a:lnTo>
                <a:lnTo>
                  <a:pt x="1738" y="728"/>
                </a:lnTo>
                <a:lnTo>
                  <a:pt x="1714" y="735"/>
                </a:lnTo>
                <a:lnTo>
                  <a:pt x="1690" y="743"/>
                </a:lnTo>
                <a:lnTo>
                  <a:pt x="1677" y="745"/>
                </a:lnTo>
                <a:lnTo>
                  <a:pt x="1665" y="748"/>
                </a:lnTo>
                <a:lnTo>
                  <a:pt x="1655" y="738"/>
                </a:lnTo>
                <a:lnTo>
                  <a:pt x="1644" y="727"/>
                </a:lnTo>
                <a:lnTo>
                  <a:pt x="1634" y="719"/>
                </a:lnTo>
                <a:lnTo>
                  <a:pt x="1621" y="709"/>
                </a:lnTo>
                <a:lnTo>
                  <a:pt x="1610" y="701"/>
                </a:lnTo>
                <a:lnTo>
                  <a:pt x="1597" y="694"/>
                </a:lnTo>
                <a:lnTo>
                  <a:pt x="1584" y="687"/>
                </a:lnTo>
                <a:lnTo>
                  <a:pt x="1571" y="680"/>
                </a:lnTo>
                <a:lnTo>
                  <a:pt x="1558" y="675"/>
                </a:lnTo>
                <a:lnTo>
                  <a:pt x="1543" y="670"/>
                </a:lnTo>
                <a:lnTo>
                  <a:pt x="1528" y="666"/>
                </a:lnTo>
                <a:lnTo>
                  <a:pt x="1514" y="663"/>
                </a:lnTo>
                <a:lnTo>
                  <a:pt x="1499" y="659"/>
                </a:lnTo>
                <a:lnTo>
                  <a:pt x="1485" y="657"/>
                </a:lnTo>
                <a:lnTo>
                  <a:pt x="1469" y="656"/>
                </a:lnTo>
                <a:lnTo>
                  <a:pt x="1453" y="656"/>
                </a:lnTo>
                <a:lnTo>
                  <a:pt x="1438" y="656"/>
                </a:lnTo>
                <a:lnTo>
                  <a:pt x="1423" y="657"/>
                </a:lnTo>
                <a:lnTo>
                  <a:pt x="1409" y="659"/>
                </a:lnTo>
                <a:lnTo>
                  <a:pt x="1395" y="662"/>
                </a:lnTo>
                <a:lnTo>
                  <a:pt x="1381" y="665"/>
                </a:lnTo>
                <a:lnTo>
                  <a:pt x="1367" y="669"/>
                </a:lnTo>
                <a:lnTo>
                  <a:pt x="1353" y="674"/>
                </a:lnTo>
                <a:lnTo>
                  <a:pt x="1340" y="679"/>
                </a:lnTo>
                <a:lnTo>
                  <a:pt x="1327" y="684"/>
                </a:lnTo>
                <a:lnTo>
                  <a:pt x="1315" y="691"/>
                </a:lnTo>
                <a:lnTo>
                  <a:pt x="1302" y="698"/>
                </a:lnTo>
                <a:lnTo>
                  <a:pt x="1291" y="705"/>
                </a:lnTo>
                <a:lnTo>
                  <a:pt x="1280" y="714"/>
                </a:lnTo>
                <a:lnTo>
                  <a:pt x="1268" y="722"/>
                </a:lnTo>
                <a:lnTo>
                  <a:pt x="1258" y="731"/>
                </a:lnTo>
                <a:lnTo>
                  <a:pt x="1248" y="741"/>
                </a:lnTo>
                <a:lnTo>
                  <a:pt x="1238" y="751"/>
                </a:lnTo>
                <a:lnTo>
                  <a:pt x="1230" y="761"/>
                </a:lnTo>
                <a:lnTo>
                  <a:pt x="1220" y="773"/>
                </a:lnTo>
                <a:lnTo>
                  <a:pt x="1212" y="784"/>
                </a:lnTo>
                <a:lnTo>
                  <a:pt x="1205" y="796"/>
                </a:lnTo>
                <a:lnTo>
                  <a:pt x="1197" y="808"/>
                </a:lnTo>
                <a:lnTo>
                  <a:pt x="1191" y="821"/>
                </a:lnTo>
                <a:lnTo>
                  <a:pt x="1186" y="833"/>
                </a:lnTo>
                <a:lnTo>
                  <a:pt x="1181" y="847"/>
                </a:lnTo>
                <a:lnTo>
                  <a:pt x="1175" y="860"/>
                </a:lnTo>
                <a:lnTo>
                  <a:pt x="1172" y="874"/>
                </a:lnTo>
                <a:lnTo>
                  <a:pt x="1168" y="888"/>
                </a:lnTo>
                <a:lnTo>
                  <a:pt x="1166" y="902"/>
                </a:lnTo>
                <a:lnTo>
                  <a:pt x="1164" y="917"/>
                </a:lnTo>
                <a:lnTo>
                  <a:pt x="1163" y="931"/>
                </a:lnTo>
                <a:lnTo>
                  <a:pt x="1163" y="947"/>
                </a:lnTo>
                <a:lnTo>
                  <a:pt x="1163" y="964"/>
                </a:lnTo>
                <a:lnTo>
                  <a:pt x="1165" y="980"/>
                </a:lnTo>
                <a:lnTo>
                  <a:pt x="1167" y="997"/>
                </a:lnTo>
                <a:lnTo>
                  <a:pt x="1170" y="1012"/>
                </a:lnTo>
                <a:lnTo>
                  <a:pt x="1147" y="1011"/>
                </a:lnTo>
                <a:lnTo>
                  <a:pt x="1125" y="1009"/>
                </a:lnTo>
                <a:lnTo>
                  <a:pt x="1104" y="1006"/>
                </a:lnTo>
                <a:lnTo>
                  <a:pt x="1081" y="1003"/>
                </a:lnTo>
                <a:lnTo>
                  <a:pt x="1059" y="1000"/>
                </a:lnTo>
                <a:lnTo>
                  <a:pt x="1038" y="995"/>
                </a:lnTo>
                <a:lnTo>
                  <a:pt x="1016" y="991"/>
                </a:lnTo>
                <a:lnTo>
                  <a:pt x="995" y="984"/>
                </a:lnTo>
                <a:lnTo>
                  <a:pt x="974" y="979"/>
                </a:lnTo>
                <a:lnTo>
                  <a:pt x="954" y="972"/>
                </a:lnTo>
                <a:lnTo>
                  <a:pt x="933" y="966"/>
                </a:lnTo>
                <a:lnTo>
                  <a:pt x="913" y="957"/>
                </a:lnTo>
                <a:lnTo>
                  <a:pt x="892" y="950"/>
                </a:lnTo>
                <a:lnTo>
                  <a:pt x="872" y="941"/>
                </a:lnTo>
                <a:lnTo>
                  <a:pt x="854" y="932"/>
                </a:lnTo>
                <a:lnTo>
                  <a:pt x="834" y="922"/>
                </a:lnTo>
                <a:lnTo>
                  <a:pt x="815" y="913"/>
                </a:lnTo>
                <a:lnTo>
                  <a:pt x="796" y="902"/>
                </a:lnTo>
                <a:lnTo>
                  <a:pt x="779" y="891"/>
                </a:lnTo>
                <a:lnTo>
                  <a:pt x="760" y="879"/>
                </a:lnTo>
                <a:lnTo>
                  <a:pt x="742" y="868"/>
                </a:lnTo>
                <a:lnTo>
                  <a:pt x="726" y="855"/>
                </a:lnTo>
                <a:lnTo>
                  <a:pt x="708" y="843"/>
                </a:lnTo>
                <a:lnTo>
                  <a:pt x="691" y="829"/>
                </a:lnTo>
                <a:lnTo>
                  <a:pt x="676" y="816"/>
                </a:lnTo>
                <a:lnTo>
                  <a:pt x="659" y="801"/>
                </a:lnTo>
                <a:lnTo>
                  <a:pt x="643" y="786"/>
                </a:lnTo>
                <a:lnTo>
                  <a:pt x="629" y="772"/>
                </a:lnTo>
                <a:lnTo>
                  <a:pt x="614" y="757"/>
                </a:lnTo>
                <a:lnTo>
                  <a:pt x="600" y="742"/>
                </a:lnTo>
                <a:lnTo>
                  <a:pt x="585" y="725"/>
                </a:lnTo>
                <a:lnTo>
                  <a:pt x="572" y="709"/>
                </a:lnTo>
                <a:lnTo>
                  <a:pt x="563" y="725"/>
                </a:lnTo>
                <a:lnTo>
                  <a:pt x="559" y="734"/>
                </a:lnTo>
                <a:lnTo>
                  <a:pt x="555" y="743"/>
                </a:lnTo>
                <a:lnTo>
                  <a:pt x="549" y="760"/>
                </a:lnTo>
                <a:lnTo>
                  <a:pt x="542" y="778"/>
                </a:lnTo>
                <a:lnTo>
                  <a:pt x="538" y="797"/>
                </a:lnTo>
                <a:lnTo>
                  <a:pt x="536" y="806"/>
                </a:lnTo>
                <a:lnTo>
                  <a:pt x="535" y="816"/>
                </a:lnTo>
                <a:lnTo>
                  <a:pt x="533" y="835"/>
                </a:lnTo>
                <a:lnTo>
                  <a:pt x="532" y="845"/>
                </a:lnTo>
                <a:lnTo>
                  <a:pt x="532" y="855"/>
                </a:lnTo>
                <a:lnTo>
                  <a:pt x="533" y="874"/>
                </a:lnTo>
                <a:lnTo>
                  <a:pt x="535" y="893"/>
                </a:lnTo>
                <a:lnTo>
                  <a:pt x="537" y="910"/>
                </a:lnTo>
                <a:lnTo>
                  <a:pt x="541" y="928"/>
                </a:lnTo>
                <a:lnTo>
                  <a:pt x="547" y="946"/>
                </a:lnTo>
                <a:lnTo>
                  <a:pt x="553" y="962"/>
                </a:lnTo>
                <a:lnTo>
                  <a:pt x="560" y="978"/>
                </a:lnTo>
                <a:lnTo>
                  <a:pt x="567" y="995"/>
                </a:lnTo>
                <a:lnTo>
                  <a:pt x="577" y="1009"/>
                </a:lnTo>
                <a:lnTo>
                  <a:pt x="586" y="1024"/>
                </a:lnTo>
                <a:lnTo>
                  <a:pt x="597" y="1039"/>
                </a:lnTo>
                <a:lnTo>
                  <a:pt x="608" y="1051"/>
                </a:lnTo>
                <a:lnTo>
                  <a:pt x="614" y="1057"/>
                </a:lnTo>
                <a:lnTo>
                  <a:pt x="620" y="1064"/>
                </a:lnTo>
                <a:lnTo>
                  <a:pt x="627" y="1070"/>
                </a:lnTo>
                <a:lnTo>
                  <a:pt x="634" y="1076"/>
                </a:lnTo>
                <a:lnTo>
                  <a:pt x="648" y="1086"/>
                </a:lnTo>
                <a:lnTo>
                  <a:pt x="654" y="1092"/>
                </a:lnTo>
                <a:lnTo>
                  <a:pt x="661" y="1097"/>
                </a:lnTo>
                <a:lnTo>
                  <a:pt x="643" y="1096"/>
                </a:lnTo>
                <a:lnTo>
                  <a:pt x="627" y="1094"/>
                </a:lnTo>
                <a:lnTo>
                  <a:pt x="609" y="1091"/>
                </a:lnTo>
                <a:lnTo>
                  <a:pt x="592" y="1086"/>
                </a:lnTo>
                <a:lnTo>
                  <a:pt x="584" y="1084"/>
                </a:lnTo>
                <a:lnTo>
                  <a:pt x="577" y="1081"/>
                </a:lnTo>
                <a:lnTo>
                  <a:pt x="560" y="1075"/>
                </a:lnTo>
                <a:lnTo>
                  <a:pt x="553" y="1072"/>
                </a:lnTo>
                <a:lnTo>
                  <a:pt x="544" y="1069"/>
                </a:lnTo>
                <a:lnTo>
                  <a:pt x="537" y="1065"/>
                </a:lnTo>
                <a:lnTo>
                  <a:pt x="530" y="1060"/>
                </a:lnTo>
                <a:lnTo>
                  <a:pt x="530" y="1065"/>
                </a:lnTo>
                <a:lnTo>
                  <a:pt x="530" y="1077"/>
                </a:lnTo>
                <a:lnTo>
                  <a:pt x="531" y="1091"/>
                </a:lnTo>
                <a:lnTo>
                  <a:pt x="532" y="1103"/>
                </a:lnTo>
                <a:lnTo>
                  <a:pt x="534" y="1116"/>
                </a:lnTo>
                <a:lnTo>
                  <a:pt x="537" y="1128"/>
                </a:lnTo>
                <a:lnTo>
                  <a:pt x="538" y="1134"/>
                </a:lnTo>
                <a:lnTo>
                  <a:pt x="540" y="1141"/>
                </a:lnTo>
                <a:lnTo>
                  <a:pt x="543" y="1153"/>
                </a:lnTo>
                <a:lnTo>
                  <a:pt x="548" y="1165"/>
                </a:lnTo>
                <a:lnTo>
                  <a:pt x="552" y="1176"/>
                </a:lnTo>
                <a:lnTo>
                  <a:pt x="557" y="1187"/>
                </a:lnTo>
                <a:lnTo>
                  <a:pt x="562" y="1199"/>
                </a:lnTo>
                <a:lnTo>
                  <a:pt x="568" y="1209"/>
                </a:lnTo>
                <a:lnTo>
                  <a:pt x="575" y="1220"/>
                </a:lnTo>
                <a:lnTo>
                  <a:pt x="582" y="1230"/>
                </a:lnTo>
                <a:lnTo>
                  <a:pt x="589" y="1240"/>
                </a:lnTo>
                <a:lnTo>
                  <a:pt x="597" y="1250"/>
                </a:lnTo>
                <a:lnTo>
                  <a:pt x="605" y="1258"/>
                </a:lnTo>
                <a:lnTo>
                  <a:pt x="613" y="1268"/>
                </a:lnTo>
                <a:lnTo>
                  <a:pt x="622" y="1276"/>
                </a:lnTo>
                <a:lnTo>
                  <a:pt x="631" y="1284"/>
                </a:lnTo>
                <a:lnTo>
                  <a:pt x="640" y="1293"/>
                </a:lnTo>
                <a:lnTo>
                  <a:pt x="650" y="1300"/>
                </a:lnTo>
                <a:lnTo>
                  <a:pt x="660" y="1306"/>
                </a:lnTo>
                <a:lnTo>
                  <a:pt x="670" y="1313"/>
                </a:lnTo>
                <a:lnTo>
                  <a:pt x="681" y="1320"/>
                </a:lnTo>
                <a:lnTo>
                  <a:pt x="692" y="1325"/>
                </a:lnTo>
                <a:lnTo>
                  <a:pt x="704" y="1330"/>
                </a:lnTo>
                <a:lnTo>
                  <a:pt x="715" y="1335"/>
                </a:lnTo>
                <a:lnTo>
                  <a:pt x="727" y="1340"/>
                </a:lnTo>
                <a:lnTo>
                  <a:pt x="738" y="1343"/>
                </a:lnTo>
                <a:lnTo>
                  <a:pt x="751" y="1347"/>
                </a:lnTo>
                <a:lnTo>
                  <a:pt x="763" y="1349"/>
                </a:lnTo>
                <a:lnTo>
                  <a:pt x="744" y="1353"/>
                </a:lnTo>
                <a:lnTo>
                  <a:pt x="735" y="1355"/>
                </a:lnTo>
                <a:lnTo>
                  <a:pt x="726" y="1357"/>
                </a:lnTo>
                <a:lnTo>
                  <a:pt x="706" y="1358"/>
                </a:lnTo>
                <a:lnTo>
                  <a:pt x="686" y="1359"/>
                </a:lnTo>
                <a:lnTo>
                  <a:pt x="673" y="1359"/>
                </a:lnTo>
                <a:lnTo>
                  <a:pt x="659" y="1358"/>
                </a:lnTo>
                <a:lnTo>
                  <a:pt x="645" y="1356"/>
                </a:lnTo>
                <a:lnTo>
                  <a:pt x="632" y="1354"/>
                </a:lnTo>
                <a:lnTo>
                  <a:pt x="635" y="1365"/>
                </a:lnTo>
                <a:lnTo>
                  <a:pt x="639" y="1375"/>
                </a:lnTo>
                <a:lnTo>
                  <a:pt x="644" y="1385"/>
                </a:lnTo>
                <a:lnTo>
                  <a:pt x="649" y="1396"/>
                </a:lnTo>
                <a:lnTo>
                  <a:pt x="654" y="1406"/>
                </a:lnTo>
                <a:lnTo>
                  <a:pt x="660" y="1416"/>
                </a:lnTo>
                <a:lnTo>
                  <a:pt x="665" y="1425"/>
                </a:lnTo>
                <a:lnTo>
                  <a:pt x="671" y="1434"/>
                </a:lnTo>
                <a:lnTo>
                  <a:pt x="685" y="1452"/>
                </a:lnTo>
                <a:lnTo>
                  <a:pt x="692" y="1460"/>
                </a:lnTo>
                <a:lnTo>
                  <a:pt x="701" y="1468"/>
                </a:lnTo>
                <a:lnTo>
                  <a:pt x="708" y="1476"/>
                </a:lnTo>
                <a:lnTo>
                  <a:pt x="716" y="1483"/>
                </a:lnTo>
                <a:lnTo>
                  <a:pt x="725" y="1491"/>
                </a:lnTo>
                <a:lnTo>
                  <a:pt x="734" y="1498"/>
                </a:lnTo>
                <a:lnTo>
                  <a:pt x="752" y="1510"/>
                </a:lnTo>
                <a:lnTo>
                  <a:pt x="761" y="1516"/>
                </a:lnTo>
                <a:lnTo>
                  <a:pt x="771" y="1522"/>
                </a:lnTo>
                <a:lnTo>
                  <a:pt x="781" y="1527"/>
                </a:lnTo>
                <a:lnTo>
                  <a:pt x="791" y="1531"/>
                </a:lnTo>
                <a:lnTo>
                  <a:pt x="802" y="1535"/>
                </a:lnTo>
                <a:lnTo>
                  <a:pt x="812" y="1539"/>
                </a:lnTo>
                <a:lnTo>
                  <a:pt x="824" y="1544"/>
                </a:lnTo>
                <a:lnTo>
                  <a:pt x="834" y="1547"/>
                </a:lnTo>
                <a:lnTo>
                  <a:pt x="845" y="1549"/>
                </a:lnTo>
                <a:lnTo>
                  <a:pt x="857" y="1551"/>
                </a:lnTo>
                <a:lnTo>
                  <a:pt x="868" y="1553"/>
                </a:lnTo>
                <a:lnTo>
                  <a:pt x="880" y="1554"/>
                </a:lnTo>
                <a:lnTo>
                  <a:pt x="891" y="1555"/>
                </a:lnTo>
                <a:lnTo>
                  <a:pt x="903" y="1556"/>
                </a:lnTo>
                <a:lnTo>
                  <a:pt x="884" y="1570"/>
                </a:lnTo>
                <a:lnTo>
                  <a:pt x="864" y="1583"/>
                </a:lnTo>
                <a:lnTo>
                  <a:pt x="844" y="1597"/>
                </a:lnTo>
                <a:lnTo>
                  <a:pt x="824" y="1608"/>
                </a:lnTo>
                <a:lnTo>
                  <a:pt x="803" y="1620"/>
                </a:lnTo>
                <a:lnTo>
                  <a:pt x="792" y="1625"/>
                </a:lnTo>
                <a:lnTo>
                  <a:pt x="781" y="1629"/>
                </a:lnTo>
                <a:lnTo>
                  <a:pt x="770" y="1634"/>
                </a:lnTo>
                <a:lnTo>
                  <a:pt x="759" y="1638"/>
                </a:lnTo>
                <a:lnTo>
                  <a:pt x="736" y="1648"/>
                </a:lnTo>
                <a:lnTo>
                  <a:pt x="713" y="1655"/>
                </a:lnTo>
                <a:lnTo>
                  <a:pt x="702" y="1658"/>
                </a:lnTo>
                <a:lnTo>
                  <a:pt x="690" y="1661"/>
                </a:lnTo>
                <a:lnTo>
                  <a:pt x="666" y="1668"/>
                </a:lnTo>
                <a:lnTo>
                  <a:pt x="642" y="1672"/>
                </a:lnTo>
                <a:lnTo>
                  <a:pt x="617" y="1676"/>
                </a:lnTo>
                <a:lnTo>
                  <a:pt x="592" y="1678"/>
                </a:lnTo>
                <a:lnTo>
                  <a:pt x="567" y="1680"/>
                </a:lnTo>
                <a:lnTo>
                  <a:pt x="542" y="1680"/>
                </a:lnTo>
                <a:lnTo>
                  <a:pt x="525" y="1680"/>
                </a:lnTo>
                <a:lnTo>
                  <a:pt x="507" y="1679"/>
                </a:lnTo>
                <a:lnTo>
                  <a:pt x="490" y="1678"/>
                </a:lnTo>
                <a:lnTo>
                  <a:pt x="473" y="1676"/>
                </a:lnTo>
                <a:lnTo>
                  <a:pt x="498" y="1692"/>
                </a:lnTo>
                <a:lnTo>
                  <a:pt x="523" y="1705"/>
                </a:lnTo>
                <a:lnTo>
                  <a:pt x="535" y="1712"/>
                </a:lnTo>
                <a:lnTo>
                  <a:pt x="548" y="1719"/>
                </a:lnTo>
                <a:lnTo>
                  <a:pt x="561" y="1725"/>
                </a:lnTo>
                <a:lnTo>
                  <a:pt x="574" y="1731"/>
                </a:lnTo>
                <a:lnTo>
                  <a:pt x="601" y="1743"/>
                </a:lnTo>
                <a:lnTo>
                  <a:pt x="627" y="1754"/>
                </a:lnTo>
                <a:lnTo>
                  <a:pt x="655" y="1763"/>
                </a:lnTo>
                <a:lnTo>
                  <a:pt x="682" y="1773"/>
                </a:lnTo>
                <a:lnTo>
                  <a:pt x="711" y="1780"/>
                </a:lnTo>
                <a:lnTo>
                  <a:pt x="739" y="1787"/>
                </a:lnTo>
                <a:lnTo>
                  <a:pt x="768" y="1794"/>
                </a:lnTo>
                <a:lnTo>
                  <a:pt x="797" y="1798"/>
                </a:lnTo>
                <a:lnTo>
                  <a:pt x="828" y="1802"/>
                </a:lnTo>
                <a:lnTo>
                  <a:pt x="857" y="1805"/>
                </a:lnTo>
                <a:lnTo>
                  <a:pt x="888" y="1806"/>
                </a:lnTo>
                <a:lnTo>
                  <a:pt x="918" y="1807"/>
                </a:lnTo>
                <a:close/>
                <a:moveTo>
                  <a:pt x="0" y="1181"/>
                </a:moveTo>
                <a:lnTo>
                  <a:pt x="1" y="1151"/>
                </a:lnTo>
                <a:lnTo>
                  <a:pt x="2" y="1121"/>
                </a:lnTo>
                <a:lnTo>
                  <a:pt x="4" y="1091"/>
                </a:lnTo>
                <a:lnTo>
                  <a:pt x="6" y="1060"/>
                </a:lnTo>
                <a:lnTo>
                  <a:pt x="10" y="1031"/>
                </a:lnTo>
                <a:lnTo>
                  <a:pt x="13" y="1001"/>
                </a:lnTo>
                <a:lnTo>
                  <a:pt x="19" y="972"/>
                </a:lnTo>
                <a:lnTo>
                  <a:pt x="24" y="944"/>
                </a:lnTo>
                <a:lnTo>
                  <a:pt x="30" y="915"/>
                </a:lnTo>
                <a:lnTo>
                  <a:pt x="37" y="886"/>
                </a:lnTo>
                <a:lnTo>
                  <a:pt x="45" y="858"/>
                </a:lnTo>
                <a:lnTo>
                  <a:pt x="53" y="830"/>
                </a:lnTo>
                <a:lnTo>
                  <a:pt x="62" y="802"/>
                </a:lnTo>
                <a:lnTo>
                  <a:pt x="72" y="775"/>
                </a:lnTo>
                <a:lnTo>
                  <a:pt x="82" y="748"/>
                </a:lnTo>
                <a:lnTo>
                  <a:pt x="94" y="722"/>
                </a:lnTo>
                <a:lnTo>
                  <a:pt x="105" y="696"/>
                </a:lnTo>
                <a:lnTo>
                  <a:pt x="117" y="670"/>
                </a:lnTo>
                <a:lnTo>
                  <a:pt x="129" y="644"/>
                </a:lnTo>
                <a:lnTo>
                  <a:pt x="143" y="619"/>
                </a:lnTo>
                <a:lnTo>
                  <a:pt x="157" y="594"/>
                </a:lnTo>
                <a:lnTo>
                  <a:pt x="172" y="569"/>
                </a:lnTo>
                <a:lnTo>
                  <a:pt x="186" y="545"/>
                </a:lnTo>
                <a:lnTo>
                  <a:pt x="202" y="521"/>
                </a:lnTo>
                <a:lnTo>
                  <a:pt x="219" y="498"/>
                </a:lnTo>
                <a:lnTo>
                  <a:pt x="235" y="475"/>
                </a:lnTo>
                <a:lnTo>
                  <a:pt x="252" y="452"/>
                </a:lnTo>
                <a:lnTo>
                  <a:pt x="270" y="430"/>
                </a:lnTo>
                <a:lnTo>
                  <a:pt x="288" y="408"/>
                </a:lnTo>
                <a:lnTo>
                  <a:pt x="307" y="388"/>
                </a:lnTo>
                <a:lnTo>
                  <a:pt x="326" y="367"/>
                </a:lnTo>
                <a:lnTo>
                  <a:pt x="346" y="346"/>
                </a:lnTo>
                <a:lnTo>
                  <a:pt x="366" y="326"/>
                </a:lnTo>
                <a:lnTo>
                  <a:pt x="387" y="307"/>
                </a:lnTo>
                <a:lnTo>
                  <a:pt x="408" y="289"/>
                </a:lnTo>
                <a:lnTo>
                  <a:pt x="430" y="270"/>
                </a:lnTo>
                <a:lnTo>
                  <a:pt x="452" y="252"/>
                </a:lnTo>
                <a:lnTo>
                  <a:pt x="475" y="236"/>
                </a:lnTo>
                <a:lnTo>
                  <a:pt x="498" y="218"/>
                </a:lnTo>
                <a:lnTo>
                  <a:pt x="521" y="202"/>
                </a:lnTo>
                <a:lnTo>
                  <a:pt x="544" y="187"/>
                </a:lnTo>
                <a:lnTo>
                  <a:pt x="568" y="171"/>
                </a:lnTo>
                <a:lnTo>
                  <a:pt x="593" y="157"/>
                </a:lnTo>
                <a:lnTo>
                  <a:pt x="618" y="143"/>
                </a:lnTo>
                <a:lnTo>
                  <a:pt x="643" y="129"/>
                </a:lnTo>
                <a:lnTo>
                  <a:pt x="669" y="117"/>
                </a:lnTo>
                <a:lnTo>
                  <a:pt x="695" y="104"/>
                </a:lnTo>
                <a:lnTo>
                  <a:pt x="721" y="93"/>
                </a:lnTo>
                <a:lnTo>
                  <a:pt x="748" y="82"/>
                </a:lnTo>
                <a:lnTo>
                  <a:pt x="775" y="72"/>
                </a:lnTo>
                <a:lnTo>
                  <a:pt x="803" y="63"/>
                </a:lnTo>
                <a:lnTo>
                  <a:pt x="830" y="53"/>
                </a:lnTo>
                <a:lnTo>
                  <a:pt x="858" y="45"/>
                </a:lnTo>
                <a:lnTo>
                  <a:pt x="886" y="38"/>
                </a:lnTo>
                <a:lnTo>
                  <a:pt x="914" y="30"/>
                </a:lnTo>
                <a:lnTo>
                  <a:pt x="943" y="24"/>
                </a:lnTo>
                <a:lnTo>
                  <a:pt x="972" y="19"/>
                </a:lnTo>
                <a:lnTo>
                  <a:pt x="1002" y="14"/>
                </a:lnTo>
                <a:lnTo>
                  <a:pt x="1031" y="10"/>
                </a:lnTo>
                <a:lnTo>
                  <a:pt x="1060" y="6"/>
                </a:lnTo>
                <a:lnTo>
                  <a:pt x="1090" y="4"/>
                </a:lnTo>
                <a:lnTo>
                  <a:pt x="1120" y="2"/>
                </a:lnTo>
                <a:lnTo>
                  <a:pt x="1150" y="1"/>
                </a:lnTo>
                <a:lnTo>
                  <a:pt x="1181" y="0"/>
                </a:lnTo>
                <a:lnTo>
                  <a:pt x="1212" y="1"/>
                </a:lnTo>
                <a:lnTo>
                  <a:pt x="1242" y="2"/>
                </a:lnTo>
                <a:lnTo>
                  <a:pt x="1271" y="4"/>
                </a:lnTo>
                <a:lnTo>
                  <a:pt x="1301" y="6"/>
                </a:lnTo>
                <a:lnTo>
                  <a:pt x="1332" y="10"/>
                </a:lnTo>
                <a:lnTo>
                  <a:pt x="1361" y="14"/>
                </a:lnTo>
                <a:lnTo>
                  <a:pt x="1390" y="19"/>
                </a:lnTo>
                <a:lnTo>
                  <a:pt x="1419" y="24"/>
                </a:lnTo>
                <a:lnTo>
                  <a:pt x="1447" y="30"/>
                </a:lnTo>
                <a:lnTo>
                  <a:pt x="1476" y="38"/>
                </a:lnTo>
                <a:lnTo>
                  <a:pt x="1504" y="45"/>
                </a:lnTo>
                <a:lnTo>
                  <a:pt x="1532" y="53"/>
                </a:lnTo>
                <a:lnTo>
                  <a:pt x="1560" y="63"/>
                </a:lnTo>
                <a:lnTo>
                  <a:pt x="1587" y="72"/>
                </a:lnTo>
                <a:lnTo>
                  <a:pt x="1614" y="82"/>
                </a:lnTo>
                <a:lnTo>
                  <a:pt x="1641" y="93"/>
                </a:lnTo>
                <a:lnTo>
                  <a:pt x="1667" y="104"/>
                </a:lnTo>
                <a:lnTo>
                  <a:pt x="1693" y="117"/>
                </a:lnTo>
                <a:lnTo>
                  <a:pt x="1718" y="129"/>
                </a:lnTo>
                <a:lnTo>
                  <a:pt x="1744" y="143"/>
                </a:lnTo>
                <a:lnTo>
                  <a:pt x="1769" y="157"/>
                </a:lnTo>
                <a:lnTo>
                  <a:pt x="1793" y="171"/>
                </a:lnTo>
                <a:lnTo>
                  <a:pt x="1817" y="187"/>
                </a:lnTo>
                <a:lnTo>
                  <a:pt x="1841" y="202"/>
                </a:lnTo>
                <a:lnTo>
                  <a:pt x="1865" y="218"/>
                </a:lnTo>
                <a:lnTo>
                  <a:pt x="1888" y="236"/>
                </a:lnTo>
                <a:lnTo>
                  <a:pt x="1910" y="252"/>
                </a:lnTo>
                <a:lnTo>
                  <a:pt x="1932" y="270"/>
                </a:lnTo>
                <a:lnTo>
                  <a:pt x="1953" y="289"/>
                </a:lnTo>
                <a:lnTo>
                  <a:pt x="1975" y="307"/>
                </a:lnTo>
                <a:lnTo>
                  <a:pt x="1996" y="326"/>
                </a:lnTo>
                <a:lnTo>
                  <a:pt x="2016" y="346"/>
                </a:lnTo>
                <a:lnTo>
                  <a:pt x="2035" y="367"/>
                </a:lnTo>
                <a:lnTo>
                  <a:pt x="2055" y="388"/>
                </a:lnTo>
                <a:lnTo>
                  <a:pt x="2074" y="408"/>
                </a:lnTo>
                <a:lnTo>
                  <a:pt x="2092" y="430"/>
                </a:lnTo>
                <a:lnTo>
                  <a:pt x="2109" y="452"/>
                </a:lnTo>
                <a:lnTo>
                  <a:pt x="2127" y="475"/>
                </a:lnTo>
                <a:lnTo>
                  <a:pt x="2144" y="498"/>
                </a:lnTo>
                <a:lnTo>
                  <a:pt x="2159" y="521"/>
                </a:lnTo>
                <a:lnTo>
                  <a:pt x="2175" y="545"/>
                </a:lnTo>
                <a:lnTo>
                  <a:pt x="2191" y="569"/>
                </a:lnTo>
                <a:lnTo>
                  <a:pt x="2205" y="594"/>
                </a:lnTo>
                <a:lnTo>
                  <a:pt x="2219" y="619"/>
                </a:lnTo>
                <a:lnTo>
                  <a:pt x="2232" y="644"/>
                </a:lnTo>
                <a:lnTo>
                  <a:pt x="2245" y="670"/>
                </a:lnTo>
                <a:lnTo>
                  <a:pt x="2257" y="696"/>
                </a:lnTo>
                <a:lnTo>
                  <a:pt x="2269" y="722"/>
                </a:lnTo>
                <a:lnTo>
                  <a:pt x="2279" y="748"/>
                </a:lnTo>
                <a:lnTo>
                  <a:pt x="2290" y="775"/>
                </a:lnTo>
                <a:lnTo>
                  <a:pt x="2300" y="802"/>
                </a:lnTo>
                <a:lnTo>
                  <a:pt x="2308" y="830"/>
                </a:lnTo>
                <a:lnTo>
                  <a:pt x="2317" y="858"/>
                </a:lnTo>
                <a:lnTo>
                  <a:pt x="2324" y="886"/>
                </a:lnTo>
                <a:lnTo>
                  <a:pt x="2331" y="915"/>
                </a:lnTo>
                <a:lnTo>
                  <a:pt x="2337" y="944"/>
                </a:lnTo>
                <a:lnTo>
                  <a:pt x="2343" y="972"/>
                </a:lnTo>
                <a:lnTo>
                  <a:pt x="2348" y="1001"/>
                </a:lnTo>
                <a:lnTo>
                  <a:pt x="2352" y="1031"/>
                </a:lnTo>
                <a:lnTo>
                  <a:pt x="2355" y="1060"/>
                </a:lnTo>
                <a:lnTo>
                  <a:pt x="2358" y="1091"/>
                </a:lnTo>
                <a:lnTo>
                  <a:pt x="2360" y="1121"/>
                </a:lnTo>
                <a:lnTo>
                  <a:pt x="2361" y="1151"/>
                </a:lnTo>
                <a:lnTo>
                  <a:pt x="2361" y="1181"/>
                </a:lnTo>
                <a:lnTo>
                  <a:pt x="2361" y="1211"/>
                </a:lnTo>
                <a:lnTo>
                  <a:pt x="2360" y="1242"/>
                </a:lnTo>
                <a:lnTo>
                  <a:pt x="2358" y="1272"/>
                </a:lnTo>
                <a:lnTo>
                  <a:pt x="2355" y="1302"/>
                </a:lnTo>
                <a:lnTo>
                  <a:pt x="2352" y="1332"/>
                </a:lnTo>
                <a:lnTo>
                  <a:pt x="2348" y="1361"/>
                </a:lnTo>
                <a:lnTo>
                  <a:pt x="2343" y="1391"/>
                </a:lnTo>
                <a:lnTo>
                  <a:pt x="2337" y="1420"/>
                </a:lnTo>
                <a:lnTo>
                  <a:pt x="2331" y="1448"/>
                </a:lnTo>
                <a:lnTo>
                  <a:pt x="2324" y="1477"/>
                </a:lnTo>
                <a:lnTo>
                  <a:pt x="2317" y="1505"/>
                </a:lnTo>
                <a:lnTo>
                  <a:pt x="2308" y="1532"/>
                </a:lnTo>
                <a:lnTo>
                  <a:pt x="2300" y="1560"/>
                </a:lnTo>
                <a:lnTo>
                  <a:pt x="2290" y="1587"/>
                </a:lnTo>
                <a:lnTo>
                  <a:pt x="2279" y="1614"/>
                </a:lnTo>
                <a:lnTo>
                  <a:pt x="2269" y="1640"/>
                </a:lnTo>
                <a:lnTo>
                  <a:pt x="2257" y="1668"/>
                </a:lnTo>
                <a:lnTo>
                  <a:pt x="2245" y="1694"/>
                </a:lnTo>
                <a:lnTo>
                  <a:pt x="2232" y="1719"/>
                </a:lnTo>
                <a:lnTo>
                  <a:pt x="2219" y="1745"/>
                </a:lnTo>
                <a:lnTo>
                  <a:pt x="2205" y="1770"/>
                </a:lnTo>
                <a:lnTo>
                  <a:pt x="2191" y="1794"/>
                </a:lnTo>
                <a:lnTo>
                  <a:pt x="2175" y="1818"/>
                </a:lnTo>
                <a:lnTo>
                  <a:pt x="2159" y="1842"/>
                </a:lnTo>
                <a:lnTo>
                  <a:pt x="2144" y="1865"/>
                </a:lnTo>
                <a:lnTo>
                  <a:pt x="2127" y="1888"/>
                </a:lnTo>
                <a:lnTo>
                  <a:pt x="2109" y="1910"/>
                </a:lnTo>
                <a:lnTo>
                  <a:pt x="2092" y="1932"/>
                </a:lnTo>
                <a:lnTo>
                  <a:pt x="2074" y="1954"/>
                </a:lnTo>
                <a:lnTo>
                  <a:pt x="2055" y="1976"/>
                </a:lnTo>
                <a:lnTo>
                  <a:pt x="2035" y="1996"/>
                </a:lnTo>
                <a:lnTo>
                  <a:pt x="2016" y="2016"/>
                </a:lnTo>
                <a:lnTo>
                  <a:pt x="1996" y="2036"/>
                </a:lnTo>
                <a:lnTo>
                  <a:pt x="1975" y="2055"/>
                </a:lnTo>
                <a:lnTo>
                  <a:pt x="1953" y="2075"/>
                </a:lnTo>
                <a:lnTo>
                  <a:pt x="1932" y="2092"/>
                </a:lnTo>
                <a:lnTo>
                  <a:pt x="1910" y="2110"/>
                </a:lnTo>
                <a:lnTo>
                  <a:pt x="1888" y="2128"/>
                </a:lnTo>
                <a:lnTo>
                  <a:pt x="1865" y="2145"/>
                </a:lnTo>
                <a:lnTo>
                  <a:pt x="1841" y="2160"/>
                </a:lnTo>
                <a:lnTo>
                  <a:pt x="1817" y="2176"/>
                </a:lnTo>
                <a:lnTo>
                  <a:pt x="1793" y="2191"/>
                </a:lnTo>
                <a:lnTo>
                  <a:pt x="1769" y="2206"/>
                </a:lnTo>
                <a:lnTo>
                  <a:pt x="1744" y="2220"/>
                </a:lnTo>
                <a:lnTo>
                  <a:pt x="1718" y="2233"/>
                </a:lnTo>
                <a:lnTo>
                  <a:pt x="1693" y="2246"/>
                </a:lnTo>
                <a:lnTo>
                  <a:pt x="1667" y="2258"/>
                </a:lnTo>
                <a:lnTo>
                  <a:pt x="1641" y="2270"/>
                </a:lnTo>
                <a:lnTo>
                  <a:pt x="1614" y="2280"/>
                </a:lnTo>
                <a:lnTo>
                  <a:pt x="1587" y="2290"/>
                </a:lnTo>
                <a:lnTo>
                  <a:pt x="1560" y="2300"/>
                </a:lnTo>
                <a:lnTo>
                  <a:pt x="1532" y="2309"/>
                </a:lnTo>
                <a:lnTo>
                  <a:pt x="1504" y="2317"/>
                </a:lnTo>
                <a:lnTo>
                  <a:pt x="1476" y="2325"/>
                </a:lnTo>
                <a:lnTo>
                  <a:pt x="1447" y="2332"/>
                </a:lnTo>
                <a:lnTo>
                  <a:pt x="1419" y="2338"/>
                </a:lnTo>
                <a:lnTo>
                  <a:pt x="1390" y="2343"/>
                </a:lnTo>
                <a:lnTo>
                  <a:pt x="1361" y="2349"/>
                </a:lnTo>
                <a:lnTo>
                  <a:pt x="1332" y="2353"/>
                </a:lnTo>
                <a:lnTo>
                  <a:pt x="1301" y="2356"/>
                </a:lnTo>
                <a:lnTo>
                  <a:pt x="1271" y="2359"/>
                </a:lnTo>
                <a:lnTo>
                  <a:pt x="1242" y="2361"/>
                </a:lnTo>
                <a:lnTo>
                  <a:pt x="1212" y="2362"/>
                </a:lnTo>
                <a:lnTo>
                  <a:pt x="1181" y="2362"/>
                </a:lnTo>
                <a:lnTo>
                  <a:pt x="1150" y="2362"/>
                </a:lnTo>
                <a:lnTo>
                  <a:pt x="1120" y="2361"/>
                </a:lnTo>
                <a:lnTo>
                  <a:pt x="1090" y="2359"/>
                </a:lnTo>
                <a:lnTo>
                  <a:pt x="1060" y="2356"/>
                </a:lnTo>
                <a:lnTo>
                  <a:pt x="1031" y="2353"/>
                </a:lnTo>
                <a:lnTo>
                  <a:pt x="1002" y="2349"/>
                </a:lnTo>
                <a:lnTo>
                  <a:pt x="972" y="2343"/>
                </a:lnTo>
                <a:lnTo>
                  <a:pt x="943" y="2338"/>
                </a:lnTo>
                <a:lnTo>
                  <a:pt x="914" y="2332"/>
                </a:lnTo>
                <a:lnTo>
                  <a:pt x="886" y="2325"/>
                </a:lnTo>
                <a:lnTo>
                  <a:pt x="858" y="2317"/>
                </a:lnTo>
                <a:lnTo>
                  <a:pt x="830" y="2309"/>
                </a:lnTo>
                <a:lnTo>
                  <a:pt x="803" y="2300"/>
                </a:lnTo>
                <a:lnTo>
                  <a:pt x="775" y="2290"/>
                </a:lnTo>
                <a:lnTo>
                  <a:pt x="748" y="2280"/>
                </a:lnTo>
                <a:lnTo>
                  <a:pt x="721" y="2270"/>
                </a:lnTo>
                <a:lnTo>
                  <a:pt x="695" y="2258"/>
                </a:lnTo>
                <a:lnTo>
                  <a:pt x="669" y="2246"/>
                </a:lnTo>
                <a:lnTo>
                  <a:pt x="643" y="2233"/>
                </a:lnTo>
                <a:lnTo>
                  <a:pt x="618" y="2220"/>
                </a:lnTo>
                <a:lnTo>
                  <a:pt x="593" y="2206"/>
                </a:lnTo>
                <a:lnTo>
                  <a:pt x="568" y="2191"/>
                </a:lnTo>
                <a:lnTo>
                  <a:pt x="544" y="2176"/>
                </a:lnTo>
                <a:lnTo>
                  <a:pt x="521" y="2160"/>
                </a:lnTo>
                <a:lnTo>
                  <a:pt x="498" y="2145"/>
                </a:lnTo>
                <a:lnTo>
                  <a:pt x="475" y="2128"/>
                </a:lnTo>
                <a:lnTo>
                  <a:pt x="452" y="2110"/>
                </a:lnTo>
                <a:lnTo>
                  <a:pt x="430" y="2092"/>
                </a:lnTo>
                <a:lnTo>
                  <a:pt x="408" y="2075"/>
                </a:lnTo>
                <a:lnTo>
                  <a:pt x="387" y="2055"/>
                </a:lnTo>
                <a:lnTo>
                  <a:pt x="366" y="2036"/>
                </a:lnTo>
                <a:lnTo>
                  <a:pt x="346" y="2016"/>
                </a:lnTo>
                <a:lnTo>
                  <a:pt x="326" y="1996"/>
                </a:lnTo>
                <a:lnTo>
                  <a:pt x="307" y="1976"/>
                </a:lnTo>
                <a:lnTo>
                  <a:pt x="288" y="1954"/>
                </a:lnTo>
                <a:lnTo>
                  <a:pt x="270" y="1932"/>
                </a:lnTo>
                <a:lnTo>
                  <a:pt x="252" y="1910"/>
                </a:lnTo>
                <a:lnTo>
                  <a:pt x="235" y="1888"/>
                </a:lnTo>
                <a:lnTo>
                  <a:pt x="219" y="1865"/>
                </a:lnTo>
                <a:lnTo>
                  <a:pt x="202" y="1842"/>
                </a:lnTo>
                <a:lnTo>
                  <a:pt x="186" y="1818"/>
                </a:lnTo>
                <a:lnTo>
                  <a:pt x="172" y="1794"/>
                </a:lnTo>
                <a:lnTo>
                  <a:pt x="157" y="1770"/>
                </a:lnTo>
                <a:lnTo>
                  <a:pt x="143" y="1745"/>
                </a:lnTo>
                <a:lnTo>
                  <a:pt x="129" y="1719"/>
                </a:lnTo>
                <a:lnTo>
                  <a:pt x="117" y="1694"/>
                </a:lnTo>
                <a:lnTo>
                  <a:pt x="105" y="1668"/>
                </a:lnTo>
                <a:lnTo>
                  <a:pt x="94" y="1640"/>
                </a:lnTo>
                <a:lnTo>
                  <a:pt x="82" y="1614"/>
                </a:lnTo>
                <a:lnTo>
                  <a:pt x="72" y="1587"/>
                </a:lnTo>
                <a:lnTo>
                  <a:pt x="62" y="1560"/>
                </a:lnTo>
                <a:lnTo>
                  <a:pt x="53" y="1532"/>
                </a:lnTo>
                <a:lnTo>
                  <a:pt x="45" y="1505"/>
                </a:lnTo>
                <a:lnTo>
                  <a:pt x="37" y="1477"/>
                </a:lnTo>
                <a:lnTo>
                  <a:pt x="30" y="1448"/>
                </a:lnTo>
                <a:lnTo>
                  <a:pt x="24" y="1420"/>
                </a:lnTo>
                <a:lnTo>
                  <a:pt x="19" y="1391"/>
                </a:lnTo>
                <a:lnTo>
                  <a:pt x="13" y="1361"/>
                </a:lnTo>
                <a:lnTo>
                  <a:pt x="10" y="1332"/>
                </a:lnTo>
                <a:lnTo>
                  <a:pt x="6" y="1302"/>
                </a:lnTo>
                <a:lnTo>
                  <a:pt x="4" y="1272"/>
                </a:lnTo>
                <a:lnTo>
                  <a:pt x="2" y="1242"/>
                </a:lnTo>
                <a:lnTo>
                  <a:pt x="1" y="1211"/>
                </a:lnTo>
                <a:lnTo>
                  <a:pt x="0" y="1181"/>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fi-FI"/>
          </a:p>
        </p:txBody>
      </p:sp>
      <p:sp>
        <p:nvSpPr>
          <p:cNvPr id="21" name="Freeform 7">
            <a:hlinkClick r:id="rId3" tooltip="linkedin"/>
          </p:cNvPr>
          <p:cNvSpPr>
            <a:spLocks noChangeAspect="1" noEditPoints="1"/>
          </p:cNvSpPr>
          <p:nvPr userDrawn="1"/>
        </p:nvSpPr>
        <p:spPr bwMode="auto">
          <a:xfrm>
            <a:off x="5663992" y="5841388"/>
            <a:ext cx="360000" cy="360000"/>
          </a:xfrm>
          <a:custGeom>
            <a:avLst/>
            <a:gdLst>
              <a:gd name="T0" fmla="*/ 760 w 2361"/>
              <a:gd name="T1" fmla="*/ 594 h 2362"/>
              <a:gd name="T2" fmla="*/ 832 w 2361"/>
              <a:gd name="T3" fmla="*/ 632 h 2362"/>
              <a:gd name="T4" fmla="*/ 867 w 2361"/>
              <a:gd name="T5" fmla="*/ 691 h 2362"/>
              <a:gd name="T6" fmla="*/ 870 w 2361"/>
              <a:gd name="T7" fmla="*/ 761 h 2362"/>
              <a:gd name="T8" fmla="*/ 832 w 2361"/>
              <a:gd name="T9" fmla="*/ 833 h 2362"/>
              <a:gd name="T10" fmla="*/ 774 w 2361"/>
              <a:gd name="T11" fmla="*/ 869 h 2362"/>
              <a:gd name="T12" fmla="*/ 689 w 2361"/>
              <a:gd name="T13" fmla="*/ 869 h 2362"/>
              <a:gd name="T14" fmla="*/ 626 w 2361"/>
              <a:gd name="T15" fmla="*/ 828 h 2362"/>
              <a:gd name="T16" fmla="*/ 593 w 2361"/>
              <a:gd name="T17" fmla="*/ 769 h 2362"/>
              <a:gd name="T18" fmla="*/ 596 w 2361"/>
              <a:gd name="T19" fmla="*/ 691 h 2362"/>
              <a:gd name="T20" fmla="*/ 636 w 2361"/>
              <a:gd name="T21" fmla="*/ 628 h 2362"/>
              <a:gd name="T22" fmla="*/ 696 w 2361"/>
              <a:gd name="T23" fmla="*/ 595 h 2362"/>
              <a:gd name="T24" fmla="*/ 1246 w 2361"/>
              <a:gd name="T25" fmla="*/ 1091 h 2362"/>
              <a:gd name="T26" fmla="*/ 1316 w 2361"/>
              <a:gd name="T27" fmla="*/ 1014 h 2362"/>
              <a:gd name="T28" fmla="*/ 1406 w 2361"/>
              <a:gd name="T29" fmla="*/ 972 h 2362"/>
              <a:gd name="T30" fmla="*/ 1500 w 2361"/>
              <a:gd name="T31" fmla="*/ 964 h 2362"/>
              <a:gd name="T32" fmla="*/ 1628 w 2361"/>
              <a:gd name="T33" fmla="*/ 993 h 2362"/>
              <a:gd name="T34" fmla="*/ 1710 w 2361"/>
              <a:gd name="T35" fmla="*/ 1059 h 2362"/>
              <a:gd name="T36" fmla="*/ 1758 w 2361"/>
              <a:gd name="T37" fmla="*/ 1174 h 2362"/>
              <a:gd name="T38" fmla="*/ 1772 w 2361"/>
              <a:gd name="T39" fmla="*/ 1320 h 2362"/>
              <a:gd name="T40" fmla="*/ 1523 w 2361"/>
              <a:gd name="T41" fmla="*/ 1299 h 2362"/>
              <a:gd name="T42" fmla="*/ 1499 w 2361"/>
              <a:gd name="T43" fmla="*/ 1228 h 2362"/>
              <a:gd name="T44" fmla="*/ 1450 w 2361"/>
              <a:gd name="T45" fmla="*/ 1187 h 2362"/>
              <a:gd name="T46" fmla="*/ 1378 w 2361"/>
              <a:gd name="T47" fmla="*/ 1180 h 2362"/>
              <a:gd name="T48" fmla="*/ 1309 w 2361"/>
              <a:gd name="T49" fmla="*/ 1205 h 2362"/>
              <a:gd name="T50" fmla="*/ 1271 w 2361"/>
              <a:gd name="T51" fmla="*/ 1256 h 2362"/>
              <a:gd name="T52" fmla="*/ 1253 w 2361"/>
              <a:gd name="T53" fmla="*/ 1381 h 2362"/>
              <a:gd name="T54" fmla="*/ 6 w 2361"/>
              <a:gd name="T55" fmla="*/ 1060 h 2362"/>
              <a:gd name="T56" fmla="*/ 53 w 2361"/>
              <a:gd name="T57" fmla="*/ 830 h 2362"/>
              <a:gd name="T58" fmla="*/ 143 w 2361"/>
              <a:gd name="T59" fmla="*/ 619 h 2362"/>
              <a:gd name="T60" fmla="*/ 270 w 2361"/>
              <a:gd name="T61" fmla="*/ 430 h 2362"/>
              <a:gd name="T62" fmla="*/ 430 w 2361"/>
              <a:gd name="T63" fmla="*/ 270 h 2362"/>
              <a:gd name="T64" fmla="*/ 618 w 2361"/>
              <a:gd name="T65" fmla="*/ 143 h 2362"/>
              <a:gd name="T66" fmla="*/ 830 w 2361"/>
              <a:gd name="T67" fmla="*/ 53 h 2362"/>
              <a:gd name="T68" fmla="*/ 1060 w 2361"/>
              <a:gd name="T69" fmla="*/ 6 h 2362"/>
              <a:gd name="T70" fmla="*/ 1302 w 2361"/>
              <a:gd name="T71" fmla="*/ 6 h 2362"/>
              <a:gd name="T72" fmla="*/ 1532 w 2361"/>
              <a:gd name="T73" fmla="*/ 53 h 2362"/>
              <a:gd name="T74" fmla="*/ 1743 w 2361"/>
              <a:gd name="T75" fmla="*/ 143 h 2362"/>
              <a:gd name="T76" fmla="*/ 1931 w 2361"/>
              <a:gd name="T77" fmla="*/ 270 h 2362"/>
              <a:gd name="T78" fmla="*/ 2092 w 2361"/>
              <a:gd name="T79" fmla="*/ 430 h 2362"/>
              <a:gd name="T80" fmla="*/ 2219 w 2361"/>
              <a:gd name="T81" fmla="*/ 619 h 2362"/>
              <a:gd name="T82" fmla="*/ 2308 w 2361"/>
              <a:gd name="T83" fmla="*/ 830 h 2362"/>
              <a:gd name="T84" fmla="*/ 2355 w 2361"/>
              <a:gd name="T85" fmla="*/ 1060 h 2362"/>
              <a:gd name="T86" fmla="*/ 2355 w 2361"/>
              <a:gd name="T87" fmla="*/ 1302 h 2362"/>
              <a:gd name="T88" fmla="*/ 2308 w 2361"/>
              <a:gd name="T89" fmla="*/ 1532 h 2362"/>
              <a:gd name="T90" fmla="*/ 2219 w 2361"/>
              <a:gd name="T91" fmla="*/ 1745 h 2362"/>
              <a:gd name="T92" fmla="*/ 2092 w 2361"/>
              <a:gd name="T93" fmla="*/ 1932 h 2362"/>
              <a:gd name="T94" fmla="*/ 1931 w 2361"/>
              <a:gd name="T95" fmla="*/ 2092 h 2362"/>
              <a:gd name="T96" fmla="*/ 1743 w 2361"/>
              <a:gd name="T97" fmla="*/ 2220 h 2362"/>
              <a:gd name="T98" fmla="*/ 1532 w 2361"/>
              <a:gd name="T99" fmla="*/ 2309 h 2362"/>
              <a:gd name="T100" fmla="*/ 1302 w 2361"/>
              <a:gd name="T101" fmla="*/ 2356 h 2362"/>
              <a:gd name="T102" fmla="*/ 1060 w 2361"/>
              <a:gd name="T103" fmla="*/ 2356 h 2362"/>
              <a:gd name="T104" fmla="*/ 830 w 2361"/>
              <a:gd name="T105" fmla="*/ 2309 h 2362"/>
              <a:gd name="T106" fmla="*/ 618 w 2361"/>
              <a:gd name="T107" fmla="*/ 2220 h 2362"/>
              <a:gd name="T108" fmla="*/ 430 w 2361"/>
              <a:gd name="T109" fmla="*/ 2092 h 2362"/>
              <a:gd name="T110" fmla="*/ 270 w 2361"/>
              <a:gd name="T111" fmla="*/ 1932 h 2362"/>
              <a:gd name="T112" fmla="*/ 143 w 2361"/>
              <a:gd name="T113" fmla="*/ 1745 h 2362"/>
              <a:gd name="T114" fmla="*/ 53 w 2361"/>
              <a:gd name="T115" fmla="*/ 1532 h 2362"/>
              <a:gd name="T116" fmla="*/ 6 w 2361"/>
              <a:gd name="T117" fmla="*/ 1302 h 2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1" h="2362">
                <a:moveTo>
                  <a:pt x="609" y="983"/>
                </a:moveTo>
                <a:lnTo>
                  <a:pt x="854" y="983"/>
                </a:lnTo>
                <a:lnTo>
                  <a:pt x="854" y="1772"/>
                </a:lnTo>
                <a:lnTo>
                  <a:pt x="609" y="1772"/>
                </a:lnTo>
                <a:lnTo>
                  <a:pt x="609" y="983"/>
                </a:lnTo>
                <a:close/>
                <a:moveTo>
                  <a:pt x="732" y="591"/>
                </a:moveTo>
                <a:lnTo>
                  <a:pt x="746" y="592"/>
                </a:lnTo>
                <a:lnTo>
                  <a:pt x="760" y="594"/>
                </a:lnTo>
                <a:lnTo>
                  <a:pt x="774" y="597"/>
                </a:lnTo>
                <a:lnTo>
                  <a:pt x="780" y="599"/>
                </a:lnTo>
                <a:lnTo>
                  <a:pt x="787" y="602"/>
                </a:lnTo>
                <a:lnTo>
                  <a:pt x="800" y="608"/>
                </a:lnTo>
                <a:lnTo>
                  <a:pt x="811" y="615"/>
                </a:lnTo>
                <a:lnTo>
                  <a:pt x="816" y="619"/>
                </a:lnTo>
                <a:lnTo>
                  <a:pt x="822" y="623"/>
                </a:lnTo>
                <a:lnTo>
                  <a:pt x="832" y="632"/>
                </a:lnTo>
                <a:lnTo>
                  <a:pt x="837" y="638"/>
                </a:lnTo>
                <a:lnTo>
                  <a:pt x="841" y="643"/>
                </a:lnTo>
                <a:lnTo>
                  <a:pt x="845" y="648"/>
                </a:lnTo>
                <a:lnTo>
                  <a:pt x="850" y="653"/>
                </a:lnTo>
                <a:lnTo>
                  <a:pt x="857" y="666"/>
                </a:lnTo>
                <a:lnTo>
                  <a:pt x="862" y="678"/>
                </a:lnTo>
                <a:lnTo>
                  <a:pt x="865" y="684"/>
                </a:lnTo>
                <a:lnTo>
                  <a:pt x="867" y="691"/>
                </a:lnTo>
                <a:lnTo>
                  <a:pt x="869" y="698"/>
                </a:lnTo>
                <a:lnTo>
                  <a:pt x="870" y="704"/>
                </a:lnTo>
                <a:lnTo>
                  <a:pt x="872" y="711"/>
                </a:lnTo>
                <a:lnTo>
                  <a:pt x="873" y="719"/>
                </a:lnTo>
                <a:lnTo>
                  <a:pt x="874" y="726"/>
                </a:lnTo>
                <a:lnTo>
                  <a:pt x="874" y="733"/>
                </a:lnTo>
                <a:lnTo>
                  <a:pt x="873" y="748"/>
                </a:lnTo>
                <a:lnTo>
                  <a:pt x="870" y="761"/>
                </a:lnTo>
                <a:lnTo>
                  <a:pt x="867" y="775"/>
                </a:lnTo>
                <a:lnTo>
                  <a:pt x="865" y="782"/>
                </a:lnTo>
                <a:lnTo>
                  <a:pt x="862" y="789"/>
                </a:lnTo>
                <a:lnTo>
                  <a:pt x="857" y="801"/>
                </a:lnTo>
                <a:lnTo>
                  <a:pt x="850" y="813"/>
                </a:lnTo>
                <a:lnTo>
                  <a:pt x="845" y="818"/>
                </a:lnTo>
                <a:lnTo>
                  <a:pt x="841" y="823"/>
                </a:lnTo>
                <a:lnTo>
                  <a:pt x="832" y="833"/>
                </a:lnTo>
                <a:lnTo>
                  <a:pt x="827" y="839"/>
                </a:lnTo>
                <a:lnTo>
                  <a:pt x="822" y="843"/>
                </a:lnTo>
                <a:lnTo>
                  <a:pt x="816" y="847"/>
                </a:lnTo>
                <a:lnTo>
                  <a:pt x="811" y="851"/>
                </a:lnTo>
                <a:lnTo>
                  <a:pt x="800" y="858"/>
                </a:lnTo>
                <a:lnTo>
                  <a:pt x="787" y="864"/>
                </a:lnTo>
                <a:lnTo>
                  <a:pt x="780" y="867"/>
                </a:lnTo>
                <a:lnTo>
                  <a:pt x="774" y="869"/>
                </a:lnTo>
                <a:lnTo>
                  <a:pt x="767" y="871"/>
                </a:lnTo>
                <a:lnTo>
                  <a:pt x="760" y="872"/>
                </a:lnTo>
                <a:lnTo>
                  <a:pt x="753" y="874"/>
                </a:lnTo>
                <a:lnTo>
                  <a:pt x="746" y="874"/>
                </a:lnTo>
                <a:lnTo>
                  <a:pt x="732" y="875"/>
                </a:lnTo>
                <a:lnTo>
                  <a:pt x="717" y="874"/>
                </a:lnTo>
                <a:lnTo>
                  <a:pt x="703" y="872"/>
                </a:lnTo>
                <a:lnTo>
                  <a:pt x="689" y="869"/>
                </a:lnTo>
                <a:lnTo>
                  <a:pt x="683" y="867"/>
                </a:lnTo>
                <a:lnTo>
                  <a:pt x="676" y="864"/>
                </a:lnTo>
                <a:lnTo>
                  <a:pt x="663" y="858"/>
                </a:lnTo>
                <a:lnTo>
                  <a:pt x="652" y="851"/>
                </a:lnTo>
                <a:lnTo>
                  <a:pt x="647" y="847"/>
                </a:lnTo>
                <a:lnTo>
                  <a:pt x="641" y="843"/>
                </a:lnTo>
                <a:lnTo>
                  <a:pt x="631" y="833"/>
                </a:lnTo>
                <a:lnTo>
                  <a:pt x="626" y="828"/>
                </a:lnTo>
                <a:lnTo>
                  <a:pt x="622" y="823"/>
                </a:lnTo>
                <a:lnTo>
                  <a:pt x="617" y="818"/>
                </a:lnTo>
                <a:lnTo>
                  <a:pt x="613" y="813"/>
                </a:lnTo>
                <a:lnTo>
                  <a:pt x="606" y="801"/>
                </a:lnTo>
                <a:lnTo>
                  <a:pt x="601" y="789"/>
                </a:lnTo>
                <a:lnTo>
                  <a:pt x="598" y="782"/>
                </a:lnTo>
                <a:lnTo>
                  <a:pt x="596" y="775"/>
                </a:lnTo>
                <a:lnTo>
                  <a:pt x="593" y="769"/>
                </a:lnTo>
                <a:lnTo>
                  <a:pt x="592" y="761"/>
                </a:lnTo>
                <a:lnTo>
                  <a:pt x="591" y="754"/>
                </a:lnTo>
                <a:lnTo>
                  <a:pt x="590" y="748"/>
                </a:lnTo>
                <a:lnTo>
                  <a:pt x="589" y="741"/>
                </a:lnTo>
                <a:lnTo>
                  <a:pt x="589" y="733"/>
                </a:lnTo>
                <a:lnTo>
                  <a:pt x="590" y="719"/>
                </a:lnTo>
                <a:lnTo>
                  <a:pt x="592" y="704"/>
                </a:lnTo>
                <a:lnTo>
                  <a:pt x="596" y="691"/>
                </a:lnTo>
                <a:lnTo>
                  <a:pt x="598" y="684"/>
                </a:lnTo>
                <a:lnTo>
                  <a:pt x="601" y="678"/>
                </a:lnTo>
                <a:lnTo>
                  <a:pt x="606" y="666"/>
                </a:lnTo>
                <a:lnTo>
                  <a:pt x="613" y="653"/>
                </a:lnTo>
                <a:lnTo>
                  <a:pt x="617" y="648"/>
                </a:lnTo>
                <a:lnTo>
                  <a:pt x="622" y="643"/>
                </a:lnTo>
                <a:lnTo>
                  <a:pt x="631" y="632"/>
                </a:lnTo>
                <a:lnTo>
                  <a:pt x="636" y="628"/>
                </a:lnTo>
                <a:lnTo>
                  <a:pt x="641" y="623"/>
                </a:lnTo>
                <a:lnTo>
                  <a:pt x="647" y="619"/>
                </a:lnTo>
                <a:lnTo>
                  <a:pt x="652" y="615"/>
                </a:lnTo>
                <a:lnTo>
                  <a:pt x="663" y="608"/>
                </a:lnTo>
                <a:lnTo>
                  <a:pt x="676" y="602"/>
                </a:lnTo>
                <a:lnTo>
                  <a:pt x="683" y="599"/>
                </a:lnTo>
                <a:lnTo>
                  <a:pt x="689" y="597"/>
                </a:lnTo>
                <a:lnTo>
                  <a:pt x="696" y="595"/>
                </a:lnTo>
                <a:lnTo>
                  <a:pt x="703" y="594"/>
                </a:lnTo>
                <a:lnTo>
                  <a:pt x="710" y="593"/>
                </a:lnTo>
                <a:lnTo>
                  <a:pt x="717" y="592"/>
                </a:lnTo>
                <a:lnTo>
                  <a:pt x="732" y="591"/>
                </a:lnTo>
                <a:close/>
                <a:moveTo>
                  <a:pt x="1008" y="983"/>
                </a:moveTo>
                <a:lnTo>
                  <a:pt x="1243" y="983"/>
                </a:lnTo>
                <a:lnTo>
                  <a:pt x="1243" y="1091"/>
                </a:lnTo>
                <a:lnTo>
                  <a:pt x="1246" y="1091"/>
                </a:lnTo>
                <a:lnTo>
                  <a:pt x="1249" y="1085"/>
                </a:lnTo>
                <a:lnTo>
                  <a:pt x="1253" y="1079"/>
                </a:lnTo>
                <a:lnTo>
                  <a:pt x="1261" y="1068"/>
                </a:lnTo>
                <a:lnTo>
                  <a:pt x="1269" y="1056"/>
                </a:lnTo>
                <a:lnTo>
                  <a:pt x="1280" y="1045"/>
                </a:lnTo>
                <a:lnTo>
                  <a:pt x="1290" y="1033"/>
                </a:lnTo>
                <a:lnTo>
                  <a:pt x="1303" y="1023"/>
                </a:lnTo>
                <a:lnTo>
                  <a:pt x="1316" y="1014"/>
                </a:lnTo>
                <a:lnTo>
                  <a:pt x="1330" y="1004"/>
                </a:lnTo>
                <a:lnTo>
                  <a:pt x="1337" y="999"/>
                </a:lnTo>
                <a:lnTo>
                  <a:pt x="1345" y="995"/>
                </a:lnTo>
                <a:lnTo>
                  <a:pt x="1353" y="992"/>
                </a:lnTo>
                <a:lnTo>
                  <a:pt x="1361" y="987"/>
                </a:lnTo>
                <a:lnTo>
                  <a:pt x="1379" y="980"/>
                </a:lnTo>
                <a:lnTo>
                  <a:pt x="1396" y="975"/>
                </a:lnTo>
                <a:lnTo>
                  <a:pt x="1406" y="972"/>
                </a:lnTo>
                <a:lnTo>
                  <a:pt x="1415" y="970"/>
                </a:lnTo>
                <a:lnTo>
                  <a:pt x="1425" y="968"/>
                </a:lnTo>
                <a:lnTo>
                  <a:pt x="1435" y="967"/>
                </a:lnTo>
                <a:lnTo>
                  <a:pt x="1445" y="965"/>
                </a:lnTo>
                <a:lnTo>
                  <a:pt x="1457" y="965"/>
                </a:lnTo>
                <a:lnTo>
                  <a:pt x="1467" y="964"/>
                </a:lnTo>
                <a:lnTo>
                  <a:pt x="1479" y="964"/>
                </a:lnTo>
                <a:lnTo>
                  <a:pt x="1500" y="964"/>
                </a:lnTo>
                <a:lnTo>
                  <a:pt x="1522" y="966"/>
                </a:lnTo>
                <a:lnTo>
                  <a:pt x="1533" y="967"/>
                </a:lnTo>
                <a:lnTo>
                  <a:pt x="1543" y="968"/>
                </a:lnTo>
                <a:lnTo>
                  <a:pt x="1562" y="971"/>
                </a:lnTo>
                <a:lnTo>
                  <a:pt x="1581" y="975"/>
                </a:lnTo>
                <a:lnTo>
                  <a:pt x="1597" y="980"/>
                </a:lnTo>
                <a:lnTo>
                  <a:pt x="1614" y="985"/>
                </a:lnTo>
                <a:lnTo>
                  <a:pt x="1628" y="993"/>
                </a:lnTo>
                <a:lnTo>
                  <a:pt x="1643" y="1000"/>
                </a:lnTo>
                <a:lnTo>
                  <a:pt x="1657" y="1007"/>
                </a:lnTo>
                <a:lnTo>
                  <a:pt x="1669" y="1017"/>
                </a:lnTo>
                <a:lnTo>
                  <a:pt x="1681" y="1026"/>
                </a:lnTo>
                <a:lnTo>
                  <a:pt x="1691" y="1036"/>
                </a:lnTo>
                <a:lnTo>
                  <a:pt x="1700" y="1048"/>
                </a:lnTo>
                <a:lnTo>
                  <a:pt x="1706" y="1053"/>
                </a:lnTo>
                <a:lnTo>
                  <a:pt x="1710" y="1059"/>
                </a:lnTo>
                <a:lnTo>
                  <a:pt x="1718" y="1072"/>
                </a:lnTo>
                <a:lnTo>
                  <a:pt x="1725" y="1084"/>
                </a:lnTo>
                <a:lnTo>
                  <a:pt x="1733" y="1098"/>
                </a:lnTo>
                <a:lnTo>
                  <a:pt x="1739" y="1112"/>
                </a:lnTo>
                <a:lnTo>
                  <a:pt x="1745" y="1127"/>
                </a:lnTo>
                <a:lnTo>
                  <a:pt x="1749" y="1143"/>
                </a:lnTo>
                <a:lnTo>
                  <a:pt x="1754" y="1158"/>
                </a:lnTo>
                <a:lnTo>
                  <a:pt x="1758" y="1174"/>
                </a:lnTo>
                <a:lnTo>
                  <a:pt x="1761" y="1191"/>
                </a:lnTo>
                <a:lnTo>
                  <a:pt x="1764" y="1208"/>
                </a:lnTo>
                <a:lnTo>
                  <a:pt x="1766" y="1226"/>
                </a:lnTo>
                <a:lnTo>
                  <a:pt x="1768" y="1244"/>
                </a:lnTo>
                <a:lnTo>
                  <a:pt x="1770" y="1262"/>
                </a:lnTo>
                <a:lnTo>
                  <a:pt x="1771" y="1281"/>
                </a:lnTo>
                <a:lnTo>
                  <a:pt x="1771" y="1300"/>
                </a:lnTo>
                <a:lnTo>
                  <a:pt x="1772" y="1320"/>
                </a:lnTo>
                <a:lnTo>
                  <a:pt x="1772" y="1340"/>
                </a:lnTo>
                <a:lnTo>
                  <a:pt x="1772" y="1772"/>
                </a:lnTo>
                <a:lnTo>
                  <a:pt x="1527" y="1772"/>
                </a:lnTo>
                <a:lnTo>
                  <a:pt x="1527" y="1388"/>
                </a:lnTo>
                <a:lnTo>
                  <a:pt x="1526" y="1353"/>
                </a:lnTo>
                <a:lnTo>
                  <a:pt x="1526" y="1335"/>
                </a:lnTo>
                <a:lnTo>
                  <a:pt x="1525" y="1317"/>
                </a:lnTo>
                <a:lnTo>
                  <a:pt x="1523" y="1299"/>
                </a:lnTo>
                <a:lnTo>
                  <a:pt x="1520" y="1282"/>
                </a:lnTo>
                <a:lnTo>
                  <a:pt x="1518" y="1274"/>
                </a:lnTo>
                <a:lnTo>
                  <a:pt x="1516" y="1266"/>
                </a:lnTo>
                <a:lnTo>
                  <a:pt x="1514" y="1257"/>
                </a:lnTo>
                <a:lnTo>
                  <a:pt x="1511" y="1249"/>
                </a:lnTo>
                <a:lnTo>
                  <a:pt x="1508" y="1242"/>
                </a:lnTo>
                <a:lnTo>
                  <a:pt x="1504" y="1234"/>
                </a:lnTo>
                <a:lnTo>
                  <a:pt x="1499" y="1228"/>
                </a:lnTo>
                <a:lnTo>
                  <a:pt x="1495" y="1221"/>
                </a:lnTo>
                <a:lnTo>
                  <a:pt x="1490" y="1215"/>
                </a:lnTo>
                <a:lnTo>
                  <a:pt x="1485" y="1209"/>
                </a:lnTo>
                <a:lnTo>
                  <a:pt x="1480" y="1204"/>
                </a:lnTo>
                <a:lnTo>
                  <a:pt x="1472" y="1199"/>
                </a:lnTo>
                <a:lnTo>
                  <a:pt x="1466" y="1195"/>
                </a:lnTo>
                <a:lnTo>
                  <a:pt x="1458" y="1191"/>
                </a:lnTo>
                <a:lnTo>
                  <a:pt x="1450" y="1187"/>
                </a:lnTo>
                <a:lnTo>
                  <a:pt x="1441" y="1184"/>
                </a:lnTo>
                <a:lnTo>
                  <a:pt x="1432" y="1182"/>
                </a:lnTo>
                <a:lnTo>
                  <a:pt x="1426" y="1181"/>
                </a:lnTo>
                <a:lnTo>
                  <a:pt x="1422" y="1180"/>
                </a:lnTo>
                <a:lnTo>
                  <a:pt x="1411" y="1179"/>
                </a:lnTo>
                <a:lnTo>
                  <a:pt x="1399" y="1179"/>
                </a:lnTo>
                <a:lnTo>
                  <a:pt x="1388" y="1179"/>
                </a:lnTo>
                <a:lnTo>
                  <a:pt x="1378" y="1180"/>
                </a:lnTo>
                <a:lnTo>
                  <a:pt x="1367" y="1181"/>
                </a:lnTo>
                <a:lnTo>
                  <a:pt x="1357" y="1183"/>
                </a:lnTo>
                <a:lnTo>
                  <a:pt x="1347" y="1186"/>
                </a:lnTo>
                <a:lnTo>
                  <a:pt x="1339" y="1188"/>
                </a:lnTo>
                <a:lnTo>
                  <a:pt x="1331" y="1193"/>
                </a:lnTo>
                <a:lnTo>
                  <a:pt x="1323" y="1196"/>
                </a:lnTo>
                <a:lnTo>
                  <a:pt x="1316" y="1201"/>
                </a:lnTo>
                <a:lnTo>
                  <a:pt x="1309" y="1205"/>
                </a:lnTo>
                <a:lnTo>
                  <a:pt x="1303" y="1210"/>
                </a:lnTo>
                <a:lnTo>
                  <a:pt x="1297" y="1216"/>
                </a:lnTo>
                <a:lnTo>
                  <a:pt x="1292" y="1222"/>
                </a:lnTo>
                <a:lnTo>
                  <a:pt x="1287" y="1228"/>
                </a:lnTo>
                <a:lnTo>
                  <a:pt x="1283" y="1235"/>
                </a:lnTo>
                <a:lnTo>
                  <a:pt x="1279" y="1242"/>
                </a:lnTo>
                <a:lnTo>
                  <a:pt x="1274" y="1249"/>
                </a:lnTo>
                <a:lnTo>
                  <a:pt x="1271" y="1256"/>
                </a:lnTo>
                <a:lnTo>
                  <a:pt x="1265" y="1273"/>
                </a:lnTo>
                <a:lnTo>
                  <a:pt x="1261" y="1290"/>
                </a:lnTo>
                <a:lnTo>
                  <a:pt x="1258" y="1306"/>
                </a:lnTo>
                <a:lnTo>
                  <a:pt x="1257" y="1316"/>
                </a:lnTo>
                <a:lnTo>
                  <a:pt x="1256" y="1325"/>
                </a:lnTo>
                <a:lnTo>
                  <a:pt x="1254" y="1344"/>
                </a:lnTo>
                <a:lnTo>
                  <a:pt x="1253" y="1362"/>
                </a:lnTo>
                <a:lnTo>
                  <a:pt x="1253" y="1381"/>
                </a:lnTo>
                <a:lnTo>
                  <a:pt x="1253" y="1772"/>
                </a:lnTo>
                <a:lnTo>
                  <a:pt x="1008" y="1772"/>
                </a:lnTo>
                <a:lnTo>
                  <a:pt x="1008" y="983"/>
                </a:lnTo>
                <a:close/>
                <a:moveTo>
                  <a:pt x="0" y="1181"/>
                </a:moveTo>
                <a:lnTo>
                  <a:pt x="0" y="1151"/>
                </a:lnTo>
                <a:lnTo>
                  <a:pt x="2" y="1121"/>
                </a:lnTo>
                <a:lnTo>
                  <a:pt x="3" y="1091"/>
                </a:lnTo>
                <a:lnTo>
                  <a:pt x="6" y="1060"/>
                </a:lnTo>
                <a:lnTo>
                  <a:pt x="9" y="1031"/>
                </a:lnTo>
                <a:lnTo>
                  <a:pt x="14" y="1001"/>
                </a:lnTo>
                <a:lnTo>
                  <a:pt x="19" y="972"/>
                </a:lnTo>
                <a:lnTo>
                  <a:pt x="24" y="944"/>
                </a:lnTo>
                <a:lnTo>
                  <a:pt x="30" y="915"/>
                </a:lnTo>
                <a:lnTo>
                  <a:pt x="37" y="886"/>
                </a:lnTo>
                <a:lnTo>
                  <a:pt x="45" y="858"/>
                </a:lnTo>
                <a:lnTo>
                  <a:pt x="53" y="830"/>
                </a:lnTo>
                <a:lnTo>
                  <a:pt x="62" y="802"/>
                </a:lnTo>
                <a:lnTo>
                  <a:pt x="72" y="775"/>
                </a:lnTo>
                <a:lnTo>
                  <a:pt x="82" y="748"/>
                </a:lnTo>
                <a:lnTo>
                  <a:pt x="93" y="722"/>
                </a:lnTo>
                <a:lnTo>
                  <a:pt x="104" y="696"/>
                </a:lnTo>
                <a:lnTo>
                  <a:pt x="117" y="670"/>
                </a:lnTo>
                <a:lnTo>
                  <a:pt x="129" y="644"/>
                </a:lnTo>
                <a:lnTo>
                  <a:pt x="143" y="619"/>
                </a:lnTo>
                <a:lnTo>
                  <a:pt x="156" y="594"/>
                </a:lnTo>
                <a:lnTo>
                  <a:pt x="171" y="569"/>
                </a:lnTo>
                <a:lnTo>
                  <a:pt x="186" y="545"/>
                </a:lnTo>
                <a:lnTo>
                  <a:pt x="202" y="521"/>
                </a:lnTo>
                <a:lnTo>
                  <a:pt x="218" y="498"/>
                </a:lnTo>
                <a:lnTo>
                  <a:pt x="234" y="475"/>
                </a:lnTo>
                <a:lnTo>
                  <a:pt x="252" y="452"/>
                </a:lnTo>
                <a:lnTo>
                  <a:pt x="270" y="430"/>
                </a:lnTo>
                <a:lnTo>
                  <a:pt x="288" y="408"/>
                </a:lnTo>
                <a:lnTo>
                  <a:pt x="307" y="388"/>
                </a:lnTo>
                <a:lnTo>
                  <a:pt x="326" y="367"/>
                </a:lnTo>
                <a:lnTo>
                  <a:pt x="346" y="346"/>
                </a:lnTo>
                <a:lnTo>
                  <a:pt x="367" y="326"/>
                </a:lnTo>
                <a:lnTo>
                  <a:pt x="387" y="307"/>
                </a:lnTo>
                <a:lnTo>
                  <a:pt x="408" y="289"/>
                </a:lnTo>
                <a:lnTo>
                  <a:pt x="430" y="270"/>
                </a:lnTo>
                <a:lnTo>
                  <a:pt x="452" y="252"/>
                </a:lnTo>
                <a:lnTo>
                  <a:pt x="475" y="236"/>
                </a:lnTo>
                <a:lnTo>
                  <a:pt x="498" y="218"/>
                </a:lnTo>
                <a:lnTo>
                  <a:pt x="521" y="202"/>
                </a:lnTo>
                <a:lnTo>
                  <a:pt x="545" y="187"/>
                </a:lnTo>
                <a:lnTo>
                  <a:pt x="569" y="171"/>
                </a:lnTo>
                <a:lnTo>
                  <a:pt x="593" y="157"/>
                </a:lnTo>
                <a:lnTo>
                  <a:pt x="618" y="143"/>
                </a:lnTo>
                <a:lnTo>
                  <a:pt x="643" y="129"/>
                </a:lnTo>
                <a:lnTo>
                  <a:pt x="668" y="117"/>
                </a:lnTo>
                <a:lnTo>
                  <a:pt x="694" y="104"/>
                </a:lnTo>
                <a:lnTo>
                  <a:pt x="722" y="93"/>
                </a:lnTo>
                <a:lnTo>
                  <a:pt x="748" y="82"/>
                </a:lnTo>
                <a:lnTo>
                  <a:pt x="775" y="72"/>
                </a:lnTo>
                <a:lnTo>
                  <a:pt x="802" y="63"/>
                </a:lnTo>
                <a:lnTo>
                  <a:pt x="830" y="53"/>
                </a:lnTo>
                <a:lnTo>
                  <a:pt x="858" y="45"/>
                </a:lnTo>
                <a:lnTo>
                  <a:pt x="886" y="38"/>
                </a:lnTo>
                <a:lnTo>
                  <a:pt x="914" y="30"/>
                </a:lnTo>
                <a:lnTo>
                  <a:pt x="942" y="24"/>
                </a:lnTo>
                <a:lnTo>
                  <a:pt x="971" y="19"/>
                </a:lnTo>
                <a:lnTo>
                  <a:pt x="1001" y="14"/>
                </a:lnTo>
                <a:lnTo>
                  <a:pt x="1031" y="10"/>
                </a:lnTo>
                <a:lnTo>
                  <a:pt x="1060" y="6"/>
                </a:lnTo>
                <a:lnTo>
                  <a:pt x="1090" y="4"/>
                </a:lnTo>
                <a:lnTo>
                  <a:pt x="1120" y="2"/>
                </a:lnTo>
                <a:lnTo>
                  <a:pt x="1151" y="1"/>
                </a:lnTo>
                <a:lnTo>
                  <a:pt x="1181" y="0"/>
                </a:lnTo>
                <a:lnTo>
                  <a:pt x="1211" y="1"/>
                </a:lnTo>
                <a:lnTo>
                  <a:pt x="1241" y="2"/>
                </a:lnTo>
                <a:lnTo>
                  <a:pt x="1271" y="4"/>
                </a:lnTo>
                <a:lnTo>
                  <a:pt x="1302" y="6"/>
                </a:lnTo>
                <a:lnTo>
                  <a:pt x="1331" y="10"/>
                </a:lnTo>
                <a:lnTo>
                  <a:pt x="1361" y="14"/>
                </a:lnTo>
                <a:lnTo>
                  <a:pt x="1390" y="19"/>
                </a:lnTo>
                <a:lnTo>
                  <a:pt x="1418" y="24"/>
                </a:lnTo>
                <a:lnTo>
                  <a:pt x="1447" y="30"/>
                </a:lnTo>
                <a:lnTo>
                  <a:pt x="1475" y="38"/>
                </a:lnTo>
                <a:lnTo>
                  <a:pt x="1504" y="45"/>
                </a:lnTo>
                <a:lnTo>
                  <a:pt x="1532" y="53"/>
                </a:lnTo>
                <a:lnTo>
                  <a:pt x="1560" y="63"/>
                </a:lnTo>
                <a:lnTo>
                  <a:pt x="1587" y="72"/>
                </a:lnTo>
                <a:lnTo>
                  <a:pt x="1614" y="82"/>
                </a:lnTo>
                <a:lnTo>
                  <a:pt x="1640" y="93"/>
                </a:lnTo>
                <a:lnTo>
                  <a:pt x="1667" y="104"/>
                </a:lnTo>
                <a:lnTo>
                  <a:pt x="1693" y="117"/>
                </a:lnTo>
                <a:lnTo>
                  <a:pt x="1718" y="129"/>
                </a:lnTo>
                <a:lnTo>
                  <a:pt x="1743" y="143"/>
                </a:lnTo>
                <a:lnTo>
                  <a:pt x="1768" y="157"/>
                </a:lnTo>
                <a:lnTo>
                  <a:pt x="1793" y="171"/>
                </a:lnTo>
                <a:lnTo>
                  <a:pt x="1817" y="187"/>
                </a:lnTo>
                <a:lnTo>
                  <a:pt x="1841" y="202"/>
                </a:lnTo>
                <a:lnTo>
                  <a:pt x="1864" y="218"/>
                </a:lnTo>
                <a:lnTo>
                  <a:pt x="1887" y="236"/>
                </a:lnTo>
                <a:lnTo>
                  <a:pt x="1910" y="252"/>
                </a:lnTo>
                <a:lnTo>
                  <a:pt x="1931" y="270"/>
                </a:lnTo>
                <a:lnTo>
                  <a:pt x="1953" y="289"/>
                </a:lnTo>
                <a:lnTo>
                  <a:pt x="1974" y="307"/>
                </a:lnTo>
                <a:lnTo>
                  <a:pt x="1995" y="326"/>
                </a:lnTo>
                <a:lnTo>
                  <a:pt x="2016" y="346"/>
                </a:lnTo>
                <a:lnTo>
                  <a:pt x="2036" y="367"/>
                </a:lnTo>
                <a:lnTo>
                  <a:pt x="2054" y="388"/>
                </a:lnTo>
                <a:lnTo>
                  <a:pt x="2073" y="408"/>
                </a:lnTo>
                <a:lnTo>
                  <a:pt x="2092" y="430"/>
                </a:lnTo>
                <a:lnTo>
                  <a:pt x="2110" y="452"/>
                </a:lnTo>
                <a:lnTo>
                  <a:pt x="2127" y="475"/>
                </a:lnTo>
                <a:lnTo>
                  <a:pt x="2144" y="498"/>
                </a:lnTo>
                <a:lnTo>
                  <a:pt x="2159" y="521"/>
                </a:lnTo>
                <a:lnTo>
                  <a:pt x="2175" y="545"/>
                </a:lnTo>
                <a:lnTo>
                  <a:pt x="2191" y="569"/>
                </a:lnTo>
                <a:lnTo>
                  <a:pt x="2205" y="594"/>
                </a:lnTo>
                <a:lnTo>
                  <a:pt x="2219" y="619"/>
                </a:lnTo>
                <a:lnTo>
                  <a:pt x="2232" y="644"/>
                </a:lnTo>
                <a:lnTo>
                  <a:pt x="2245" y="670"/>
                </a:lnTo>
                <a:lnTo>
                  <a:pt x="2257" y="696"/>
                </a:lnTo>
                <a:lnTo>
                  <a:pt x="2269" y="722"/>
                </a:lnTo>
                <a:lnTo>
                  <a:pt x="2279" y="748"/>
                </a:lnTo>
                <a:lnTo>
                  <a:pt x="2290" y="775"/>
                </a:lnTo>
                <a:lnTo>
                  <a:pt x="2299" y="802"/>
                </a:lnTo>
                <a:lnTo>
                  <a:pt x="2308" y="830"/>
                </a:lnTo>
                <a:lnTo>
                  <a:pt x="2317" y="858"/>
                </a:lnTo>
                <a:lnTo>
                  <a:pt x="2324" y="886"/>
                </a:lnTo>
                <a:lnTo>
                  <a:pt x="2331" y="915"/>
                </a:lnTo>
                <a:lnTo>
                  <a:pt x="2338" y="944"/>
                </a:lnTo>
                <a:lnTo>
                  <a:pt x="2343" y="972"/>
                </a:lnTo>
                <a:lnTo>
                  <a:pt x="2348" y="1001"/>
                </a:lnTo>
                <a:lnTo>
                  <a:pt x="2352" y="1031"/>
                </a:lnTo>
                <a:lnTo>
                  <a:pt x="2355" y="1060"/>
                </a:lnTo>
                <a:lnTo>
                  <a:pt x="2358" y="1091"/>
                </a:lnTo>
                <a:lnTo>
                  <a:pt x="2359" y="1121"/>
                </a:lnTo>
                <a:lnTo>
                  <a:pt x="2360" y="1151"/>
                </a:lnTo>
                <a:lnTo>
                  <a:pt x="2361" y="1181"/>
                </a:lnTo>
                <a:lnTo>
                  <a:pt x="2360" y="1211"/>
                </a:lnTo>
                <a:lnTo>
                  <a:pt x="2359" y="1242"/>
                </a:lnTo>
                <a:lnTo>
                  <a:pt x="2358" y="1272"/>
                </a:lnTo>
                <a:lnTo>
                  <a:pt x="2355" y="1302"/>
                </a:lnTo>
                <a:lnTo>
                  <a:pt x="2352" y="1332"/>
                </a:lnTo>
                <a:lnTo>
                  <a:pt x="2348" y="1361"/>
                </a:lnTo>
                <a:lnTo>
                  <a:pt x="2343" y="1391"/>
                </a:lnTo>
                <a:lnTo>
                  <a:pt x="2338" y="1420"/>
                </a:lnTo>
                <a:lnTo>
                  <a:pt x="2331" y="1448"/>
                </a:lnTo>
                <a:lnTo>
                  <a:pt x="2324" y="1477"/>
                </a:lnTo>
                <a:lnTo>
                  <a:pt x="2317" y="1505"/>
                </a:lnTo>
                <a:lnTo>
                  <a:pt x="2308" y="1532"/>
                </a:lnTo>
                <a:lnTo>
                  <a:pt x="2299" y="1560"/>
                </a:lnTo>
                <a:lnTo>
                  <a:pt x="2290" y="1587"/>
                </a:lnTo>
                <a:lnTo>
                  <a:pt x="2279" y="1614"/>
                </a:lnTo>
                <a:lnTo>
                  <a:pt x="2269" y="1640"/>
                </a:lnTo>
                <a:lnTo>
                  <a:pt x="2257" y="1668"/>
                </a:lnTo>
                <a:lnTo>
                  <a:pt x="2245" y="1694"/>
                </a:lnTo>
                <a:lnTo>
                  <a:pt x="2232" y="1719"/>
                </a:lnTo>
                <a:lnTo>
                  <a:pt x="2219" y="1745"/>
                </a:lnTo>
                <a:lnTo>
                  <a:pt x="2205" y="1770"/>
                </a:lnTo>
                <a:lnTo>
                  <a:pt x="2191" y="1794"/>
                </a:lnTo>
                <a:lnTo>
                  <a:pt x="2175" y="1818"/>
                </a:lnTo>
                <a:lnTo>
                  <a:pt x="2159" y="1842"/>
                </a:lnTo>
                <a:lnTo>
                  <a:pt x="2144" y="1865"/>
                </a:lnTo>
                <a:lnTo>
                  <a:pt x="2127" y="1888"/>
                </a:lnTo>
                <a:lnTo>
                  <a:pt x="2110" y="1910"/>
                </a:lnTo>
                <a:lnTo>
                  <a:pt x="2092" y="1932"/>
                </a:lnTo>
                <a:lnTo>
                  <a:pt x="2073" y="1954"/>
                </a:lnTo>
                <a:lnTo>
                  <a:pt x="2054" y="1976"/>
                </a:lnTo>
                <a:lnTo>
                  <a:pt x="2036" y="1996"/>
                </a:lnTo>
                <a:lnTo>
                  <a:pt x="2016" y="2016"/>
                </a:lnTo>
                <a:lnTo>
                  <a:pt x="1995" y="2036"/>
                </a:lnTo>
                <a:lnTo>
                  <a:pt x="1974" y="2055"/>
                </a:lnTo>
                <a:lnTo>
                  <a:pt x="1953" y="2075"/>
                </a:lnTo>
                <a:lnTo>
                  <a:pt x="1931" y="2092"/>
                </a:lnTo>
                <a:lnTo>
                  <a:pt x="1910" y="2110"/>
                </a:lnTo>
                <a:lnTo>
                  <a:pt x="1887" y="2128"/>
                </a:lnTo>
                <a:lnTo>
                  <a:pt x="1864" y="2145"/>
                </a:lnTo>
                <a:lnTo>
                  <a:pt x="1841" y="2160"/>
                </a:lnTo>
                <a:lnTo>
                  <a:pt x="1817" y="2176"/>
                </a:lnTo>
                <a:lnTo>
                  <a:pt x="1793" y="2191"/>
                </a:lnTo>
                <a:lnTo>
                  <a:pt x="1768" y="2206"/>
                </a:lnTo>
                <a:lnTo>
                  <a:pt x="1743" y="2220"/>
                </a:lnTo>
                <a:lnTo>
                  <a:pt x="1718" y="2233"/>
                </a:lnTo>
                <a:lnTo>
                  <a:pt x="1693" y="2246"/>
                </a:lnTo>
                <a:lnTo>
                  <a:pt x="1667" y="2258"/>
                </a:lnTo>
                <a:lnTo>
                  <a:pt x="1640" y="2270"/>
                </a:lnTo>
                <a:lnTo>
                  <a:pt x="1614" y="2280"/>
                </a:lnTo>
                <a:lnTo>
                  <a:pt x="1587" y="2290"/>
                </a:lnTo>
                <a:lnTo>
                  <a:pt x="1560" y="2300"/>
                </a:lnTo>
                <a:lnTo>
                  <a:pt x="1532" y="2309"/>
                </a:lnTo>
                <a:lnTo>
                  <a:pt x="1504" y="2317"/>
                </a:lnTo>
                <a:lnTo>
                  <a:pt x="1475" y="2325"/>
                </a:lnTo>
                <a:lnTo>
                  <a:pt x="1447" y="2332"/>
                </a:lnTo>
                <a:lnTo>
                  <a:pt x="1418" y="2338"/>
                </a:lnTo>
                <a:lnTo>
                  <a:pt x="1390" y="2343"/>
                </a:lnTo>
                <a:lnTo>
                  <a:pt x="1361" y="2349"/>
                </a:lnTo>
                <a:lnTo>
                  <a:pt x="1331" y="2353"/>
                </a:lnTo>
                <a:lnTo>
                  <a:pt x="1302" y="2356"/>
                </a:lnTo>
                <a:lnTo>
                  <a:pt x="1271" y="2359"/>
                </a:lnTo>
                <a:lnTo>
                  <a:pt x="1241" y="2361"/>
                </a:lnTo>
                <a:lnTo>
                  <a:pt x="1211" y="2362"/>
                </a:lnTo>
                <a:lnTo>
                  <a:pt x="1181" y="2362"/>
                </a:lnTo>
                <a:lnTo>
                  <a:pt x="1151" y="2362"/>
                </a:lnTo>
                <a:lnTo>
                  <a:pt x="1120" y="2361"/>
                </a:lnTo>
                <a:lnTo>
                  <a:pt x="1090" y="2359"/>
                </a:lnTo>
                <a:lnTo>
                  <a:pt x="1060" y="2356"/>
                </a:lnTo>
                <a:lnTo>
                  <a:pt x="1031" y="2353"/>
                </a:lnTo>
                <a:lnTo>
                  <a:pt x="1001" y="2349"/>
                </a:lnTo>
                <a:lnTo>
                  <a:pt x="971" y="2343"/>
                </a:lnTo>
                <a:lnTo>
                  <a:pt x="942" y="2338"/>
                </a:lnTo>
                <a:lnTo>
                  <a:pt x="914" y="2332"/>
                </a:lnTo>
                <a:lnTo>
                  <a:pt x="886" y="2325"/>
                </a:lnTo>
                <a:lnTo>
                  <a:pt x="858" y="2317"/>
                </a:lnTo>
                <a:lnTo>
                  <a:pt x="830" y="2309"/>
                </a:lnTo>
                <a:lnTo>
                  <a:pt x="802" y="2300"/>
                </a:lnTo>
                <a:lnTo>
                  <a:pt x="775" y="2290"/>
                </a:lnTo>
                <a:lnTo>
                  <a:pt x="748" y="2280"/>
                </a:lnTo>
                <a:lnTo>
                  <a:pt x="722" y="2270"/>
                </a:lnTo>
                <a:lnTo>
                  <a:pt x="694" y="2258"/>
                </a:lnTo>
                <a:lnTo>
                  <a:pt x="668" y="2246"/>
                </a:lnTo>
                <a:lnTo>
                  <a:pt x="643" y="2233"/>
                </a:lnTo>
                <a:lnTo>
                  <a:pt x="618" y="2220"/>
                </a:lnTo>
                <a:lnTo>
                  <a:pt x="593" y="2206"/>
                </a:lnTo>
                <a:lnTo>
                  <a:pt x="569" y="2191"/>
                </a:lnTo>
                <a:lnTo>
                  <a:pt x="545" y="2176"/>
                </a:lnTo>
                <a:lnTo>
                  <a:pt x="521" y="2160"/>
                </a:lnTo>
                <a:lnTo>
                  <a:pt x="498" y="2145"/>
                </a:lnTo>
                <a:lnTo>
                  <a:pt x="475" y="2128"/>
                </a:lnTo>
                <a:lnTo>
                  <a:pt x="452" y="2110"/>
                </a:lnTo>
                <a:lnTo>
                  <a:pt x="430" y="2092"/>
                </a:lnTo>
                <a:lnTo>
                  <a:pt x="408" y="2075"/>
                </a:lnTo>
                <a:lnTo>
                  <a:pt x="387" y="2055"/>
                </a:lnTo>
                <a:lnTo>
                  <a:pt x="367" y="2036"/>
                </a:lnTo>
                <a:lnTo>
                  <a:pt x="346" y="2016"/>
                </a:lnTo>
                <a:lnTo>
                  <a:pt x="326" y="1996"/>
                </a:lnTo>
                <a:lnTo>
                  <a:pt x="307" y="1976"/>
                </a:lnTo>
                <a:lnTo>
                  <a:pt x="288" y="1954"/>
                </a:lnTo>
                <a:lnTo>
                  <a:pt x="270" y="1932"/>
                </a:lnTo>
                <a:lnTo>
                  <a:pt x="252" y="1910"/>
                </a:lnTo>
                <a:lnTo>
                  <a:pt x="234" y="1888"/>
                </a:lnTo>
                <a:lnTo>
                  <a:pt x="218" y="1865"/>
                </a:lnTo>
                <a:lnTo>
                  <a:pt x="202" y="1842"/>
                </a:lnTo>
                <a:lnTo>
                  <a:pt x="186" y="1818"/>
                </a:lnTo>
                <a:lnTo>
                  <a:pt x="171" y="1794"/>
                </a:lnTo>
                <a:lnTo>
                  <a:pt x="156" y="1770"/>
                </a:lnTo>
                <a:lnTo>
                  <a:pt x="143" y="1745"/>
                </a:lnTo>
                <a:lnTo>
                  <a:pt x="129" y="1719"/>
                </a:lnTo>
                <a:lnTo>
                  <a:pt x="117" y="1694"/>
                </a:lnTo>
                <a:lnTo>
                  <a:pt x="104" y="1668"/>
                </a:lnTo>
                <a:lnTo>
                  <a:pt x="93" y="1640"/>
                </a:lnTo>
                <a:lnTo>
                  <a:pt x="82" y="1614"/>
                </a:lnTo>
                <a:lnTo>
                  <a:pt x="72" y="1587"/>
                </a:lnTo>
                <a:lnTo>
                  <a:pt x="62" y="1560"/>
                </a:lnTo>
                <a:lnTo>
                  <a:pt x="53" y="1532"/>
                </a:lnTo>
                <a:lnTo>
                  <a:pt x="45" y="1505"/>
                </a:lnTo>
                <a:lnTo>
                  <a:pt x="37" y="1477"/>
                </a:lnTo>
                <a:lnTo>
                  <a:pt x="30" y="1448"/>
                </a:lnTo>
                <a:lnTo>
                  <a:pt x="24" y="1420"/>
                </a:lnTo>
                <a:lnTo>
                  <a:pt x="19" y="1391"/>
                </a:lnTo>
                <a:lnTo>
                  <a:pt x="14" y="1361"/>
                </a:lnTo>
                <a:lnTo>
                  <a:pt x="9" y="1332"/>
                </a:lnTo>
                <a:lnTo>
                  <a:pt x="6" y="1302"/>
                </a:lnTo>
                <a:lnTo>
                  <a:pt x="3" y="1272"/>
                </a:lnTo>
                <a:lnTo>
                  <a:pt x="2" y="1242"/>
                </a:lnTo>
                <a:lnTo>
                  <a:pt x="0" y="1211"/>
                </a:lnTo>
                <a:lnTo>
                  <a:pt x="0" y="1181"/>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fi-FI"/>
          </a:p>
        </p:txBody>
      </p:sp>
      <p:sp>
        <p:nvSpPr>
          <p:cNvPr id="22" name="Freeform 8">
            <a:hlinkClick r:id="rId4" tooltip="instragram"/>
          </p:cNvPr>
          <p:cNvSpPr>
            <a:spLocks noChangeAspect="1" noEditPoints="1"/>
          </p:cNvSpPr>
          <p:nvPr userDrawn="1"/>
        </p:nvSpPr>
        <p:spPr bwMode="auto">
          <a:xfrm>
            <a:off x="5159976" y="5841388"/>
            <a:ext cx="360000" cy="360000"/>
          </a:xfrm>
          <a:custGeom>
            <a:avLst/>
            <a:gdLst>
              <a:gd name="T0" fmla="*/ 1542 w 2361"/>
              <a:gd name="T1" fmla="*/ 719 h 2362"/>
              <a:gd name="T2" fmla="*/ 1641 w 2361"/>
              <a:gd name="T3" fmla="*/ 777 h 2362"/>
              <a:gd name="T4" fmla="*/ 1593 w 2361"/>
              <a:gd name="T5" fmla="*/ 881 h 2362"/>
              <a:gd name="T6" fmla="*/ 1484 w 2361"/>
              <a:gd name="T7" fmla="*/ 844 h 2362"/>
              <a:gd name="T8" fmla="*/ 1078 w 2361"/>
              <a:gd name="T9" fmla="*/ 1394 h 2362"/>
              <a:gd name="T10" fmla="*/ 963 w 2361"/>
              <a:gd name="T11" fmla="*/ 1274 h 2362"/>
              <a:gd name="T12" fmla="*/ 959 w 2361"/>
              <a:gd name="T13" fmla="*/ 1100 h 2362"/>
              <a:gd name="T14" fmla="*/ 1068 w 2361"/>
              <a:gd name="T15" fmla="*/ 974 h 2362"/>
              <a:gd name="T16" fmla="*/ 1240 w 2361"/>
              <a:gd name="T17" fmla="*/ 952 h 2362"/>
              <a:gd name="T18" fmla="*/ 1377 w 2361"/>
              <a:gd name="T19" fmla="*/ 1049 h 2362"/>
              <a:gd name="T20" fmla="*/ 1415 w 2361"/>
              <a:gd name="T21" fmla="*/ 1217 h 2362"/>
              <a:gd name="T22" fmla="*/ 1331 w 2361"/>
              <a:gd name="T23" fmla="*/ 1364 h 2362"/>
              <a:gd name="T24" fmla="*/ 1180 w 2361"/>
              <a:gd name="T25" fmla="*/ 816 h 2362"/>
              <a:gd name="T26" fmla="*/ 956 w 2361"/>
              <a:gd name="T27" fmla="*/ 895 h 2362"/>
              <a:gd name="T28" fmla="*/ 823 w 2361"/>
              <a:gd name="T29" fmla="*/ 1108 h 2362"/>
              <a:gd name="T30" fmla="*/ 861 w 2361"/>
              <a:gd name="T31" fmla="*/ 1355 h 2362"/>
              <a:gd name="T32" fmla="*/ 1039 w 2361"/>
              <a:gd name="T33" fmla="*/ 1517 h 2362"/>
              <a:gd name="T34" fmla="*/ 1289 w 2361"/>
              <a:gd name="T35" fmla="*/ 1529 h 2362"/>
              <a:gd name="T36" fmla="*/ 1482 w 2361"/>
              <a:gd name="T37" fmla="*/ 1385 h 2362"/>
              <a:gd name="T38" fmla="*/ 1542 w 2361"/>
              <a:gd name="T39" fmla="*/ 1135 h 2362"/>
              <a:gd name="T40" fmla="*/ 1439 w 2361"/>
              <a:gd name="T41" fmla="*/ 924 h 2362"/>
              <a:gd name="T42" fmla="*/ 1199 w 2361"/>
              <a:gd name="T43" fmla="*/ 817 h 2362"/>
              <a:gd name="T44" fmla="*/ 716 w 2361"/>
              <a:gd name="T45" fmla="*/ 509 h 2362"/>
              <a:gd name="T46" fmla="*/ 532 w 2361"/>
              <a:gd name="T47" fmla="*/ 666 h 2362"/>
              <a:gd name="T48" fmla="*/ 476 w 2361"/>
              <a:gd name="T49" fmla="*/ 888 h 2362"/>
              <a:gd name="T50" fmla="*/ 496 w 2361"/>
              <a:gd name="T51" fmla="*/ 1611 h 2362"/>
              <a:gd name="T52" fmla="*/ 635 w 2361"/>
              <a:gd name="T53" fmla="*/ 1810 h 2362"/>
              <a:gd name="T54" fmla="*/ 861 w 2361"/>
              <a:gd name="T55" fmla="*/ 1885 h 2362"/>
              <a:gd name="T56" fmla="*/ 1571 w 2361"/>
              <a:gd name="T57" fmla="*/ 1876 h 2362"/>
              <a:gd name="T58" fmla="*/ 1798 w 2361"/>
              <a:gd name="T59" fmla="*/ 1742 h 2362"/>
              <a:gd name="T60" fmla="*/ 1882 w 2361"/>
              <a:gd name="T61" fmla="*/ 1527 h 2362"/>
              <a:gd name="T62" fmla="*/ 1882 w 2361"/>
              <a:gd name="T63" fmla="*/ 836 h 2362"/>
              <a:gd name="T64" fmla="*/ 1771 w 2361"/>
              <a:gd name="T65" fmla="*/ 590 h 2362"/>
              <a:gd name="T66" fmla="*/ 1549 w 2361"/>
              <a:gd name="T67" fmla="*/ 483 h 2362"/>
              <a:gd name="T68" fmla="*/ 1468 w 2361"/>
              <a:gd name="T69" fmla="*/ 604 h 2362"/>
              <a:gd name="T70" fmla="*/ 1663 w 2361"/>
              <a:gd name="T71" fmla="*/ 664 h 2362"/>
              <a:gd name="T72" fmla="*/ 1754 w 2361"/>
              <a:gd name="T73" fmla="*/ 849 h 2362"/>
              <a:gd name="T74" fmla="*/ 1749 w 2361"/>
              <a:gd name="T75" fmla="*/ 1551 h 2362"/>
              <a:gd name="T76" fmla="*/ 1653 w 2361"/>
              <a:gd name="T77" fmla="*/ 1706 h 2362"/>
              <a:gd name="T78" fmla="*/ 1295 w 2361"/>
              <a:gd name="T79" fmla="*/ 1763 h 2362"/>
              <a:gd name="T80" fmla="*/ 750 w 2361"/>
              <a:gd name="T81" fmla="*/ 1730 h 2362"/>
              <a:gd name="T82" fmla="*/ 628 w 2361"/>
              <a:gd name="T83" fmla="*/ 1600 h 2362"/>
              <a:gd name="T84" fmla="*/ 604 w 2361"/>
              <a:gd name="T85" fmla="*/ 895 h 2362"/>
              <a:gd name="T86" fmla="*/ 664 w 2361"/>
              <a:gd name="T87" fmla="*/ 700 h 2362"/>
              <a:gd name="T88" fmla="*/ 847 w 2361"/>
              <a:gd name="T89" fmla="*/ 607 h 2362"/>
              <a:gd name="T90" fmla="*/ 24 w 2361"/>
              <a:gd name="T91" fmla="*/ 944 h 2362"/>
              <a:gd name="T92" fmla="*/ 186 w 2361"/>
              <a:gd name="T93" fmla="*/ 545 h 2362"/>
              <a:gd name="T94" fmla="*/ 474 w 2361"/>
              <a:gd name="T95" fmla="*/ 235 h 2362"/>
              <a:gd name="T96" fmla="*/ 858 w 2361"/>
              <a:gd name="T97" fmla="*/ 45 h 2362"/>
              <a:gd name="T98" fmla="*/ 1301 w 2361"/>
              <a:gd name="T99" fmla="*/ 6 h 2362"/>
              <a:gd name="T100" fmla="*/ 1718 w 2361"/>
              <a:gd name="T101" fmla="*/ 129 h 2362"/>
              <a:gd name="T102" fmla="*/ 2055 w 2361"/>
              <a:gd name="T103" fmla="*/ 387 h 2362"/>
              <a:gd name="T104" fmla="*/ 2279 w 2361"/>
              <a:gd name="T105" fmla="*/ 749 h 2362"/>
              <a:gd name="T106" fmla="*/ 2361 w 2361"/>
              <a:gd name="T107" fmla="*/ 1181 h 2362"/>
              <a:gd name="T108" fmla="*/ 2279 w 2361"/>
              <a:gd name="T109" fmla="*/ 1614 h 2362"/>
              <a:gd name="T110" fmla="*/ 2055 w 2361"/>
              <a:gd name="T111" fmla="*/ 1976 h 2362"/>
              <a:gd name="T112" fmla="*/ 1718 w 2361"/>
              <a:gd name="T113" fmla="*/ 2233 h 2362"/>
              <a:gd name="T114" fmla="*/ 1301 w 2361"/>
              <a:gd name="T115" fmla="*/ 2356 h 2362"/>
              <a:gd name="T116" fmla="*/ 858 w 2361"/>
              <a:gd name="T117" fmla="*/ 2317 h 2362"/>
              <a:gd name="T118" fmla="*/ 474 w 2361"/>
              <a:gd name="T119" fmla="*/ 2128 h 2362"/>
              <a:gd name="T120" fmla="*/ 186 w 2361"/>
              <a:gd name="T121" fmla="*/ 1817 h 2362"/>
              <a:gd name="T122" fmla="*/ 24 w 2361"/>
              <a:gd name="T123" fmla="*/ 1419 h 2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61" h="2362">
                <a:moveTo>
                  <a:pt x="1474" y="803"/>
                </a:moveTo>
                <a:lnTo>
                  <a:pt x="1475" y="794"/>
                </a:lnTo>
                <a:lnTo>
                  <a:pt x="1476" y="785"/>
                </a:lnTo>
                <a:lnTo>
                  <a:pt x="1478" y="777"/>
                </a:lnTo>
                <a:lnTo>
                  <a:pt x="1481" y="770"/>
                </a:lnTo>
                <a:lnTo>
                  <a:pt x="1484" y="762"/>
                </a:lnTo>
                <a:lnTo>
                  <a:pt x="1489" y="755"/>
                </a:lnTo>
                <a:lnTo>
                  <a:pt x="1494" y="749"/>
                </a:lnTo>
                <a:lnTo>
                  <a:pt x="1499" y="743"/>
                </a:lnTo>
                <a:lnTo>
                  <a:pt x="1505" y="736"/>
                </a:lnTo>
                <a:lnTo>
                  <a:pt x="1512" y="732"/>
                </a:lnTo>
                <a:lnTo>
                  <a:pt x="1519" y="728"/>
                </a:lnTo>
                <a:lnTo>
                  <a:pt x="1526" y="724"/>
                </a:lnTo>
                <a:lnTo>
                  <a:pt x="1534" y="721"/>
                </a:lnTo>
                <a:lnTo>
                  <a:pt x="1542" y="719"/>
                </a:lnTo>
                <a:lnTo>
                  <a:pt x="1551" y="718"/>
                </a:lnTo>
                <a:lnTo>
                  <a:pt x="1559" y="718"/>
                </a:lnTo>
                <a:lnTo>
                  <a:pt x="1568" y="718"/>
                </a:lnTo>
                <a:lnTo>
                  <a:pt x="1576" y="719"/>
                </a:lnTo>
                <a:lnTo>
                  <a:pt x="1584" y="721"/>
                </a:lnTo>
                <a:lnTo>
                  <a:pt x="1593" y="724"/>
                </a:lnTo>
                <a:lnTo>
                  <a:pt x="1600" y="728"/>
                </a:lnTo>
                <a:lnTo>
                  <a:pt x="1607" y="732"/>
                </a:lnTo>
                <a:lnTo>
                  <a:pt x="1614" y="736"/>
                </a:lnTo>
                <a:lnTo>
                  <a:pt x="1620" y="743"/>
                </a:lnTo>
                <a:lnTo>
                  <a:pt x="1625" y="749"/>
                </a:lnTo>
                <a:lnTo>
                  <a:pt x="1630" y="755"/>
                </a:lnTo>
                <a:lnTo>
                  <a:pt x="1634" y="762"/>
                </a:lnTo>
                <a:lnTo>
                  <a:pt x="1638" y="770"/>
                </a:lnTo>
                <a:lnTo>
                  <a:pt x="1641" y="777"/>
                </a:lnTo>
                <a:lnTo>
                  <a:pt x="1643" y="785"/>
                </a:lnTo>
                <a:lnTo>
                  <a:pt x="1644" y="794"/>
                </a:lnTo>
                <a:lnTo>
                  <a:pt x="1645" y="803"/>
                </a:lnTo>
                <a:lnTo>
                  <a:pt x="1644" y="811"/>
                </a:lnTo>
                <a:lnTo>
                  <a:pt x="1643" y="820"/>
                </a:lnTo>
                <a:lnTo>
                  <a:pt x="1641" y="828"/>
                </a:lnTo>
                <a:lnTo>
                  <a:pt x="1638" y="835"/>
                </a:lnTo>
                <a:lnTo>
                  <a:pt x="1634" y="844"/>
                </a:lnTo>
                <a:lnTo>
                  <a:pt x="1630" y="850"/>
                </a:lnTo>
                <a:lnTo>
                  <a:pt x="1625" y="857"/>
                </a:lnTo>
                <a:lnTo>
                  <a:pt x="1620" y="862"/>
                </a:lnTo>
                <a:lnTo>
                  <a:pt x="1614" y="869"/>
                </a:lnTo>
                <a:lnTo>
                  <a:pt x="1607" y="873"/>
                </a:lnTo>
                <a:lnTo>
                  <a:pt x="1600" y="877"/>
                </a:lnTo>
                <a:lnTo>
                  <a:pt x="1593" y="881"/>
                </a:lnTo>
                <a:lnTo>
                  <a:pt x="1584" y="884"/>
                </a:lnTo>
                <a:lnTo>
                  <a:pt x="1576" y="886"/>
                </a:lnTo>
                <a:lnTo>
                  <a:pt x="1568" y="887"/>
                </a:lnTo>
                <a:lnTo>
                  <a:pt x="1559" y="887"/>
                </a:lnTo>
                <a:lnTo>
                  <a:pt x="1551" y="887"/>
                </a:lnTo>
                <a:lnTo>
                  <a:pt x="1542" y="886"/>
                </a:lnTo>
                <a:lnTo>
                  <a:pt x="1534" y="884"/>
                </a:lnTo>
                <a:lnTo>
                  <a:pt x="1526" y="881"/>
                </a:lnTo>
                <a:lnTo>
                  <a:pt x="1519" y="877"/>
                </a:lnTo>
                <a:lnTo>
                  <a:pt x="1512" y="873"/>
                </a:lnTo>
                <a:lnTo>
                  <a:pt x="1505" y="869"/>
                </a:lnTo>
                <a:lnTo>
                  <a:pt x="1499" y="862"/>
                </a:lnTo>
                <a:lnTo>
                  <a:pt x="1494" y="857"/>
                </a:lnTo>
                <a:lnTo>
                  <a:pt x="1489" y="850"/>
                </a:lnTo>
                <a:lnTo>
                  <a:pt x="1484" y="844"/>
                </a:lnTo>
                <a:lnTo>
                  <a:pt x="1481" y="835"/>
                </a:lnTo>
                <a:lnTo>
                  <a:pt x="1478" y="828"/>
                </a:lnTo>
                <a:lnTo>
                  <a:pt x="1476" y="820"/>
                </a:lnTo>
                <a:lnTo>
                  <a:pt x="1475" y="811"/>
                </a:lnTo>
                <a:lnTo>
                  <a:pt x="1474" y="803"/>
                </a:lnTo>
                <a:close/>
                <a:moveTo>
                  <a:pt x="1180" y="1417"/>
                </a:moveTo>
                <a:lnTo>
                  <a:pt x="1169" y="1417"/>
                </a:lnTo>
                <a:lnTo>
                  <a:pt x="1156" y="1416"/>
                </a:lnTo>
                <a:lnTo>
                  <a:pt x="1145" y="1415"/>
                </a:lnTo>
                <a:lnTo>
                  <a:pt x="1133" y="1413"/>
                </a:lnTo>
                <a:lnTo>
                  <a:pt x="1121" y="1410"/>
                </a:lnTo>
                <a:lnTo>
                  <a:pt x="1111" y="1407"/>
                </a:lnTo>
                <a:lnTo>
                  <a:pt x="1099" y="1404"/>
                </a:lnTo>
                <a:lnTo>
                  <a:pt x="1089" y="1400"/>
                </a:lnTo>
                <a:lnTo>
                  <a:pt x="1078" y="1394"/>
                </a:lnTo>
                <a:lnTo>
                  <a:pt x="1068" y="1389"/>
                </a:lnTo>
                <a:lnTo>
                  <a:pt x="1058" y="1384"/>
                </a:lnTo>
                <a:lnTo>
                  <a:pt x="1048" y="1378"/>
                </a:lnTo>
                <a:lnTo>
                  <a:pt x="1039" y="1371"/>
                </a:lnTo>
                <a:lnTo>
                  <a:pt x="1030" y="1364"/>
                </a:lnTo>
                <a:lnTo>
                  <a:pt x="1022" y="1356"/>
                </a:lnTo>
                <a:lnTo>
                  <a:pt x="1014" y="1349"/>
                </a:lnTo>
                <a:lnTo>
                  <a:pt x="1005" y="1340"/>
                </a:lnTo>
                <a:lnTo>
                  <a:pt x="998" y="1332"/>
                </a:lnTo>
                <a:lnTo>
                  <a:pt x="991" y="1323"/>
                </a:lnTo>
                <a:lnTo>
                  <a:pt x="985" y="1313"/>
                </a:lnTo>
                <a:lnTo>
                  <a:pt x="978" y="1304"/>
                </a:lnTo>
                <a:lnTo>
                  <a:pt x="973" y="1294"/>
                </a:lnTo>
                <a:lnTo>
                  <a:pt x="968" y="1284"/>
                </a:lnTo>
                <a:lnTo>
                  <a:pt x="963" y="1274"/>
                </a:lnTo>
                <a:lnTo>
                  <a:pt x="959" y="1262"/>
                </a:lnTo>
                <a:lnTo>
                  <a:pt x="954" y="1252"/>
                </a:lnTo>
                <a:lnTo>
                  <a:pt x="951" y="1240"/>
                </a:lnTo>
                <a:lnTo>
                  <a:pt x="949" y="1229"/>
                </a:lnTo>
                <a:lnTo>
                  <a:pt x="947" y="1217"/>
                </a:lnTo>
                <a:lnTo>
                  <a:pt x="945" y="1205"/>
                </a:lnTo>
                <a:lnTo>
                  <a:pt x="944" y="1193"/>
                </a:lnTo>
                <a:lnTo>
                  <a:pt x="944" y="1181"/>
                </a:lnTo>
                <a:lnTo>
                  <a:pt x="944" y="1170"/>
                </a:lnTo>
                <a:lnTo>
                  <a:pt x="945" y="1157"/>
                </a:lnTo>
                <a:lnTo>
                  <a:pt x="947" y="1146"/>
                </a:lnTo>
                <a:lnTo>
                  <a:pt x="949" y="1133"/>
                </a:lnTo>
                <a:lnTo>
                  <a:pt x="951" y="1123"/>
                </a:lnTo>
                <a:lnTo>
                  <a:pt x="954" y="1111"/>
                </a:lnTo>
                <a:lnTo>
                  <a:pt x="959" y="1100"/>
                </a:lnTo>
                <a:lnTo>
                  <a:pt x="963" y="1089"/>
                </a:lnTo>
                <a:lnTo>
                  <a:pt x="968" y="1079"/>
                </a:lnTo>
                <a:lnTo>
                  <a:pt x="973" y="1068"/>
                </a:lnTo>
                <a:lnTo>
                  <a:pt x="978" y="1058"/>
                </a:lnTo>
                <a:lnTo>
                  <a:pt x="985" y="1049"/>
                </a:lnTo>
                <a:lnTo>
                  <a:pt x="991" y="1039"/>
                </a:lnTo>
                <a:lnTo>
                  <a:pt x="998" y="1031"/>
                </a:lnTo>
                <a:lnTo>
                  <a:pt x="1005" y="1023"/>
                </a:lnTo>
                <a:lnTo>
                  <a:pt x="1014" y="1014"/>
                </a:lnTo>
                <a:lnTo>
                  <a:pt x="1022" y="1006"/>
                </a:lnTo>
                <a:lnTo>
                  <a:pt x="1030" y="999"/>
                </a:lnTo>
                <a:lnTo>
                  <a:pt x="1039" y="991"/>
                </a:lnTo>
                <a:lnTo>
                  <a:pt x="1048" y="985"/>
                </a:lnTo>
                <a:lnTo>
                  <a:pt x="1058" y="979"/>
                </a:lnTo>
                <a:lnTo>
                  <a:pt x="1068" y="974"/>
                </a:lnTo>
                <a:lnTo>
                  <a:pt x="1078" y="969"/>
                </a:lnTo>
                <a:lnTo>
                  <a:pt x="1089" y="963"/>
                </a:lnTo>
                <a:lnTo>
                  <a:pt x="1099" y="959"/>
                </a:lnTo>
                <a:lnTo>
                  <a:pt x="1111" y="955"/>
                </a:lnTo>
                <a:lnTo>
                  <a:pt x="1121" y="952"/>
                </a:lnTo>
                <a:lnTo>
                  <a:pt x="1133" y="950"/>
                </a:lnTo>
                <a:lnTo>
                  <a:pt x="1145" y="948"/>
                </a:lnTo>
                <a:lnTo>
                  <a:pt x="1156" y="946"/>
                </a:lnTo>
                <a:lnTo>
                  <a:pt x="1169" y="945"/>
                </a:lnTo>
                <a:lnTo>
                  <a:pt x="1180" y="945"/>
                </a:lnTo>
                <a:lnTo>
                  <a:pt x="1193" y="945"/>
                </a:lnTo>
                <a:lnTo>
                  <a:pt x="1204" y="946"/>
                </a:lnTo>
                <a:lnTo>
                  <a:pt x="1217" y="948"/>
                </a:lnTo>
                <a:lnTo>
                  <a:pt x="1228" y="950"/>
                </a:lnTo>
                <a:lnTo>
                  <a:pt x="1240" y="952"/>
                </a:lnTo>
                <a:lnTo>
                  <a:pt x="1251" y="955"/>
                </a:lnTo>
                <a:lnTo>
                  <a:pt x="1262" y="959"/>
                </a:lnTo>
                <a:lnTo>
                  <a:pt x="1273" y="963"/>
                </a:lnTo>
                <a:lnTo>
                  <a:pt x="1284" y="969"/>
                </a:lnTo>
                <a:lnTo>
                  <a:pt x="1294" y="974"/>
                </a:lnTo>
                <a:lnTo>
                  <a:pt x="1303" y="979"/>
                </a:lnTo>
                <a:lnTo>
                  <a:pt x="1313" y="985"/>
                </a:lnTo>
                <a:lnTo>
                  <a:pt x="1322" y="991"/>
                </a:lnTo>
                <a:lnTo>
                  <a:pt x="1331" y="999"/>
                </a:lnTo>
                <a:lnTo>
                  <a:pt x="1340" y="1006"/>
                </a:lnTo>
                <a:lnTo>
                  <a:pt x="1348" y="1014"/>
                </a:lnTo>
                <a:lnTo>
                  <a:pt x="1355" y="1023"/>
                </a:lnTo>
                <a:lnTo>
                  <a:pt x="1364" y="1031"/>
                </a:lnTo>
                <a:lnTo>
                  <a:pt x="1370" y="1039"/>
                </a:lnTo>
                <a:lnTo>
                  <a:pt x="1377" y="1049"/>
                </a:lnTo>
                <a:lnTo>
                  <a:pt x="1382" y="1058"/>
                </a:lnTo>
                <a:lnTo>
                  <a:pt x="1389" y="1068"/>
                </a:lnTo>
                <a:lnTo>
                  <a:pt x="1394" y="1079"/>
                </a:lnTo>
                <a:lnTo>
                  <a:pt x="1399" y="1089"/>
                </a:lnTo>
                <a:lnTo>
                  <a:pt x="1403" y="1100"/>
                </a:lnTo>
                <a:lnTo>
                  <a:pt x="1406" y="1111"/>
                </a:lnTo>
                <a:lnTo>
                  <a:pt x="1409" y="1123"/>
                </a:lnTo>
                <a:lnTo>
                  <a:pt x="1413" y="1133"/>
                </a:lnTo>
                <a:lnTo>
                  <a:pt x="1415" y="1146"/>
                </a:lnTo>
                <a:lnTo>
                  <a:pt x="1416" y="1157"/>
                </a:lnTo>
                <a:lnTo>
                  <a:pt x="1417" y="1170"/>
                </a:lnTo>
                <a:lnTo>
                  <a:pt x="1417" y="1181"/>
                </a:lnTo>
                <a:lnTo>
                  <a:pt x="1417" y="1193"/>
                </a:lnTo>
                <a:lnTo>
                  <a:pt x="1416" y="1205"/>
                </a:lnTo>
                <a:lnTo>
                  <a:pt x="1415" y="1217"/>
                </a:lnTo>
                <a:lnTo>
                  <a:pt x="1413" y="1229"/>
                </a:lnTo>
                <a:lnTo>
                  <a:pt x="1409" y="1240"/>
                </a:lnTo>
                <a:lnTo>
                  <a:pt x="1406" y="1252"/>
                </a:lnTo>
                <a:lnTo>
                  <a:pt x="1403" y="1262"/>
                </a:lnTo>
                <a:lnTo>
                  <a:pt x="1399" y="1274"/>
                </a:lnTo>
                <a:lnTo>
                  <a:pt x="1394" y="1284"/>
                </a:lnTo>
                <a:lnTo>
                  <a:pt x="1389" y="1294"/>
                </a:lnTo>
                <a:lnTo>
                  <a:pt x="1382" y="1304"/>
                </a:lnTo>
                <a:lnTo>
                  <a:pt x="1377" y="1313"/>
                </a:lnTo>
                <a:lnTo>
                  <a:pt x="1370" y="1323"/>
                </a:lnTo>
                <a:lnTo>
                  <a:pt x="1364" y="1332"/>
                </a:lnTo>
                <a:lnTo>
                  <a:pt x="1355" y="1340"/>
                </a:lnTo>
                <a:lnTo>
                  <a:pt x="1348" y="1349"/>
                </a:lnTo>
                <a:lnTo>
                  <a:pt x="1340" y="1356"/>
                </a:lnTo>
                <a:lnTo>
                  <a:pt x="1331" y="1364"/>
                </a:lnTo>
                <a:lnTo>
                  <a:pt x="1322" y="1371"/>
                </a:lnTo>
                <a:lnTo>
                  <a:pt x="1313" y="1378"/>
                </a:lnTo>
                <a:lnTo>
                  <a:pt x="1303" y="1384"/>
                </a:lnTo>
                <a:lnTo>
                  <a:pt x="1294" y="1389"/>
                </a:lnTo>
                <a:lnTo>
                  <a:pt x="1284" y="1394"/>
                </a:lnTo>
                <a:lnTo>
                  <a:pt x="1273" y="1400"/>
                </a:lnTo>
                <a:lnTo>
                  <a:pt x="1262" y="1404"/>
                </a:lnTo>
                <a:lnTo>
                  <a:pt x="1251" y="1407"/>
                </a:lnTo>
                <a:lnTo>
                  <a:pt x="1240" y="1410"/>
                </a:lnTo>
                <a:lnTo>
                  <a:pt x="1228" y="1413"/>
                </a:lnTo>
                <a:lnTo>
                  <a:pt x="1217" y="1415"/>
                </a:lnTo>
                <a:lnTo>
                  <a:pt x="1204" y="1416"/>
                </a:lnTo>
                <a:lnTo>
                  <a:pt x="1193" y="1417"/>
                </a:lnTo>
                <a:lnTo>
                  <a:pt x="1180" y="1417"/>
                </a:lnTo>
                <a:close/>
                <a:moveTo>
                  <a:pt x="1180" y="816"/>
                </a:moveTo>
                <a:lnTo>
                  <a:pt x="1162" y="817"/>
                </a:lnTo>
                <a:lnTo>
                  <a:pt x="1143" y="819"/>
                </a:lnTo>
                <a:lnTo>
                  <a:pt x="1135" y="820"/>
                </a:lnTo>
                <a:lnTo>
                  <a:pt x="1125" y="821"/>
                </a:lnTo>
                <a:lnTo>
                  <a:pt x="1108" y="824"/>
                </a:lnTo>
                <a:lnTo>
                  <a:pt x="1090" y="828"/>
                </a:lnTo>
                <a:lnTo>
                  <a:pt x="1072" y="833"/>
                </a:lnTo>
                <a:lnTo>
                  <a:pt x="1055" y="839"/>
                </a:lnTo>
                <a:lnTo>
                  <a:pt x="1039" y="846"/>
                </a:lnTo>
                <a:lnTo>
                  <a:pt x="1023" y="853"/>
                </a:lnTo>
                <a:lnTo>
                  <a:pt x="1007" y="861"/>
                </a:lnTo>
                <a:lnTo>
                  <a:pt x="992" y="870"/>
                </a:lnTo>
                <a:lnTo>
                  <a:pt x="977" y="879"/>
                </a:lnTo>
                <a:lnTo>
                  <a:pt x="963" y="889"/>
                </a:lnTo>
                <a:lnTo>
                  <a:pt x="956" y="895"/>
                </a:lnTo>
                <a:lnTo>
                  <a:pt x="949" y="900"/>
                </a:lnTo>
                <a:lnTo>
                  <a:pt x="936" y="911"/>
                </a:lnTo>
                <a:lnTo>
                  <a:pt x="923" y="924"/>
                </a:lnTo>
                <a:lnTo>
                  <a:pt x="911" y="936"/>
                </a:lnTo>
                <a:lnTo>
                  <a:pt x="899" y="950"/>
                </a:lnTo>
                <a:lnTo>
                  <a:pt x="889" y="963"/>
                </a:lnTo>
                <a:lnTo>
                  <a:pt x="878" y="978"/>
                </a:lnTo>
                <a:lnTo>
                  <a:pt x="869" y="992"/>
                </a:lnTo>
                <a:lnTo>
                  <a:pt x="861" y="1007"/>
                </a:lnTo>
                <a:lnTo>
                  <a:pt x="852" y="1024"/>
                </a:lnTo>
                <a:lnTo>
                  <a:pt x="845" y="1039"/>
                </a:lnTo>
                <a:lnTo>
                  <a:pt x="839" y="1056"/>
                </a:lnTo>
                <a:lnTo>
                  <a:pt x="833" y="1073"/>
                </a:lnTo>
                <a:lnTo>
                  <a:pt x="827" y="1090"/>
                </a:lnTo>
                <a:lnTo>
                  <a:pt x="823" y="1108"/>
                </a:lnTo>
                <a:lnTo>
                  <a:pt x="820" y="1126"/>
                </a:lnTo>
                <a:lnTo>
                  <a:pt x="818" y="1143"/>
                </a:lnTo>
                <a:lnTo>
                  <a:pt x="817" y="1162"/>
                </a:lnTo>
                <a:lnTo>
                  <a:pt x="816" y="1181"/>
                </a:lnTo>
                <a:lnTo>
                  <a:pt x="817" y="1200"/>
                </a:lnTo>
                <a:lnTo>
                  <a:pt x="818" y="1218"/>
                </a:lnTo>
                <a:lnTo>
                  <a:pt x="819" y="1228"/>
                </a:lnTo>
                <a:lnTo>
                  <a:pt x="820" y="1237"/>
                </a:lnTo>
                <a:lnTo>
                  <a:pt x="823" y="1255"/>
                </a:lnTo>
                <a:lnTo>
                  <a:pt x="827" y="1273"/>
                </a:lnTo>
                <a:lnTo>
                  <a:pt x="833" y="1289"/>
                </a:lnTo>
                <a:lnTo>
                  <a:pt x="839" y="1307"/>
                </a:lnTo>
                <a:lnTo>
                  <a:pt x="845" y="1323"/>
                </a:lnTo>
                <a:lnTo>
                  <a:pt x="852" y="1339"/>
                </a:lnTo>
                <a:lnTo>
                  <a:pt x="861" y="1355"/>
                </a:lnTo>
                <a:lnTo>
                  <a:pt x="869" y="1371"/>
                </a:lnTo>
                <a:lnTo>
                  <a:pt x="878" y="1385"/>
                </a:lnTo>
                <a:lnTo>
                  <a:pt x="889" y="1400"/>
                </a:lnTo>
                <a:lnTo>
                  <a:pt x="894" y="1406"/>
                </a:lnTo>
                <a:lnTo>
                  <a:pt x="899" y="1413"/>
                </a:lnTo>
                <a:lnTo>
                  <a:pt x="911" y="1427"/>
                </a:lnTo>
                <a:lnTo>
                  <a:pt x="923" y="1439"/>
                </a:lnTo>
                <a:lnTo>
                  <a:pt x="936" y="1451"/>
                </a:lnTo>
                <a:lnTo>
                  <a:pt x="949" y="1462"/>
                </a:lnTo>
                <a:lnTo>
                  <a:pt x="963" y="1474"/>
                </a:lnTo>
                <a:lnTo>
                  <a:pt x="977" y="1483"/>
                </a:lnTo>
                <a:lnTo>
                  <a:pt x="992" y="1493"/>
                </a:lnTo>
                <a:lnTo>
                  <a:pt x="1007" y="1502"/>
                </a:lnTo>
                <a:lnTo>
                  <a:pt x="1023" y="1510"/>
                </a:lnTo>
                <a:lnTo>
                  <a:pt x="1039" y="1517"/>
                </a:lnTo>
                <a:lnTo>
                  <a:pt x="1055" y="1524"/>
                </a:lnTo>
                <a:lnTo>
                  <a:pt x="1072" y="1529"/>
                </a:lnTo>
                <a:lnTo>
                  <a:pt x="1090" y="1534"/>
                </a:lnTo>
                <a:lnTo>
                  <a:pt x="1108" y="1538"/>
                </a:lnTo>
                <a:lnTo>
                  <a:pt x="1125" y="1541"/>
                </a:lnTo>
                <a:lnTo>
                  <a:pt x="1143" y="1543"/>
                </a:lnTo>
                <a:lnTo>
                  <a:pt x="1162" y="1545"/>
                </a:lnTo>
                <a:lnTo>
                  <a:pt x="1180" y="1545"/>
                </a:lnTo>
                <a:lnTo>
                  <a:pt x="1199" y="1545"/>
                </a:lnTo>
                <a:lnTo>
                  <a:pt x="1218" y="1543"/>
                </a:lnTo>
                <a:lnTo>
                  <a:pt x="1227" y="1542"/>
                </a:lnTo>
                <a:lnTo>
                  <a:pt x="1237" y="1541"/>
                </a:lnTo>
                <a:lnTo>
                  <a:pt x="1254" y="1538"/>
                </a:lnTo>
                <a:lnTo>
                  <a:pt x="1272" y="1534"/>
                </a:lnTo>
                <a:lnTo>
                  <a:pt x="1289" y="1529"/>
                </a:lnTo>
                <a:lnTo>
                  <a:pt x="1306" y="1524"/>
                </a:lnTo>
                <a:lnTo>
                  <a:pt x="1322" y="1517"/>
                </a:lnTo>
                <a:lnTo>
                  <a:pt x="1339" y="1510"/>
                </a:lnTo>
                <a:lnTo>
                  <a:pt x="1354" y="1502"/>
                </a:lnTo>
                <a:lnTo>
                  <a:pt x="1370" y="1493"/>
                </a:lnTo>
                <a:lnTo>
                  <a:pt x="1385" y="1483"/>
                </a:lnTo>
                <a:lnTo>
                  <a:pt x="1399" y="1474"/>
                </a:lnTo>
                <a:lnTo>
                  <a:pt x="1405" y="1468"/>
                </a:lnTo>
                <a:lnTo>
                  <a:pt x="1413" y="1462"/>
                </a:lnTo>
                <a:lnTo>
                  <a:pt x="1426" y="1451"/>
                </a:lnTo>
                <a:lnTo>
                  <a:pt x="1439" y="1439"/>
                </a:lnTo>
                <a:lnTo>
                  <a:pt x="1450" y="1427"/>
                </a:lnTo>
                <a:lnTo>
                  <a:pt x="1462" y="1413"/>
                </a:lnTo>
                <a:lnTo>
                  <a:pt x="1473" y="1400"/>
                </a:lnTo>
                <a:lnTo>
                  <a:pt x="1482" y="1385"/>
                </a:lnTo>
                <a:lnTo>
                  <a:pt x="1492" y="1371"/>
                </a:lnTo>
                <a:lnTo>
                  <a:pt x="1501" y="1355"/>
                </a:lnTo>
                <a:lnTo>
                  <a:pt x="1509" y="1339"/>
                </a:lnTo>
                <a:lnTo>
                  <a:pt x="1517" y="1323"/>
                </a:lnTo>
                <a:lnTo>
                  <a:pt x="1523" y="1307"/>
                </a:lnTo>
                <a:lnTo>
                  <a:pt x="1528" y="1289"/>
                </a:lnTo>
                <a:lnTo>
                  <a:pt x="1533" y="1273"/>
                </a:lnTo>
                <a:lnTo>
                  <a:pt x="1538" y="1255"/>
                </a:lnTo>
                <a:lnTo>
                  <a:pt x="1541" y="1237"/>
                </a:lnTo>
                <a:lnTo>
                  <a:pt x="1543" y="1218"/>
                </a:lnTo>
                <a:lnTo>
                  <a:pt x="1545" y="1200"/>
                </a:lnTo>
                <a:lnTo>
                  <a:pt x="1545" y="1181"/>
                </a:lnTo>
                <a:lnTo>
                  <a:pt x="1545" y="1162"/>
                </a:lnTo>
                <a:lnTo>
                  <a:pt x="1543" y="1143"/>
                </a:lnTo>
                <a:lnTo>
                  <a:pt x="1542" y="1135"/>
                </a:lnTo>
                <a:lnTo>
                  <a:pt x="1541" y="1126"/>
                </a:lnTo>
                <a:lnTo>
                  <a:pt x="1538" y="1108"/>
                </a:lnTo>
                <a:lnTo>
                  <a:pt x="1533" y="1090"/>
                </a:lnTo>
                <a:lnTo>
                  <a:pt x="1528" y="1073"/>
                </a:lnTo>
                <a:lnTo>
                  <a:pt x="1523" y="1056"/>
                </a:lnTo>
                <a:lnTo>
                  <a:pt x="1517" y="1039"/>
                </a:lnTo>
                <a:lnTo>
                  <a:pt x="1509" y="1024"/>
                </a:lnTo>
                <a:lnTo>
                  <a:pt x="1501" y="1007"/>
                </a:lnTo>
                <a:lnTo>
                  <a:pt x="1492" y="992"/>
                </a:lnTo>
                <a:lnTo>
                  <a:pt x="1482" y="978"/>
                </a:lnTo>
                <a:lnTo>
                  <a:pt x="1473" y="963"/>
                </a:lnTo>
                <a:lnTo>
                  <a:pt x="1468" y="956"/>
                </a:lnTo>
                <a:lnTo>
                  <a:pt x="1462" y="950"/>
                </a:lnTo>
                <a:lnTo>
                  <a:pt x="1450" y="936"/>
                </a:lnTo>
                <a:lnTo>
                  <a:pt x="1439" y="924"/>
                </a:lnTo>
                <a:lnTo>
                  <a:pt x="1426" y="911"/>
                </a:lnTo>
                <a:lnTo>
                  <a:pt x="1413" y="900"/>
                </a:lnTo>
                <a:lnTo>
                  <a:pt x="1399" y="889"/>
                </a:lnTo>
                <a:lnTo>
                  <a:pt x="1385" y="879"/>
                </a:lnTo>
                <a:lnTo>
                  <a:pt x="1370" y="870"/>
                </a:lnTo>
                <a:lnTo>
                  <a:pt x="1354" y="861"/>
                </a:lnTo>
                <a:lnTo>
                  <a:pt x="1339" y="853"/>
                </a:lnTo>
                <a:lnTo>
                  <a:pt x="1322" y="846"/>
                </a:lnTo>
                <a:lnTo>
                  <a:pt x="1306" y="839"/>
                </a:lnTo>
                <a:lnTo>
                  <a:pt x="1289" y="833"/>
                </a:lnTo>
                <a:lnTo>
                  <a:pt x="1272" y="828"/>
                </a:lnTo>
                <a:lnTo>
                  <a:pt x="1254" y="824"/>
                </a:lnTo>
                <a:lnTo>
                  <a:pt x="1237" y="821"/>
                </a:lnTo>
                <a:lnTo>
                  <a:pt x="1218" y="819"/>
                </a:lnTo>
                <a:lnTo>
                  <a:pt x="1199" y="817"/>
                </a:lnTo>
                <a:lnTo>
                  <a:pt x="1180" y="816"/>
                </a:lnTo>
                <a:close/>
                <a:moveTo>
                  <a:pt x="1180" y="472"/>
                </a:moveTo>
                <a:lnTo>
                  <a:pt x="1064" y="472"/>
                </a:lnTo>
                <a:lnTo>
                  <a:pt x="1023" y="472"/>
                </a:lnTo>
                <a:lnTo>
                  <a:pt x="991" y="473"/>
                </a:lnTo>
                <a:lnTo>
                  <a:pt x="939" y="474"/>
                </a:lnTo>
                <a:lnTo>
                  <a:pt x="888" y="476"/>
                </a:lnTo>
                <a:lnTo>
                  <a:pt x="861" y="478"/>
                </a:lnTo>
                <a:lnTo>
                  <a:pt x="836" y="480"/>
                </a:lnTo>
                <a:lnTo>
                  <a:pt x="813" y="483"/>
                </a:lnTo>
                <a:lnTo>
                  <a:pt x="791" y="487"/>
                </a:lnTo>
                <a:lnTo>
                  <a:pt x="770" y="492"/>
                </a:lnTo>
                <a:lnTo>
                  <a:pt x="751" y="497"/>
                </a:lnTo>
                <a:lnTo>
                  <a:pt x="733" y="503"/>
                </a:lnTo>
                <a:lnTo>
                  <a:pt x="716" y="509"/>
                </a:lnTo>
                <a:lnTo>
                  <a:pt x="698" y="515"/>
                </a:lnTo>
                <a:lnTo>
                  <a:pt x="682" y="524"/>
                </a:lnTo>
                <a:lnTo>
                  <a:pt x="674" y="528"/>
                </a:lnTo>
                <a:lnTo>
                  <a:pt x="666" y="532"/>
                </a:lnTo>
                <a:lnTo>
                  <a:pt x="650" y="541"/>
                </a:lnTo>
                <a:lnTo>
                  <a:pt x="635" y="552"/>
                </a:lnTo>
                <a:lnTo>
                  <a:pt x="620" y="563"/>
                </a:lnTo>
                <a:lnTo>
                  <a:pt x="605" y="577"/>
                </a:lnTo>
                <a:lnTo>
                  <a:pt x="590" y="590"/>
                </a:lnTo>
                <a:lnTo>
                  <a:pt x="577" y="605"/>
                </a:lnTo>
                <a:lnTo>
                  <a:pt x="563" y="621"/>
                </a:lnTo>
                <a:lnTo>
                  <a:pt x="558" y="628"/>
                </a:lnTo>
                <a:lnTo>
                  <a:pt x="552" y="635"/>
                </a:lnTo>
                <a:lnTo>
                  <a:pt x="541" y="651"/>
                </a:lnTo>
                <a:lnTo>
                  <a:pt x="532" y="666"/>
                </a:lnTo>
                <a:lnTo>
                  <a:pt x="528" y="675"/>
                </a:lnTo>
                <a:lnTo>
                  <a:pt x="523" y="683"/>
                </a:lnTo>
                <a:lnTo>
                  <a:pt x="515" y="699"/>
                </a:lnTo>
                <a:lnTo>
                  <a:pt x="509" y="716"/>
                </a:lnTo>
                <a:lnTo>
                  <a:pt x="503" y="734"/>
                </a:lnTo>
                <a:lnTo>
                  <a:pt x="496" y="752"/>
                </a:lnTo>
                <a:lnTo>
                  <a:pt x="491" y="771"/>
                </a:lnTo>
                <a:lnTo>
                  <a:pt x="487" y="791"/>
                </a:lnTo>
                <a:lnTo>
                  <a:pt x="483" y="813"/>
                </a:lnTo>
                <a:lnTo>
                  <a:pt x="481" y="825"/>
                </a:lnTo>
                <a:lnTo>
                  <a:pt x="480" y="836"/>
                </a:lnTo>
                <a:lnTo>
                  <a:pt x="479" y="849"/>
                </a:lnTo>
                <a:lnTo>
                  <a:pt x="478" y="861"/>
                </a:lnTo>
                <a:lnTo>
                  <a:pt x="477" y="875"/>
                </a:lnTo>
                <a:lnTo>
                  <a:pt x="476" y="888"/>
                </a:lnTo>
                <a:lnTo>
                  <a:pt x="473" y="939"/>
                </a:lnTo>
                <a:lnTo>
                  <a:pt x="472" y="991"/>
                </a:lnTo>
                <a:lnTo>
                  <a:pt x="471" y="1065"/>
                </a:lnTo>
                <a:lnTo>
                  <a:pt x="471" y="1181"/>
                </a:lnTo>
                <a:lnTo>
                  <a:pt x="471" y="1298"/>
                </a:lnTo>
                <a:lnTo>
                  <a:pt x="471" y="1338"/>
                </a:lnTo>
                <a:lnTo>
                  <a:pt x="472" y="1372"/>
                </a:lnTo>
                <a:lnTo>
                  <a:pt x="473" y="1424"/>
                </a:lnTo>
                <a:lnTo>
                  <a:pt x="476" y="1474"/>
                </a:lnTo>
                <a:lnTo>
                  <a:pt x="478" y="1501"/>
                </a:lnTo>
                <a:lnTo>
                  <a:pt x="480" y="1527"/>
                </a:lnTo>
                <a:lnTo>
                  <a:pt x="483" y="1550"/>
                </a:lnTo>
                <a:lnTo>
                  <a:pt x="487" y="1572"/>
                </a:lnTo>
                <a:lnTo>
                  <a:pt x="491" y="1591"/>
                </a:lnTo>
                <a:lnTo>
                  <a:pt x="496" y="1611"/>
                </a:lnTo>
                <a:lnTo>
                  <a:pt x="503" y="1629"/>
                </a:lnTo>
                <a:lnTo>
                  <a:pt x="509" y="1647"/>
                </a:lnTo>
                <a:lnTo>
                  <a:pt x="515" y="1663"/>
                </a:lnTo>
                <a:lnTo>
                  <a:pt x="523" y="1680"/>
                </a:lnTo>
                <a:lnTo>
                  <a:pt x="528" y="1688"/>
                </a:lnTo>
                <a:lnTo>
                  <a:pt x="532" y="1695"/>
                </a:lnTo>
                <a:lnTo>
                  <a:pt x="541" y="1712"/>
                </a:lnTo>
                <a:lnTo>
                  <a:pt x="552" y="1727"/>
                </a:lnTo>
                <a:lnTo>
                  <a:pt x="563" y="1742"/>
                </a:lnTo>
                <a:lnTo>
                  <a:pt x="577" y="1757"/>
                </a:lnTo>
                <a:lnTo>
                  <a:pt x="590" y="1771"/>
                </a:lnTo>
                <a:lnTo>
                  <a:pt x="605" y="1786"/>
                </a:lnTo>
                <a:lnTo>
                  <a:pt x="620" y="1799"/>
                </a:lnTo>
                <a:lnTo>
                  <a:pt x="628" y="1805"/>
                </a:lnTo>
                <a:lnTo>
                  <a:pt x="635" y="1810"/>
                </a:lnTo>
                <a:lnTo>
                  <a:pt x="650" y="1820"/>
                </a:lnTo>
                <a:lnTo>
                  <a:pt x="666" y="1830"/>
                </a:lnTo>
                <a:lnTo>
                  <a:pt x="674" y="1835"/>
                </a:lnTo>
                <a:lnTo>
                  <a:pt x="682" y="1839"/>
                </a:lnTo>
                <a:lnTo>
                  <a:pt x="698" y="1846"/>
                </a:lnTo>
                <a:lnTo>
                  <a:pt x="716" y="1854"/>
                </a:lnTo>
                <a:lnTo>
                  <a:pt x="733" y="1860"/>
                </a:lnTo>
                <a:lnTo>
                  <a:pt x="751" y="1865"/>
                </a:lnTo>
                <a:lnTo>
                  <a:pt x="770" y="1870"/>
                </a:lnTo>
                <a:lnTo>
                  <a:pt x="791" y="1876"/>
                </a:lnTo>
                <a:lnTo>
                  <a:pt x="813" y="1880"/>
                </a:lnTo>
                <a:lnTo>
                  <a:pt x="824" y="1881"/>
                </a:lnTo>
                <a:lnTo>
                  <a:pt x="836" y="1883"/>
                </a:lnTo>
                <a:lnTo>
                  <a:pt x="848" y="1884"/>
                </a:lnTo>
                <a:lnTo>
                  <a:pt x="861" y="1885"/>
                </a:lnTo>
                <a:lnTo>
                  <a:pt x="874" y="1886"/>
                </a:lnTo>
                <a:lnTo>
                  <a:pt x="888" y="1887"/>
                </a:lnTo>
                <a:lnTo>
                  <a:pt x="939" y="1889"/>
                </a:lnTo>
                <a:lnTo>
                  <a:pt x="991" y="1890"/>
                </a:lnTo>
                <a:lnTo>
                  <a:pt x="1064" y="1890"/>
                </a:lnTo>
                <a:lnTo>
                  <a:pt x="1180" y="1891"/>
                </a:lnTo>
                <a:lnTo>
                  <a:pt x="1297" y="1890"/>
                </a:lnTo>
                <a:lnTo>
                  <a:pt x="1338" y="1890"/>
                </a:lnTo>
                <a:lnTo>
                  <a:pt x="1371" y="1890"/>
                </a:lnTo>
                <a:lnTo>
                  <a:pt x="1423" y="1889"/>
                </a:lnTo>
                <a:lnTo>
                  <a:pt x="1473" y="1887"/>
                </a:lnTo>
                <a:lnTo>
                  <a:pt x="1500" y="1885"/>
                </a:lnTo>
                <a:lnTo>
                  <a:pt x="1526" y="1883"/>
                </a:lnTo>
                <a:lnTo>
                  <a:pt x="1549" y="1880"/>
                </a:lnTo>
                <a:lnTo>
                  <a:pt x="1571" y="1876"/>
                </a:lnTo>
                <a:lnTo>
                  <a:pt x="1591" y="1870"/>
                </a:lnTo>
                <a:lnTo>
                  <a:pt x="1610" y="1865"/>
                </a:lnTo>
                <a:lnTo>
                  <a:pt x="1628" y="1860"/>
                </a:lnTo>
                <a:lnTo>
                  <a:pt x="1646" y="1854"/>
                </a:lnTo>
                <a:lnTo>
                  <a:pt x="1663" y="1846"/>
                </a:lnTo>
                <a:lnTo>
                  <a:pt x="1679" y="1839"/>
                </a:lnTo>
                <a:lnTo>
                  <a:pt x="1687" y="1835"/>
                </a:lnTo>
                <a:lnTo>
                  <a:pt x="1695" y="1830"/>
                </a:lnTo>
                <a:lnTo>
                  <a:pt x="1711" y="1820"/>
                </a:lnTo>
                <a:lnTo>
                  <a:pt x="1726" y="1810"/>
                </a:lnTo>
                <a:lnTo>
                  <a:pt x="1742" y="1799"/>
                </a:lnTo>
                <a:lnTo>
                  <a:pt x="1756" y="1786"/>
                </a:lnTo>
                <a:lnTo>
                  <a:pt x="1771" y="1771"/>
                </a:lnTo>
                <a:lnTo>
                  <a:pt x="1785" y="1757"/>
                </a:lnTo>
                <a:lnTo>
                  <a:pt x="1798" y="1742"/>
                </a:lnTo>
                <a:lnTo>
                  <a:pt x="1804" y="1735"/>
                </a:lnTo>
                <a:lnTo>
                  <a:pt x="1809" y="1727"/>
                </a:lnTo>
                <a:lnTo>
                  <a:pt x="1820" y="1712"/>
                </a:lnTo>
                <a:lnTo>
                  <a:pt x="1829" y="1695"/>
                </a:lnTo>
                <a:lnTo>
                  <a:pt x="1834" y="1688"/>
                </a:lnTo>
                <a:lnTo>
                  <a:pt x="1838" y="1680"/>
                </a:lnTo>
                <a:lnTo>
                  <a:pt x="1846" y="1663"/>
                </a:lnTo>
                <a:lnTo>
                  <a:pt x="1853" y="1647"/>
                </a:lnTo>
                <a:lnTo>
                  <a:pt x="1859" y="1629"/>
                </a:lnTo>
                <a:lnTo>
                  <a:pt x="1865" y="1611"/>
                </a:lnTo>
                <a:lnTo>
                  <a:pt x="1870" y="1591"/>
                </a:lnTo>
                <a:lnTo>
                  <a:pt x="1875" y="1572"/>
                </a:lnTo>
                <a:lnTo>
                  <a:pt x="1879" y="1550"/>
                </a:lnTo>
                <a:lnTo>
                  <a:pt x="1880" y="1538"/>
                </a:lnTo>
                <a:lnTo>
                  <a:pt x="1882" y="1527"/>
                </a:lnTo>
                <a:lnTo>
                  <a:pt x="1883" y="1514"/>
                </a:lnTo>
                <a:lnTo>
                  <a:pt x="1884" y="1501"/>
                </a:lnTo>
                <a:lnTo>
                  <a:pt x="1885" y="1488"/>
                </a:lnTo>
                <a:lnTo>
                  <a:pt x="1886" y="1474"/>
                </a:lnTo>
                <a:lnTo>
                  <a:pt x="1888" y="1424"/>
                </a:lnTo>
                <a:lnTo>
                  <a:pt x="1889" y="1372"/>
                </a:lnTo>
                <a:lnTo>
                  <a:pt x="1889" y="1298"/>
                </a:lnTo>
                <a:lnTo>
                  <a:pt x="1891" y="1181"/>
                </a:lnTo>
                <a:lnTo>
                  <a:pt x="1889" y="1065"/>
                </a:lnTo>
                <a:lnTo>
                  <a:pt x="1889" y="1024"/>
                </a:lnTo>
                <a:lnTo>
                  <a:pt x="1889" y="991"/>
                </a:lnTo>
                <a:lnTo>
                  <a:pt x="1888" y="939"/>
                </a:lnTo>
                <a:lnTo>
                  <a:pt x="1886" y="888"/>
                </a:lnTo>
                <a:lnTo>
                  <a:pt x="1884" y="861"/>
                </a:lnTo>
                <a:lnTo>
                  <a:pt x="1882" y="836"/>
                </a:lnTo>
                <a:lnTo>
                  <a:pt x="1879" y="813"/>
                </a:lnTo>
                <a:lnTo>
                  <a:pt x="1875" y="791"/>
                </a:lnTo>
                <a:lnTo>
                  <a:pt x="1870" y="771"/>
                </a:lnTo>
                <a:lnTo>
                  <a:pt x="1865" y="752"/>
                </a:lnTo>
                <a:lnTo>
                  <a:pt x="1859" y="734"/>
                </a:lnTo>
                <a:lnTo>
                  <a:pt x="1853" y="716"/>
                </a:lnTo>
                <a:lnTo>
                  <a:pt x="1846" y="699"/>
                </a:lnTo>
                <a:lnTo>
                  <a:pt x="1838" y="683"/>
                </a:lnTo>
                <a:lnTo>
                  <a:pt x="1834" y="675"/>
                </a:lnTo>
                <a:lnTo>
                  <a:pt x="1829" y="666"/>
                </a:lnTo>
                <a:lnTo>
                  <a:pt x="1820" y="651"/>
                </a:lnTo>
                <a:lnTo>
                  <a:pt x="1809" y="635"/>
                </a:lnTo>
                <a:lnTo>
                  <a:pt x="1798" y="621"/>
                </a:lnTo>
                <a:lnTo>
                  <a:pt x="1785" y="605"/>
                </a:lnTo>
                <a:lnTo>
                  <a:pt x="1771" y="590"/>
                </a:lnTo>
                <a:lnTo>
                  <a:pt x="1756" y="577"/>
                </a:lnTo>
                <a:lnTo>
                  <a:pt x="1742" y="563"/>
                </a:lnTo>
                <a:lnTo>
                  <a:pt x="1734" y="558"/>
                </a:lnTo>
                <a:lnTo>
                  <a:pt x="1726" y="552"/>
                </a:lnTo>
                <a:lnTo>
                  <a:pt x="1711" y="541"/>
                </a:lnTo>
                <a:lnTo>
                  <a:pt x="1695" y="532"/>
                </a:lnTo>
                <a:lnTo>
                  <a:pt x="1687" y="528"/>
                </a:lnTo>
                <a:lnTo>
                  <a:pt x="1679" y="524"/>
                </a:lnTo>
                <a:lnTo>
                  <a:pt x="1663" y="515"/>
                </a:lnTo>
                <a:lnTo>
                  <a:pt x="1646" y="509"/>
                </a:lnTo>
                <a:lnTo>
                  <a:pt x="1628" y="503"/>
                </a:lnTo>
                <a:lnTo>
                  <a:pt x="1610" y="497"/>
                </a:lnTo>
                <a:lnTo>
                  <a:pt x="1591" y="492"/>
                </a:lnTo>
                <a:lnTo>
                  <a:pt x="1571" y="487"/>
                </a:lnTo>
                <a:lnTo>
                  <a:pt x="1549" y="483"/>
                </a:lnTo>
                <a:lnTo>
                  <a:pt x="1538" y="481"/>
                </a:lnTo>
                <a:lnTo>
                  <a:pt x="1526" y="480"/>
                </a:lnTo>
                <a:lnTo>
                  <a:pt x="1514" y="479"/>
                </a:lnTo>
                <a:lnTo>
                  <a:pt x="1500" y="478"/>
                </a:lnTo>
                <a:lnTo>
                  <a:pt x="1488" y="477"/>
                </a:lnTo>
                <a:lnTo>
                  <a:pt x="1473" y="476"/>
                </a:lnTo>
                <a:lnTo>
                  <a:pt x="1423" y="474"/>
                </a:lnTo>
                <a:lnTo>
                  <a:pt x="1371" y="473"/>
                </a:lnTo>
                <a:lnTo>
                  <a:pt x="1297" y="472"/>
                </a:lnTo>
                <a:lnTo>
                  <a:pt x="1180" y="472"/>
                </a:lnTo>
                <a:close/>
                <a:moveTo>
                  <a:pt x="1180" y="600"/>
                </a:moveTo>
                <a:lnTo>
                  <a:pt x="1295" y="600"/>
                </a:lnTo>
                <a:lnTo>
                  <a:pt x="1367" y="600"/>
                </a:lnTo>
                <a:lnTo>
                  <a:pt x="1418" y="602"/>
                </a:lnTo>
                <a:lnTo>
                  <a:pt x="1468" y="604"/>
                </a:lnTo>
                <a:lnTo>
                  <a:pt x="1492" y="605"/>
                </a:lnTo>
                <a:lnTo>
                  <a:pt x="1503" y="606"/>
                </a:lnTo>
                <a:lnTo>
                  <a:pt x="1514" y="607"/>
                </a:lnTo>
                <a:lnTo>
                  <a:pt x="1532" y="610"/>
                </a:lnTo>
                <a:lnTo>
                  <a:pt x="1550" y="613"/>
                </a:lnTo>
                <a:lnTo>
                  <a:pt x="1565" y="616"/>
                </a:lnTo>
                <a:lnTo>
                  <a:pt x="1578" y="621"/>
                </a:lnTo>
                <a:lnTo>
                  <a:pt x="1590" y="625"/>
                </a:lnTo>
                <a:lnTo>
                  <a:pt x="1599" y="628"/>
                </a:lnTo>
                <a:lnTo>
                  <a:pt x="1611" y="633"/>
                </a:lnTo>
                <a:lnTo>
                  <a:pt x="1622" y="638"/>
                </a:lnTo>
                <a:lnTo>
                  <a:pt x="1633" y="644"/>
                </a:lnTo>
                <a:lnTo>
                  <a:pt x="1643" y="650"/>
                </a:lnTo>
                <a:lnTo>
                  <a:pt x="1653" y="657"/>
                </a:lnTo>
                <a:lnTo>
                  <a:pt x="1663" y="664"/>
                </a:lnTo>
                <a:lnTo>
                  <a:pt x="1672" y="673"/>
                </a:lnTo>
                <a:lnTo>
                  <a:pt x="1680" y="681"/>
                </a:lnTo>
                <a:lnTo>
                  <a:pt x="1690" y="690"/>
                </a:lnTo>
                <a:lnTo>
                  <a:pt x="1698" y="700"/>
                </a:lnTo>
                <a:lnTo>
                  <a:pt x="1705" y="709"/>
                </a:lnTo>
                <a:lnTo>
                  <a:pt x="1711" y="719"/>
                </a:lnTo>
                <a:lnTo>
                  <a:pt x="1718" y="729"/>
                </a:lnTo>
                <a:lnTo>
                  <a:pt x="1724" y="739"/>
                </a:lnTo>
                <a:lnTo>
                  <a:pt x="1729" y="751"/>
                </a:lnTo>
                <a:lnTo>
                  <a:pt x="1733" y="762"/>
                </a:lnTo>
                <a:lnTo>
                  <a:pt x="1742" y="784"/>
                </a:lnTo>
                <a:lnTo>
                  <a:pt x="1745" y="797"/>
                </a:lnTo>
                <a:lnTo>
                  <a:pt x="1749" y="812"/>
                </a:lnTo>
                <a:lnTo>
                  <a:pt x="1752" y="829"/>
                </a:lnTo>
                <a:lnTo>
                  <a:pt x="1754" y="849"/>
                </a:lnTo>
                <a:lnTo>
                  <a:pt x="1756" y="870"/>
                </a:lnTo>
                <a:lnTo>
                  <a:pt x="1758" y="895"/>
                </a:lnTo>
                <a:lnTo>
                  <a:pt x="1760" y="945"/>
                </a:lnTo>
                <a:lnTo>
                  <a:pt x="1761" y="995"/>
                </a:lnTo>
                <a:lnTo>
                  <a:pt x="1762" y="1067"/>
                </a:lnTo>
                <a:lnTo>
                  <a:pt x="1762" y="1181"/>
                </a:lnTo>
                <a:lnTo>
                  <a:pt x="1762" y="1296"/>
                </a:lnTo>
                <a:lnTo>
                  <a:pt x="1761" y="1367"/>
                </a:lnTo>
                <a:lnTo>
                  <a:pt x="1760" y="1418"/>
                </a:lnTo>
                <a:lnTo>
                  <a:pt x="1758" y="1468"/>
                </a:lnTo>
                <a:lnTo>
                  <a:pt x="1756" y="1492"/>
                </a:lnTo>
                <a:lnTo>
                  <a:pt x="1755" y="1504"/>
                </a:lnTo>
                <a:lnTo>
                  <a:pt x="1754" y="1514"/>
                </a:lnTo>
                <a:lnTo>
                  <a:pt x="1752" y="1533"/>
                </a:lnTo>
                <a:lnTo>
                  <a:pt x="1749" y="1551"/>
                </a:lnTo>
                <a:lnTo>
                  <a:pt x="1745" y="1565"/>
                </a:lnTo>
                <a:lnTo>
                  <a:pt x="1742" y="1579"/>
                </a:lnTo>
                <a:lnTo>
                  <a:pt x="1737" y="1590"/>
                </a:lnTo>
                <a:lnTo>
                  <a:pt x="1733" y="1600"/>
                </a:lnTo>
                <a:lnTo>
                  <a:pt x="1729" y="1612"/>
                </a:lnTo>
                <a:lnTo>
                  <a:pt x="1724" y="1623"/>
                </a:lnTo>
                <a:lnTo>
                  <a:pt x="1718" y="1634"/>
                </a:lnTo>
                <a:lnTo>
                  <a:pt x="1711" y="1643"/>
                </a:lnTo>
                <a:lnTo>
                  <a:pt x="1705" y="1654"/>
                </a:lnTo>
                <a:lnTo>
                  <a:pt x="1698" y="1663"/>
                </a:lnTo>
                <a:lnTo>
                  <a:pt x="1690" y="1673"/>
                </a:lnTo>
                <a:lnTo>
                  <a:pt x="1680" y="1681"/>
                </a:lnTo>
                <a:lnTo>
                  <a:pt x="1672" y="1690"/>
                </a:lnTo>
                <a:lnTo>
                  <a:pt x="1663" y="1699"/>
                </a:lnTo>
                <a:lnTo>
                  <a:pt x="1653" y="1706"/>
                </a:lnTo>
                <a:lnTo>
                  <a:pt x="1643" y="1712"/>
                </a:lnTo>
                <a:lnTo>
                  <a:pt x="1633" y="1718"/>
                </a:lnTo>
                <a:lnTo>
                  <a:pt x="1622" y="1725"/>
                </a:lnTo>
                <a:lnTo>
                  <a:pt x="1611" y="1730"/>
                </a:lnTo>
                <a:lnTo>
                  <a:pt x="1599" y="1734"/>
                </a:lnTo>
                <a:lnTo>
                  <a:pt x="1578" y="1742"/>
                </a:lnTo>
                <a:lnTo>
                  <a:pt x="1565" y="1745"/>
                </a:lnTo>
                <a:lnTo>
                  <a:pt x="1550" y="1750"/>
                </a:lnTo>
                <a:lnTo>
                  <a:pt x="1532" y="1753"/>
                </a:lnTo>
                <a:lnTo>
                  <a:pt x="1514" y="1755"/>
                </a:lnTo>
                <a:lnTo>
                  <a:pt x="1492" y="1757"/>
                </a:lnTo>
                <a:lnTo>
                  <a:pt x="1468" y="1759"/>
                </a:lnTo>
                <a:lnTo>
                  <a:pt x="1418" y="1761"/>
                </a:lnTo>
                <a:lnTo>
                  <a:pt x="1367" y="1762"/>
                </a:lnTo>
                <a:lnTo>
                  <a:pt x="1295" y="1763"/>
                </a:lnTo>
                <a:lnTo>
                  <a:pt x="1180" y="1763"/>
                </a:lnTo>
                <a:lnTo>
                  <a:pt x="1067" y="1763"/>
                </a:lnTo>
                <a:lnTo>
                  <a:pt x="994" y="1762"/>
                </a:lnTo>
                <a:lnTo>
                  <a:pt x="944" y="1761"/>
                </a:lnTo>
                <a:lnTo>
                  <a:pt x="894" y="1759"/>
                </a:lnTo>
                <a:lnTo>
                  <a:pt x="869" y="1757"/>
                </a:lnTo>
                <a:lnTo>
                  <a:pt x="859" y="1756"/>
                </a:lnTo>
                <a:lnTo>
                  <a:pt x="847" y="1755"/>
                </a:lnTo>
                <a:lnTo>
                  <a:pt x="828" y="1753"/>
                </a:lnTo>
                <a:lnTo>
                  <a:pt x="812" y="1750"/>
                </a:lnTo>
                <a:lnTo>
                  <a:pt x="796" y="1745"/>
                </a:lnTo>
                <a:lnTo>
                  <a:pt x="784" y="1742"/>
                </a:lnTo>
                <a:lnTo>
                  <a:pt x="772" y="1738"/>
                </a:lnTo>
                <a:lnTo>
                  <a:pt x="762" y="1734"/>
                </a:lnTo>
                <a:lnTo>
                  <a:pt x="750" y="1730"/>
                </a:lnTo>
                <a:lnTo>
                  <a:pt x="739" y="1725"/>
                </a:lnTo>
                <a:lnTo>
                  <a:pt x="729" y="1718"/>
                </a:lnTo>
                <a:lnTo>
                  <a:pt x="718" y="1712"/>
                </a:lnTo>
                <a:lnTo>
                  <a:pt x="709" y="1706"/>
                </a:lnTo>
                <a:lnTo>
                  <a:pt x="699" y="1699"/>
                </a:lnTo>
                <a:lnTo>
                  <a:pt x="690" y="1690"/>
                </a:lnTo>
                <a:lnTo>
                  <a:pt x="681" y="1681"/>
                </a:lnTo>
                <a:lnTo>
                  <a:pt x="671" y="1673"/>
                </a:lnTo>
                <a:lnTo>
                  <a:pt x="664" y="1663"/>
                </a:lnTo>
                <a:lnTo>
                  <a:pt x="657" y="1654"/>
                </a:lnTo>
                <a:lnTo>
                  <a:pt x="649" y="1643"/>
                </a:lnTo>
                <a:lnTo>
                  <a:pt x="643" y="1634"/>
                </a:lnTo>
                <a:lnTo>
                  <a:pt x="638" y="1623"/>
                </a:lnTo>
                <a:lnTo>
                  <a:pt x="633" y="1612"/>
                </a:lnTo>
                <a:lnTo>
                  <a:pt x="628" y="1600"/>
                </a:lnTo>
                <a:lnTo>
                  <a:pt x="620" y="1579"/>
                </a:lnTo>
                <a:lnTo>
                  <a:pt x="616" y="1565"/>
                </a:lnTo>
                <a:lnTo>
                  <a:pt x="613" y="1551"/>
                </a:lnTo>
                <a:lnTo>
                  <a:pt x="610" y="1534"/>
                </a:lnTo>
                <a:lnTo>
                  <a:pt x="607" y="1514"/>
                </a:lnTo>
                <a:lnTo>
                  <a:pt x="605" y="1492"/>
                </a:lnTo>
                <a:lnTo>
                  <a:pt x="604" y="1468"/>
                </a:lnTo>
                <a:lnTo>
                  <a:pt x="602" y="1418"/>
                </a:lnTo>
                <a:lnTo>
                  <a:pt x="599" y="1367"/>
                </a:lnTo>
                <a:lnTo>
                  <a:pt x="599" y="1296"/>
                </a:lnTo>
                <a:lnTo>
                  <a:pt x="599" y="1181"/>
                </a:lnTo>
                <a:lnTo>
                  <a:pt x="599" y="1067"/>
                </a:lnTo>
                <a:lnTo>
                  <a:pt x="599" y="995"/>
                </a:lnTo>
                <a:lnTo>
                  <a:pt x="602" y="945"/>
                </a:lnTo>
                <a:lnTo>
                  <a:pt x="604" y="895"/>
                </a:lnTo>
                <a:lnTo>
                  <a:pt x="605" y="870"/>
                </a:lnTo>
                <a:lnTo>
                  <a:pt x="606" y="859"/>
                </a:lnTo>
                <a:lnTo>
                  <a:pt x="607" y="849"/>
                </a:lnTo>
                <a:lnTo>
                  <a:pt x="610" y="829"/>
                </a:lnTo>
                <a:lnTo>
                  <a:pt x="613" y="812"/>
                </a:lnTo>
                <a:lnTo>
                  <a:pt x="616" y="797"/>
                </a:lnTo>
                <a:lnTo>
                  <a:pt x="620" y="784"/>
                </a:lnTo>
                <a:lnTo>
                  <a:pt x="623" y="773"/>
                </a:lnTo>
                <a:lnTo>
                  <a:pt x="628" y="762"/>
                </a:lnTo>
                <a:lnTo>
                  <a:pt x="633" y="751"/>
                </a:lnTo>
                <a:lnTo>
                  <a:pt x="638" y="739"/>
                </a:lnTo>
                <a:lnTo>
                  <a:pt x="643" y="729"/>
                </a:lnTo>
                <a:lnTo>
                  <a:pt x="649" y="719"/>
                </a:lnTo>
                <a:lnTo>
                  <a:pt x="657" y="709"/>
                </a:lnTo>
                <a:lnTo>
                  <a:pt x="664" y="700"/>
                </a:lnTo>
                <a:lnTo>
                  <a:pt x="671" y="690"/>
                </a:lnTo>
                <a:lnTo>
                  <a:pt x="681" y="681"/>
                </a:lnTo>
                <a:lnTo>
                  <a:pt x="690" y="673"/>
                </a:lnTo>
                <a:lnTo>
                  <a:pt x="699" y="664"/>
                </a:lnTo>
                <a:lnTo>
                  <a:pt x="709" y="657"/>
                </a:lnTo>
                <a:lnTo>
                  <a:pt x="718" y="650"/>
                </a:lnTo>
                <a:lnTo>
                  <a:pt x="729" y="644"/>
                </a:lnTo>
                <a:lnTo>
                  <a:pt x="739" y="638"/>
                </a:lnTo>
                <a:lnTo>
                  <a:pt x="750" y="633"/>
                </a:lnTo>
                <a:lnTo>
                  <a:pt x="762" y="628"/>
                </a:lnTo>
                <a:lnTo>
                  <a:pt x="784" y="621"/>
                </a:lnTo>
                <a:lnTo>
                  <a:pt x="796" y="616"/>
                </a:lnTo>
                <a:lnTo>
                  <a:pt x="812" y="613"/>
                </a:lnTo>
                <a:lnTo>
                  <a:pt x="828" y="610"/>
                </a:lnTo>
                <a:lnTo>
                  <a:pt x="847" y="607"/>
                </a:lnTo>
                <a:lnTo>
                  <a:pt x="869" y="605"/>
                </a:lnTo>
                <a:lnTo>
                  <a:pt x="894" y="604"/>
                </a:lnTo>
                <a:lnTo>
                  <a:pt x="944" y="602"/>
                </a:lnTo>
                <a:lnTo>
                  <a:pt x="994" y="600"/>
                </a:lnTo>
                <a:lnTo>
                  <a:pt x="1067" y="600"/>
                </a:lnTo>
                <a:lnTo>
                  <a:pt x="1180" y="600"/>
                </a:lnTo>
                <a:close/>
                <a:moveTo>
                  <a:pt x="0" y="1181"/>
                </a:moveTo>
                <a:lnTo>
                  <a:pt x="1" y="1151"/>
                </a:lnTo>
                <a:lnTo>
                  <a:pt x="2" y="1121"/>
                </a:lnTo>
                <a:lnTo>
                  <a:pt x="4" y="1090"/>
                </a:lnTo>
                <a:lnTo>
                  <a:pt x="6" y="1060"/>
                </a:lnTo>
                <a:lnTo>
                  <a:pt x="9" y="1031"/>
                </a:lnTo>
                <a:lnTo>
                  <a:pt x="13" y="1002"/>
                </a:lnTo>
                <a:lnTo>
                  <a:pt x="18" y="973"/>
                </a:lnTo>
                <a:lnTo>
                  <a:pt x="24" y="944"/>
                </a:lnTo>
                <a:lnTo>
                  <a:pt x="30" y="914"/>
                </a:lnTo>
                <a:lnTo>
                  <a:pt x="37" y="886"/>
                </a:lnTo>
                <a:lnTo>
                  <a:pt x="44" y="858"/>
                </a:lnTo>
                <a:lnTo>
                  <a:pt x="53" y="830"/>
                </a:lnTo>
                <a:lnTo>
                  <a:pt x="62" y="803"/>
                </a:lnTo>
                <a:lnTo>
                  <a:pt x="72" y="775"/>
                </a:lnTo>
                <a:lnTo>
                  <a:pt x="82" y="749"/>
                </a:lnTo>
                <a:lnTo>
                  <a:pt x="92" y="722"/>
                </a:lnTo>
                <a:lnTo>
                  <a:pt x="105" y="696"/>
                </a:lnTo>
                <a:lnTo>
                  <a:pt x="116" y="670"/>
                </a:lnTo>
                <a:lnTo>
                  <a:pt x="129" y="644"/>
                </a:lnTo>
                <a:lnTo>
                  <a:pt x="142" y="619"/>
                </a:lnTo>
                <a:lnTo>
                  <a:pt x="157" y="594"/>
                </a:lnTo>
                <a:lnTo>
                  <a:pt x="171" y="569"/>
                </a:lnTo>
                <a:lnTo>
                  <a:pt x="186" y="545"/>
                </a:lnTo>
                <a:lnTo>
                  <a:pt x="202" y="521"/>
                </a:lnTo>
                <a:lnTo>
                  <a:pt x="218" y="498"/>
                </a:lnTo>
                <a:lnTo>
                  <a:pt x="235" y="475"/>
                </a:lnTo>
                <a:lnTo>
                  <a:pt x="252" y="452"/>
                </a:lnTo>
                <a:lnTo>
                  <a:pt x="269" y="430"/>
                </a:lnTo>
                <a:lnTo>
                  <a:pt x="288" y="408"/>
                </a:lnTo>
                <a:lnTo>
                  <a:pt x="307" y="387"/>
                </a:lnTo>
                <a:lnTo>
                  <a:pt x="326" y="367"/>
                </a:lnTo>
                <a:lnTo>
                  <a:pt x="345" y="347"/>
                </a:lnTo>
                <a:lnTo>
                  <a:pt x="366" y="326"/>
                </a:lnTo>
                <a:lnTo>
                  <a:pt x="387" y="307"/>
                </a:lnTo>
                <a:lnTo>
                  <a:pt x="408" y="288"/>
                </a:lnTo>
                <a:lnTo>
                  <a:pt x="430" y="270"/>
                </a:lnTo>
                <a:lnTo>
                  <a:pt x="452" y="252"/>
                </a:lnTo>
                <a:lnTo>
                  <a:pt x="474" y="235"/>
                </a:lnTo>
                <a:lnTo>
                  <a:pt x="497" y="219"/>
                </a:lnTo>
                <a:lnTo>
                  <a:pt x="520" y="202"/>
                </a:lnTo>
                <a:lnTo>
                  <a:pt x="544" y="186"/>
                </a:lnTo>
                <a:lnTo>
                  <a:pt x="568" y="172"/>
                </a:lnTo>
                <a:lnTo>
                  <a:pt x="593" y="157"/>
                </a:lnTo>
                <a:lnTo>
                  <a:pt x="618" y="143"/>
                </a:lnTo>
                <a:lnTo>
                  <a:pt x="643" y="129"/>
                </a:lnTo>
                <a:lnTo>
                  <a:pt x="669" y="117"/>
                </a:lnTo>
                <a:lnTo>
                  <a:pt x="695" y="105"/>
                </a:lnTo>
                <a:lnTo>
                  <a:pt x="721" y="94"/>
                </a:lnTo>
                <a:lnTo>
                  <a:pt x="747" y="82"/>
                </a:lnTo>
                <a:lnTo>
                  <a:pt x="774" y="72"/>
                </a:lnTo>
                <a:lnTo>
                  <a:pt x="802" y="62"/>
                </a:lnTo>
                <a:lnTo>
                  <a:pt x="830" y="53"/>
                </a:lnTo>
                <a:lnTo>
                  <a:pt x="858" y="45"/>
                </a:lnTo>
                <a:lnTo>
                  <a:pt x="886" y="37"/>
                </a:lnTo>
                <a:lnTo>
                  <a:pt x="914" y="30"/>
                </a:lnTo>
                <a:lnTo>
                  <a:pt x="943" y="24"/>
                </a:lnTo>
                <a:lnTo>
                  <a:pt x="972" y="19"/>
                </a:lnTo>
                <a:lnTo>
                  <a:pt x="1001" y="13"/>
                </a:lnTo>
                <a:lnTo>
                  <a:pt x="1030" y="10"/>
                </a:lnTo>
                <a:lnTo>
                  <a:pt x="1060" y="6"/>
                </a:lnTo>
                <a:lnTo>
                  <a:pt x="1090" y="4"/>
                </a:lnTo>
                <a:lnTo>
                  <a:pt x="1120" y="2"/>
                </a:lnTo>
                <a:lnTo>
                  <a:pt x="1150" y="1"/>
                </a:lnTo>
                <a:lnTo>
                  <a:pt x="1180" y="0"/>
                </a:lnTo>
                <a:lnTo>
                  <a:pt x="1212" y="1"/>
                </a:lnTo>
                <a:lnTo>
                  <a:pt x="1242" y="2"/>
                </a:lnTo>
                <a:lnTo>
                  <a:pt x="1271" y="4"/>
                </a:lnTo>
                <a:lnTo>
                  <a:pt x="1301" y="6"/>
                </a:lnTo>
                <a:lnTo>
                  <a:pt x="1331" y="10"/>
                </a:lnTo>
                <a:lnTo>
                  <a:pt x="1361" y="13"/>
                </a:lnTo>
                <a:lnTo>
                  <a:pt x="1390" y="19"/>
                </a:lnTo>
                <a:lnTo>
                  <a:pt x="1419" y="24"/>
                </a:lnTo>
                <a:lnTo>
                  <a:pt x="1447" y="30"/>
                </a:lnTo>
                <a:lnTo>
                  <a:pt x="1476" y="37"/>
                </a:lnTo>
                <a:lnTo>
                  <a:pt x="1504" y="45"/>
                </a:lnTo>
                <a:lnTo>
                  <a:pt x="1531" y="53"/>
                </a:lnTo>
                <a:lnTo>
                  <a:pt x="1559" y="62"/>
                </a:lnTo>
                <a:lnTo>
                  <a:pt x="1586" y="72"/>
                </a:lnTo>
                <a:lnTo>
                  <a:pt x="1614" y="82"/>
                </a:lnTo>
                <a:lnTo>
                  <a:pt x="1641" y="94"/>
                </a:lnTo>
                <a:lnTo>
                  <a:pt x="1667" y="105"/>
                </a:lnTo>
                <a:lnTo>
                  <a:pt x="1693" y="117"/>
                </a:lnTo>
                <a:lnTo>
                  <a:pt x="1718" y="129"/>
                </a:lnTo>
                <a:lnTo>
                  <a:pt x="1744" y="143"/>
                </a:lnTo>
                <a:lnTo>
                  <a:pt x="1769" y="157"/>
                </a:lnTo>
                <a:lnTo>
                  <a:pt x="1793" y="172"/>
                </a:lnTo>
                <a:lnTo>
                  <a:pt x="1817" y="186"/>
                </a:lnTo>
                <a:lnTo>
                  <a:pt x="1841" y="202"/>
                </a:lnTo>
                <a:lnTo>
                  <a:pt x="1865" y="219"/>
                </a:lnTo>
                <a:lnTo>
                  <a:pt x="1887" y="235"/>
                </a:lnTo>
                <a:lnTo>
                  <a:pt x="1909" y="252"/>
                </a:lnTo>
                <a:lnTo>
                  <a:pt x="1931" y="270"/>
                </a:lnTo>
                <a:lnTo>
                  <a:pt x="1953" y="288"/>
                </a:lnTo>
                <a:lnTo>
                  <a:pt x="1975" y="307"/>
                </a:lnTo>
                <a:lnTo>
                  <a:pt x="1996" y="326"/>
                </a:lnTo>
                <a:lnTo>
                  <a:pt x="2015" y="347"/>
                </a:lnTo>
                <a:lnTo>
                  <a:pt x="2035" y="367"/>
                </a:lnTo>
                <a:lnTo>
                  <a:pt x="2055" y="387"/>
                </a:lnTo>
                <a:lnTo>
                  <a:pt x="2074" y="408"/>
                </a:lnTo>
                <a:lnTo>
                  <a:pt x="2091" y="430"/>
                </a:lnTo>
                <a:lnTo>
                  <a:pt x="2109" y="452"/>
                </a:lnTo>
                <a:lnTo>
                  <a:pt x="2127" y="475"/>
                </a:lnTo>
                <a:lnTo>
                  <a:pt x="2144" y="498"/>
                </a:lnTo>
                <a:lnTo>
                  <a:pt x="2159" y="521"/>
                </a:lnTo>
                <a:lnTo>
                  <a:pt x="2175" y="545"/>
                </a:lnTo>
                <a:lnTo>
                  <a:pt x="2190" y="569"/>
                </a:lnTo>
                <a:lnTo>
                  <a:pt x="2205" y="594"/>
                </a:lnTo>
                <a:lnTo>
                  <a:pt x="2219" y="619"/>
                </a:lnTo>
                <a:lnTo>
                  <a:pt x="2232" y="644"/>
                </a:lnTo>
                <a:lnTo>
                  <a:pt x="2245" y="670"/>
                </a:lnTo>
                <a:lnTo>
                  <a:pt x="2257" y="696"/>
                </a:lnTo>
                <a:lnTo>
                  <a:pt x="2268" y="722"/>
                </a:lnTo>
                <a:lnTo>
                  <a:pt x="2279" y="749"/>
                </a:lnTo>
                <a:lnTo>
                  <a:pt x="2289" y="775"/>
                </a:lnTo>
                <a:lnTo>
                  <a:pt x="2300" y="803"/>
                </a:lnTo>
                <a:lnTo>
                  <a:pt x="2308" y="830"/>
                </a:lnTo>
                <a:lnTo>
                  <a:pt x="2316" y="858"/>
                </a:lnTo>
                <a:lnTo>
                  <a:pt x="2324" y="886"/>
                </a:lnTo>
                <a:lnTo>
                  <a:pt x="2331" y="914"/>
                </a:lnTo>
                <a:lnTo>
                  <a:pt x="2337" y="944"/>
                </a:lnTo>
                <a:lnTo>
                  <a:pt x="2342" y="973"/>
                </a:lnTo>
                <a:lnTo>
                  <a:pt x="2348" y="1002"/>
                </a:lnTo>
                <a:lnTo>
                  <a:pt x="2352" y="1031"/>
                </a:lnTo>
                <a:lnTo>
                  <a:pt x="2355" y="1060"/>
                </a:lnTo>
                <a:lnTo>
                  <a:pt x="2358" y="1090"/>
                </a:lnTo>
                <a:lnTo>
                  <a:pt x="2360" y="1121"/>
                </a:lnTo>
                <a:lnTo>
                  <a:pt x="2361" y="1151"/>
                </a:lnTo>
                <a:lnTo>
                  <a:pt x="2361" y="1181"/>
                </a:lnTo>
                <a:lnTo>
                  <a:pt x="2361" y="1212"/>
                </a:lnTo>
                <a:lnTo>
                  <a:pt x="2360" y="1242"/>
                </a:lnTo>
                <a:lnTo>
                  <a:pt x="2358" y="1273"/>
                </a:lnTo>
                <a:lnTo>
                  <a:pt x="2355" y="1302"/>
                </a:lnTo>
                <a:lnTo>
                  <a:pt x="2352" y="1332"/>
                </a:lnTo>
                <a:lnTo>
                  <a:pt x="2348" y="1361"/>
                </a:lnTo>
                <a:lnTo>
                  <a:pt x="2342" y="1390"/>
                </a:lnTo>
                <a:lnTo>
                  <a:pt x="2337" y="1419"/>
                </a:lnTo>
                <a:lnTo>
                  <a:pt x="2331" y="1448"/>
                </a:lnTo>
                <a:lnTo>
                  <a:pt x="2324" y="1477"/>
                </a:lnTo>
                <a:lnTo>
                  <a:pt x="2316" y="1505"/>
                </a:lnTo>
                <a:lnTo>
                  <a:pt x="2308" y="1532"/>
                </a:lnTo>
                <a:lnTo>
                  <a:pt x="2300" y="1560"/>
                </a:lnTo>
                <a:lnTo>
                  <a:pt x="2289" y="1587"/>
                </a:lnTo>
                <a:lnTo>
                  <a:pt x="2279" y="1614"/>
                </a:lnTo>
                <a:lnTo>
                  <a:pt x="2268" y="1641"/>
                </a:lnTo>
                <a:lnTo>
                  <a:pt x="2257" y="1667"/>
                </a:lnTo>
                <a:lnTo>
                  <a:pt x="2245" y="1693"/>
                </a:lnTo>
                <a:lnTo>
                  <a:pt x="2232" y="1718"/>
                </a:lnTo>
                <a:lnTo>
                  <a:pt x="2219" y="1744"/>
                </a:lnTo>
                <a:lnTo>
                  <a:pt x="2205" y="1769"/>
                </a:lnTo>
                <a:lnTo>
                  <a:pt x="2190" y="1793"/>
                </a:lnTo>
                <a:lnTo>
                  <a:pt x="2175" y="1817"/>
                </a:lnTo>
                <a:lnTo>
                  <a:pt x="2159" y="1841"/>
                </a:lnTo>
                <a:lnTo>
                  <a:pt x="2144" y="1865"/>
                </a:lnTo>
                <a:lnTo>
                  <a:pt x="2127" y="1888"/>
                </a:lnTo>
                <a:lnTo>
                  <a:pt x="2109" y="1910"/>
                </a:lnTo>
                <a:lnTo>
                  <a:pt x="2091" y="1933"/>
                </a:lnTo>
                <a:lnTo>
                  <a:pt x="2074" y="1954"/>
                </a:lnTo>
                <a:lnTo>
                  <a:pt x="2055" y="1976"/>
                </a:lnTo>
                <a:lnTo>
                  <a:pt x="2035" y="1996"/>
                </a:lnTo>
                <a:lnTo>
                  <a:pt x="2015" y="2016"/>
                </a:lnTo>
                <a:lnTo>
                  <a:pt x="1996" y="2036"/>
                </a:lnTo>
                <a:lnTo>
                  <a:pt x="1975" y="2056"/>
                </a:lnTo>
                <a:lnTo>
                  <a:pt x="1953" y="2075"/>
                </a:lnTo>
                <a:lnTo>
                  <a:pt x="1931" y="2092"/>
                </a:lnTo>
                <a:lnTo>
                  <a:pt x="1909" y="2110"/>
                </a:lnTo>
                <a:lnTo>
                  <a:pt x="1887" y="2128"/>
                </a:lnTo>
                <a:lnTo>
                  <a:pt x="1865" y="2144"/>
                </a:lnTo>
                <a:lnTo>
                  <a:pt x="1841" y="2160"/>
                </a:lnTo>
                <a:lnTo>
                  <a:pt x="1817" y="2176"/>
                </a:lnTo>
                <a:lnTo>
                  <a:pt x="1793" y="2191"/>
                </a:lnTo>
                <a:lnTo>
                  <a:pt x="1769" y="2206"/>
                </a:lnTo>
                <a:lnTo>
                  <a:pt x="1744" y="2219"/>
                </a:lnTo>
                <a:lnTo>
                  <a:pt x="1718" y="2233"/>
                </a:lnTo>
                <a:lnTo>
                  <a:pt x="1693" y="2245"/>
                </a:lnTo>
                <a:lnTo>
                  <a:pt x="1667" y="2258"/>
                </a:lnTo>
                <a:lnTo>
                  <a:pt x="1641" y="2269"/>
                </a:lnTo>
                <a:lnTo>
                  <a:pt x="1614" y="2280"/>
                </a:lnTo>
                <a:lnTo>
                  <a:pt x="1586" y="2290"/>
                </a:lnTo>
                <a:lnTo>
                  <a:pt x="1559" y="2301"/>
                </a:lnTo>
                <a:lnTo>
                  <a:pt x="1531" y="2309"/>
                </a:lnTo>
                <a:lnTo>
                  <a:pt x="1504" y="2317"/>
                </a:lnTo>
                <a:lnTo>
                  <a:pt x="1476" y="2325"/>
                </a:lnTo>
                <a:lnTo>
                  <a:pt x="1447" y="2332"/>
                </a:lnTo>
                <a:lnTo>
                  <a:pt x="1419" y="2338"/>
                </a:lnTo>
                <a:lnTo>
                  <a:pt x="1390" y="2343"/>
                </a:lnTo>
                <a:lnTo>
                  <a:pt x="1361" y="2348"/>
                </a:lnTo>
                <a:lnTo>
                  <a:pt x="1331" y="2353"/>
                </a:lnTo>
                <a:lnTo>
                  <a:pt x="1301" y="2356"/>
                </a:lnTo>
                <a:lnTo>
                  <a:pt x="1271" y="2359"/>
                </a:lnTo>
                <a:lnTo>
                  <a:pt x="1242" y="2361"/>
                </a:lnTo>
                <a:lnTo>
                  <a:pt x="1212" y="2362"/>
                </a:lnTo>
                <a:lnTo>
                  <a:pt x="1180" y="2362"/>
                </a:lnTo>
                <a:lnTo>
                  <a:pt x="1150" y="2362"/>
                </a:lnTo>
                <a:lnTo>
                  <a:pt x="1120" y="2361"/>
                </a:lnTo>
                <a:lnTo>
                  <a:pt x="1090" y="2359"/>
                </a:lnTo>
                <a:lnTo>
                  <a:pt x="1060" y="2356"/>
                </a:lnTo>
                <a:lnTo>
                  <a:pt x="1030" y="2353"/>
                </a:lnTo>
                <a:lnTo>
                  <a:pt x="1001" y="2348"/>
                </a:lnTo>
                <a:lnTo>
                  <a:pt x="972" y="2343"/>
                </a:lnTo>
                <a:lnTo>
                  <a:pt x="943" y="2338"/>
                </a:lnTo>
                <a:lnTo>
                  <a:pt x="914" y="2332"/>
                </a:lnTo>
                <a:lnTo>
                  <a:pt x="886" y="2325"/>
                </a:lnTo>
                <a:lnTo>
                  <a:pt x="858" y="2317"/>
                </a:lnTo>
                <a:lnTo>
                  <a:pt x="830" y="2309"/>
                </a:lnTo>
                <a:lnTo>
                  <a:pt x="802" y="2301"/>
                </a:lnTo>
                <a:lnTo>
                  <a:pt x="774" y="2290"/>
                </a:lnTo>
                <a:lnTo>
                  <a:pt x="747" y="2280"/>
                </a:lnTo>
                <a:lnTo>
                  <a:pt x="721" y="2269"/>
                </a:lnTo>
                <a:lnTo>
                  <a:pt x="695" y="2258"/>
                </a:lnTo>
                <a:lnTo>
                  <a:pt x="669" y="2245"/>
                </a:lnTo>
                <a:lnTo>
                  <a:pt x="643" y="2233"/>
                </a:lnTo>
                <a:lnTo>
                  <a:pt x="618" y="2219"/>
                </a:lnTo>
                <a:lnTo>
                  <a:pt x="593" y="2206"/>
                </a:lnTo>
                <a:lnTo>
                  <a:pt x="568" y="2191"/>
                </a:lnTo>
                <a:lnTo>
                  <a:pt x="544" y="2176"/>
                </a:lnTo>
                <a:lnTo>
                  <a:pt x="520" y="2160"/>
                </a:lnTo>
                <a:lnTo>
                  <a:pt x="497" y="2144"/>
                </a:lnTo>
                <a:lnTo>
                  <a:pt x="474" y="2128"/>
                </a:lnTo>
                <a:lnTo>
                  <a:pt x="452" y="2110"/>
                </a:lnTo>
                <a:lnTo>
                  <a:pt x="430" y="2092"/>
                </a:lnTo>
                <a:lnTo>
                  <a:pt x="408" y="2075"/>
                </a:lnTo>
                <a:lnTo>
                  <a:pt x="387" y="2056"/>
                </a:lnTo>
                <a:lnTo>
                  <a:pt x="366" y="2036"/>
                </a:lnTo>
                <a:lnTo>
                  <a:pt x="345" y="2016"/>
                </a:lnTo>
                <a:lnTo>
                  <a:pt x="326" y="1996"/>
                </a:lnTo>
                <a:lnTo>
                  <a:pt x="307" y="1976"/>
                </a:lnTo>
                <a:lnTo>
                  <a:pt x="288" y="1954"/>
                </a:lnTo>
                <a:lnTo>
                  <a:pt x="269" y="1933"/>
                </a:lnTo>
                <a:lnTo>
                  <a:pt x="252" y="1910"/>
                </a:lnTo>
                <a:lnTo>
                  <a:pt x="235" y="1888"/>
                </a:lnTo>
                <a:lnTo>
                  <a:pt x="218" y="1865"/>
                </a:lnTo>
                <a:lnTo>
                  <a:pt x="202" y="1841"/>
                </a:lnTo>
                <a:lnTo>
                  <a:pt x="186" y="1817"/>
                </a:lnTo>
                <a:lnTo>
                  <a:pt x="171" y="1793"/>
                </a:lnTo>
                <a:lnTo>
                  <a:pt x="157" y="1769"/>
                </a:lnTo>
                <a:lnTo>
                  <a:pt x="142" y="1744"/>
                </a:lnTo>
                <a:lnTo>
                  <a:pt x="129" y="1718"/>
                </a:lnTo>
                <a:lnTo>
                  <a:pt x="116" y="1693"/>
                </a:lnTo>
                <a:lnTo>
                  <a:pt x="105" y="1667"/>
                </a:lnTo>
                <a:lnTo>
                  <a:pt x="92" y="1641"/>
                </a:lnTo>
                <a:lnTo>
                  <a:pt x="82" y="1614"/>
                </a:lnTo>
                <a:lnTo>
                  <a:pt x="72" y="1587"/>
                </a:lnTo>
                <a:lnTo>
                  <a:pt x="62" y="1560"/>
                </a:lnTo>
                <a:lnTo>
                  <a:pt x="53" y="1532"/>
                </a:lnTo>
                <a:lnTo>
                  <a:pt x="44" y="1505"/>
                </a:lnTo>
                <a:lnTo>
                  <a:pt x="37" y="1477"/>
                </a:lnTo>
                <a:lnTo>
                  <a:pt x="30" y="1448"/>
                </a:lnTo>
                <a:lnTo>
                  <a:pt x="24" y="1419"/>
                </a:lnTo>
                <a:lnTo>
                  <a:pt x="18" y="1390"/>
                </a:lnTo>
                <a:lnTo>
                  <a:pt x="13" y="1361"/>
                </a:lnTo>
                <a:lnTo>
                  <a:pt x="9" y="1332"/>
                </a:lnTo>
                <a:lnTo>
                  <a:pt x="6" y="1302"/>
                </a:lnTo>
                <a:lnTo>
                  <a:pt x="4" y="1273"/>
                </a:lnTo>
                <a:lnTo>
                  <a:pt x="2" y="1242"/>
                </a:lnTo>
                <a:lnTo>
                  <a:pt x="1" y="1212"/>
                </a:lnTo>
                <a:lnTo>
                  <a:pt x="0" y="1181"/>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fi-FI"/>
          </a:p>
        </p:txBody>
      </p:sp>
      <p:sp>
        <p:nvSpPr>
          <p:cNvPr id="7" name="Freeform 6">
            <a:hlinkClick r:id="rId5" tooltip="web"/>
          </p:cNvPr>
          <p:cNvSpPr>
            <a:spLocks noChangeAspect="1" noEditPoints="1"/>
          </p:cNvSpPr>
          <p:nvPr userDrawn="1"/>
        </p:nvSpPr>
        <p:spPr bwMode="auto">
          <a:xfrm>
            <a:off x="6672104" y="5841388"/>
            <a:ext cx="360000" cy="360000"/>
          </a:xfrm>
          <a:custGeom>
            <a:avLst/>
            <a:gdLst>
              <a:gd name="T0" fmla="*/ 677 w 2270"/>
              <a:gd name="T1" fmla="*/ 1326 h 2270"/>
              <a:gd name="T2" fmla="*/ 624 w 2270"/>
              <a:gd name="T3" fmla="*/ 1311 h 2270"/>
              <a:gd name="T4" fmla="*/ 484 w 2270"/>
              <a:gd name="T5" fmla="*/ 1324 h 2270"/>
              <a:gd name="T6" fmla="*/ 400 w 2270"/>
              <a:gd name="T7" fmla="*/ 1318 h 2270"/>
              <a:gd name="T8" fmla="*/ 309 w 2270"/>
              <a:gd name="T9" fmla="*/ 950 h 2270"/>
              <a:gd name="T10" fmla="*/ 381 w 2270"/>
              <a:gd name="T11" fmla="*/ 949 h 2270"/>
              <a:gd name="T12" fmla="*/ 526 w 2270"/>
              <a:gd name="T13" fmla="*/ 950 h 2270"/>
              <a:gd name="T14" fmla="*/ 600 w 2270"/>
              <a:gd name="T15" fmla="*/ 948 h 2270"/>
              <a:gd name="T16" fmla="*/ 753 w 2270"/>
              <a:gd name="T17" fmla="*/ 949 h 2270"/>
              <a:gd name="T18" fmla="*/ 816 w 2270"/>
              <a:gd name="T19" fmla="*/ 948 h 2270"/>
              <a:gd name="T20" fmla="*/ 1873 w 2270"/>
              <a:gd name="T21" fmla="*/ 1311 h 2270"/>
              <a:gd name="T22" fmla="*/ 1794 w 2270"/>
              <a:gd name="T23" fmla="*/ 1325 h 2270"/>
              <a:gd name="T24" fmla="*/ 1704 w 2270"/>
              <a:gd name="T25" fmla="*/ 1065 h 2270"/>
              <a:gd name="T26" fmla="*/ 1607 w 2270"/>
              <a:gd name="T27" fmla="*/ 1326 h 2270"/>
              <a:gd name="T28" fmla="*/ 1539 w 2270"/>
              <a:gd name="T29" fmla="*/ 1311 h 2270"/>
              <a:gd name="T30" fmla="*/ 1457 w 2270"/>
              <a:gd name="T31" fmla="*/ 947 h 2270"/>
              <a:gd name="T32" fmla="*/ 1526 w 2270"/>
              <a:gd name="T33" fmla="*/ 952 h 2270"/>
              <a:gd name="T34" fmla="*/ 1674 w 2270"/>
              <a:gd name="T35" fmla="*/ 948 h 2270"/>
              <a:gd name="T36" fmla="*/ 1750 w 2270"/>
              <a:gd name="T37" fmla="*/ 953 h 2270"/>
              <a:gd name="T38" fmla="*/ 1901 w 2270"/>
              <a:gd name="T39" fmla="*/ 947 h 2270"/>
              <a:gd name="T40" fmla="*/ 1963 w 2270"/>
              <a:gd name="T41" fmla="*/ 951 h 2270"/>
              <a:gd name="T42" fmla="*/ 1296 w 2270"/>
              <a:gd name="T43" fmla="*/ 1318 h 2270"/>
              <a:gd name="T44" fmla="*/ 1206 w 2270"/>
              <a:gd name="T45" fmla="*/ 1322 h 2270"/>
              <a:gd name="T46" fmla="*/ 1074 w 2270"/>
              <a:gd name="T47" fmla="*/ 1310 h 2270"/>
              <a:gd name="T48" fmla="*/ 1007 w 2270"/>
              <a:gd name="T49" fmla="*/ 1326 h 2270"/>
              <a:gd name="T50" fmla="*/ 881 w 2270"/>
              <a:gd name="T51" fmla="*/ 975 h 2270"/>
              <a:gd name="T52" fmla="*/ 893 w 2270"/>
              <a:gd name="T53" fmla="*/ 946 h 2270"/>
              <a:gd name="T54" fmla="*/ 958 w 2270"/>
              <a:gd name="T55" fmla="*/ 961 h 2270"/>
              <a:gd name="T56" fmla="*/ 1108 w 2270"/>
              <a:gd name="T57" fmla="*/ 947 h 2270"/>
              <a:gd name="T58" fmla="*/ 1181 w 2270"/>
              <a:gd name="T59" fmla="*/ 963 h 2270"/>
              <a:gd name="T60" fmla="*/ 1338 w 2270"/>
              <a:gd name="T61" fmla="*/ 946 h 2270"/>
              <a:gd name="T62" fmla="*/ 1392 w 2270"/>
              <a:gd name="T63" fmla="*/ 956 h 2270"/>
              <a:gd name="T64" fmla="*/ 9 w 2270"/>
              <a:gd name="T65" fmla="*/ 991 h 2270"/>
              <a:gd name="T66" fmla="*/ 79 w 2270"/>
              <a:gd name="T67" fmla="*/ 720 h 2270"/>
              <a:gd name="T68" fmla="*/ 209 w 2270"/>
              <a:gd name="T69" fmla="*/ 478 h 2270"/>
              <a:gd name="T70" fmla="*/ 392 w 2270"/>
              <a:gd name="T71" fmla="*/ 277 h 2270"/>
              <a:gd name="T72" fmla="*/ 619 w 2270"/>
              <a:gd name="T73" fmla="*/ 124 h 2270"/>
              <a:gd name="T74" fmla="*/ 879 w 2270"/>
              <a:gd name="T75" fmla="*/ 29 h 2270"/>
              <a:gd name="T76" fmla="*/ 1164 w 2270"/>
              <a:gd name="T77" fmla="*/ 1 h 2270"/>
              <a:gd name="T78" fmla="*/ 1445 w 2270"/>
              <a:gd name="T79" fmla="*/ 43 h 2270"/>
              <a:gd name="T80" fmla="*/ 1699 w 2270"/>
              <a:gd name="T81" fmla="*/ 151 h 2270"/>
              <a:gd name="T82" fmla="*/ 1918 w 2270"/>
              <a:gd name="T83" fmla="*/ 313 h 2270"/>
              <a:gd name="T84" fmla="*/ 2091 w 2270"/>
              <a:gd name="T85" fmla="*/ 523 h 2270"/>
              <a:gd name="T86" fmla="*/ 2210 w 2270"/>
              <a:gd name="T87" fmla="*/ 772 h 2270"/>
              <a:gd name="T88" fmla="*/ 2267 w 2270"/>
              <a:gd name="T89" fmla="*/ 1048 h 2270"/>
              <a:gd name="T90" fmla="*/ 2252 w 2270"/>
              <a:gd name="T91" fmla="*/ 1336 h 2270"/>
              <a:gd name="T92" fmla="*/ 2170 w 2270"/>
              <a:gd name="T93" fmla="*/ 1602 h 2270"/>
              <a:gd name="T94" fmla="*/ 2028 w 2270"/>
              <a:gd name="T95" fmla="*/ 1836 h 2270"/>
              <a:gd name="T96" fmla="*/ 1836 w 2270"/>
              <a:gd name="T97" fmla="*/ 2028 h 2270"/>
              <a:gd name="T98" fmla="*/ 1602 w 2270"/>
              <a:gd name="T99" fmla="*/ 2170 h 2270"/>
              <a:gd name="T100" fmla="*/ 1336 w 2270"/>
              <a:gd name="T101" fmla="*/ 2252 h 2270"/>
              <a:gd name="T102" fmla="*/ 1048 w 2270"/>
              <a:gd name="T103" fmla="*/ 2267 h 2270"/>
              <a:gd name="T104" fmla="*/ 771 w 2270"/>
              <a:gd name="T105" fmla="*/ 2211 h 2270"/>
              <a:gd name="T106" fmla="*/ 523 w 2270"/>
              <a:gd name="T107" fmla="*/ 2091 h 2270"/>
              <a:gd name="T108" fmla="*/ 313 w 2270"/>
              <a:gd name="T109" fmla="*/ 1919 h 2270"/>
              <a:gd name="T110" fmla="*/ 150 w 2270"/>
              <a:gd name="T111" fmla="*/ 1700 h 2270"/>
              <a:gd name="T112" fmla="*/ 43 w 2270"/>
              <a:gd name="T113" fmla="*/ 1446 h 2270"/>
              <a:gd name="T114" fmla="*/ 0 w 2270"/>
              <a:gd name="T115" fmla="*/ 1165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0" h="2270">
                <a:moveTo>
                  <a:pt x="732" y="1304"/>
                </a:moveTo>
                <a:lnTo>
                  <a:pt x="730" y="1311"/>
                </a:lnTo>
                <a:lnTo>
                  <a:pt x="727" y="1316"/>
                </a:lnTo>
                <a:lnTo>
                  <a:pt x="725" y="1318"/>
                </a:lnTo>
                <a:lnTo>
                  <a:pt x="723" y="1319"/>
                </a:lnTo>
                <a:lnTo>
                  <a:pt x="718" y="1322"/>
                </a:lnTo>
                <a:lnTo>
                  <a:pt x="711" y="1324"/>
                </a:lnTo>
                <a:lnTo>
                  <a:pt x="702" y="1325"/>
                </a:lnTo>
                <a:lnTo>
                  <a:pt x="691" y="1326"/>
                </a:lnTo>
                <a:lnTo>
                  <a:pt x="677" y="1326"/>
                </a:lnTo>
                <a:lnTo>
                  <a:pt x="662" y="1326"/>
                </a:lnTo>
                <a:lnTo>
                  <a:pt x="651" y="1325"/>
                </a:lnTo>
                <a:lnTo>
                  <a:pt x="642" y="1324"/>
                </a:lnTo>
                <a:lnTo>
                  <a:pt x="635" y="1322"/>
                </a:lnTo>
                <a:lnTo>
                  <a:pt x="632" y="1321"/>
                </a:lnTo>
                <a:lnTo>
                  <a:pt x="630" y="1319"/>
                </a:lnTo>
                <a:lnTo>
                  <a:pt x="628" y="1318"/>
                </a:lnTo>
                <a:lnTo>
                  <a:pt x="626" y="1316"/>
                </a:lnTo>
                <a:lnTo>
                  <a:pt x="625" y="1313"/>
                </a:lnTo>
                <a:lnTo>
                  <a:pt x="624" y="1311"/>
                </a:lnTo>
                <a:lnTo>
                  <a:pt x="622" y="1304"/>
                </a:lnTo>
                <a:lnTo>
                  <a:pt x="561" y="1065"/>
                </a:lnTo>
                <a:lnTo>
                  <a:pt x="503" y="1304"/>
                </a:lnTo>
                <a:lnTo>
                  <a:pt x="501" y="1310"/>
                </a:lnTo>
                <a:lnTo>
                  <a:pt x="499" y="1315"/>
                </a:lnTo>
                <a:lnTo>
                  <a:pt x="498" y="1317"/>
                </a:lnTo>
                <a:lnTo>
                  <a:pt x="496" y="1319"/>
                </a:lnTo>
                <a:lnTo>
                  <a:pt x="493" y="1321"/>
                </a:lnTo>
                <a:lnTo>
                  <a:pt x="491" y="1322"/>
                </a:lnTo>
                <a:lnTo>
                  <a:pt x="484" y="1324"/>
                </a:lnTo>
                <a:lnTo>
                  <a:pt x="475" y="1325"/>
                </a:lnTo>
                <a:lnTo>
                  <a:pt x="464" y="1326"/>
                </a:lnTo>
                <a:lnTo>
                  <a:pt x="450" y="1326"/>
                </a:lnTo>
                <a:lnTo>
                  <a:pt x="434" y="1326"/>
                </a:lnTo>
                <a:lnTo>
                  <a:pt x="423" y="1325"/>
                </a:lnTo>
                <a:lnTo>
                  <a:pt x="414" y="1324"/>
                </a:lnTo>
                <a:lnTo>
                  <a:pt x="407" y="1322"/>
                </a:lnTo>
                <a:lnTo>
                  <a:pt x="404" y="1321"/>
                </a:lnTo>
                <a:lnTo>
                  <a:pt x="402" y="1319"/>
                </a:lnTo>
                <a:lnTo>
                  <a:pt x="400" y="1318"/>
                </a:lnTo>
                <a:lnTo>
                  <a:pt x="398" y="1316"/>
                </a:lnTo>
                <a:lnTo>
                  <a:pt x="396" y="1311"/>
                </a:lnTo>
                <a:lnTo>
                  <a:pt x="394" y="1304"/>
                </a:lnTo>
                <a:lnTo>
                  <a:pt x="308" y="975"/>
                </a:lnTo>
                <a:lnTo>
                  <a:pt x="306" y="966"/>
                </a:lnTo>
                <a:lnTo>
                  <a:pt x="305" y="959"/>
                </a:lnTo>
                <a:lnTo>
                  <a:pt x="306" y="956"/>
                </a:lnTo>
                <a:lnTo>
                  <a:pt x="306" y="953"/>
                </a:lnTo>
                <a:lnTo>
                  <a:pt x="307" y="951"/>
                </a:lnTo>
                <a:lnTo>
                  <a:pt x="309" y="950"/>
                </a:lnTo>
                <a:lnTo>
                  <a:pt x="311" y="948"/>
                </a:lnTo>
                <a:lnTo>
                  <a:pt x="314" y="947"/>
                </a:lnTo>
                <a:lnTo>
                  <a:pt x="317" y="946"/>
                </a:lnTo>
                <a:lnTo>
                  <a:pt x="321" y="946"/>
                </a:lnTo>
                <a:lnTo>
                  <a:pt x="331" y="945"/>
                </a:lnTo>
                <a:lnTo>
                  <a:pt x="344" y="945"/>
                </a:lnTo>
                <a:lnTo>
                  <a:pt x="366" y="945"/>
                </a:lnTo>
                <a:lnTo>
                  <a:pt x="373" y="946"/>
                </a:lnTo>
                <a:lnTo>
                  <a:pt x="378" y="947"/>
                </a:lnTo>
                <a:lnTo>
                  <a:pt x="381" y="949"/>
                </a:lnTo>
                <a:lnTo>
                  <a:pt x="382" y="951"/>
                </a:lnTo>
                <a:lnTo>
                  <a:pt x="383" y="952"/>
                </a:lnTo>
                <a:lnTo>
                  <a:pt x="384" y="956"/>
                </a:lnTo>
                <a:lnTo>
                  <a:pt x="385" y="961"/>
                </a:lnTo>
                <a:lnTo>
                  <a:pt x="452" y="1250"/>
                </a:lnTo>
                <a:lnTo>
                  <a:pt x="521" y="963"/>
                </a:lnTo>
                <a:lnTo>
                  <a:pt x="522" y="958"/>
                </a:lnTo>
                <a:lnTo>
                  <a:pt x="524" y="954"/>
                </a:lnTo>
                <a:lnTo>
                  <a:pt x="525" y="952"/>
                </a:lnTo>
                <a:lnTo>
                  <a:pt x="526" y="950"/>
                </a:lnTo>
                <a:lnTo>
                  <a:pt x="528" y="949"/>
                </a:lnTo>
                <a:lnTo>
                  <a:pt x="530" y="948"/>
                </a:lnTo>
                <a:lnTo>
                  <a:pt x="533" y="947"/>
                </a:lnTo>
                <a:lnTo>
                  <a:pt x="536" y="947"/>
                </a:lnTo>
                <a:lnTo>
                  <a:pt x="543" y="946"/>
                </a:lnTo>
                <a:lnTo>
                  <a:pt x="552" y="945"/>
                </a:lnTo>
                <a:lnTo>
                  <a:pt x="564" y="945"/>
                </a:lnTo>
                <a:lnTo>
                  <a:pt x="587" y="945"/>
                </a:lnTo>
                <a:lnTo>
                  <a:pt x="594" y="946"/>
                </a:lnTo>
                <a:lnTo>
                  <a:pt x="600" y="948"/>
                </a:lnTo>
                <a:lnTo>
                  <a:pt x="604" y="950"/>
                </a:lnTo>
                <a:lnTo>
                  <a:pt x="606" y="953"/>
                </a:lnTo>
                <a:lnTo>
                  <a:pt x="608" y="957"/>
                </a:lnTo>
                <a:lnTo>
                  <a:pt x="609" y="963"/>
                </a:lnTo>
                <a:lnTo>
                  <a:pt x="681" y="1250"/>
                </a:lnTo>
                <a:lnTo>
                  <a:pt x="747" y="961"/>
                </a:lnTo>
                <a:lnTo>
                  <a:pt x="748" y="957"/>
                </a:lnTo>
                <a:lnTo>
                  <a:pt x="749" y="953"/>
                </a:lnTo>
                <a:lnTo>
                  <a:pt x="751" y="950"/>
                </a:lnTo>
                <a:lnTo>
                  <a:pt x="753" y="949"/>
                </a:lnTo>
                <a:lnTo>
                  <a:pt x="755" y="948"/>
                </a:lnTo>
                <a:lnTo>
                  <a:pt x="757" y="947"/>
                </a:lnTo>
                <a:lnTo>
                  <a:pt x="760" y="947"/>
                </a:lnTo>
                <a:lnTo>
                  <a:pt x="767" y="946"/>
                </a:lnTo>
                <a:lnTo>
                  <a:pt x="776" y="945"/>
                </a:lnTo>
                <a:lnTo>
                  <a:pt x="788" y="945"/>
                </a:lnTo>
                <a:lnTo>
                  <a:pt x="799" y="945"/>
                </a:lnTo>
                <a:lnTo>
                  <a:pt x="808" y="946"/>
                </a:lnTo>
                <a:lnTo>
                  <a:pt x="814" y="947"/>
                </a:lnTo>
                <a:lnTo>
                  <a:pt x="816" y="948"/>
                </a:lnTo>
                <a:lnTo>
                  <a:pt x="818" y="950"/>
                </a:lnTo>
                <a:lnTo>
                  <a:pt x="820" y="951"/>
                </a:lnTo>
                <a:lnTo>
                  <a:pt x="821" y="953"/>
                </a:lnTo>
                <a:lnTo>
                  <a:pt x="821" y="956"/>
                </a:lnTo>
                <a:lnTo>
                  <a:pt x="821" y="959"/>
                </a:lnTo>
                <a:lnTo>
                  <a:pt x="820" y="966"/>
                </a:lnTo>
                <a:lnTo>
                  <a:pt x="818" y="976"/>
                </a:lnTo>
                <a:lnTo>
                  <a:pt x="732" y="1304"/>
                </a:lnTo>
                <a:close/>
                <a:moveTo>
                  <a:pt x="1875" y="1304"/>
                </a:moveTo>
                <a:lnTo>
                  <a:pt x="1873" y="1311"/>
                </a:lnTo>
                <a:lnTo>
                  <a:pt x="1870" y="1316"/>
                </a:lnTo>
                <a:lnTo>
                  <a:pt x="1868" y="1318"/>
                </a:lnTo>
                <a:lnTo>
                  <a:pt x="1866" y="1319"/>
                </a:lnTo>
                <a:lnTo>
                  <a:pt x="1861" y="1322"/>
                </a:lnTo>
                <a:lnTo>
                  <a:pt x="1854" y="1324"/>
                </a:lnTo>
                <a:lnTo>
                  <a:pt x="1845" y="1325"/>
                </a:lnTo>
                <a:lnTo>
                  <a:pt x="1834" y="1326"/>
                </a:lnTo>
                <a:lnTo>
                  <a:pt x="1821" y="1326"/>
                </a:lnTo>
                <a:lnTo>
                  <a:pt x="1806" y="1326"/>
                </a:lnTo>
                <a:lnTo>
                  <a:pt x="1794" y="1325"/>
                </a:lnTo>
                <a:lnTo>
                  <a:pt x="1785" y="1324"/>
                </a:lnTo>
                <a:lnTo>
                  <a:pt x="1778" y="1322"/>
                </a:lnTo>
                <a:lnTo>
                  <a:pt x="1776" y="1321"/>
                </a:lnTo>
                <a:lnTo>
                  <a:pt x="1773" y="1319"/>
                </a:lnTo>
                <a:lnTo>
                  <a:pt x="1771" y="1318"/>
                </a:lnTo>
                <a:lnTo>
                  <a:pt x="1770" y="1316"/>
                </a:lnTo>
                <a:lnTo>
                  <a:pt x="1769" y="1313"/>
                </a:lnTo>
                <a:lnTo>
                  <a:pt x="1767" y="1311"/>
                </a:lnTo>
                <a:lnTo>
                  <a:pt x="1766" y="1304"/>
                </a:lnTo>
                <a:lnTo>
                  <a:pt x="1704" y="1065"/>
                </a:lnTo>
                <a:lnTo>
                  <a:pt x="1647" y="1304"/>
                </a:lnTo>
                <a:lnTo>
                  <a:pt x="1645" y="1310"/>
                </a:lnTo>
                <a:lnTo>
                  <a:pt x="1643" y="1315"/>
                </a:lnTo>
                <a:lnTo>
                  <a:pt x="1641" y="1317"/>
                </a:lnTo>
                <a:lnTo>
                  <a:pt x="1639" y="1319"/>
                </a:lnTo>
                <a:lnTo>
                  <a:pt x="1637" y="1321"/>
                </a:lnTo>
                <a:lnTo>
                  <a:pt x="1634" y="1322"/>
                </a:lnTo>
                <a:lnTo>
                  <a:pt x="1628" y="1324"/>
                </a:lnTo>
                <a:lnTo>
                  <a:pt x="1619" y="1325"/>
                </a:lnTo>
                <a:lnTo>
                  <a:pt x="1607" y="1326"/>
                </a:lnTo>
                <a:lnTo>
                  <a:pt x="1593" y="1326"/>
                </a:lnTo>
                <a:lnTo>
                  <a:pt x="1578" y="1326"/>
                </a:lnTo>
                <a:lnTo>
                  <a:pt x="1566" y="1325"/>
                </a:lnTo>
                <a:lnTo>
                  <a:pt x="1557" y="1324"/>
                </a:lnTo>
                <a:lnTo>
                  <a:pt x="1550" y="1322"/>
                </a:lnTo>
                <a:lnTo>
                  <a:pt x="1548" y="1321"/>
                </a:lnTo>
                <a:lnTo>
                  <a:pt x="1545" y="1319"/>
                </a:lnTo>
                <a:lnTo>
                  <a:pt x="1543" y="1318"/>
                </a:lnTo>
                <a:lnTo>
                  <a:pt x="1542" y="1316"/>
                </a:lnTo>
                <a:lnTo>
                  <a:pt x="1539" y="1311"/>
                </a:lnTo>
                <a:lnTo>
                  <a:pt x="1537" y="1304"/>
                </a:lnTo>
                <a:lnTo>
                  <a:pt x="1452" y="975"/>
                </a:lnTo>
                <a:lnTo>
                  <a:pt x="1450" y="966"/>
                </a:lnTo>
                <a:lnTo>
                  <a:pt x="1449" y="959"/>
                </a:lnTo>
                <a:lnTo>
                  <a:pt x="1449" y="956"/>
                </a:lnTo>
                <a:lnTo>
                  <a:pt x="1450" y="953"/>
                </a:lnTo>
                <a:lnTo>
                  <a:pt x="1451" y="951"/>
                </a:lnTo>
                <a:lnTo>
                  <a:pt x="1452" y="950"/>
                </a:lnTo>
                <a:lnTo>
                  <a:pt x="1454" y="948"/>
                </a:lnTo>
                <a:lnTo>
                  <a:pt x="1457" y="947"/>
                </a:lnTo>
                <a:lnTo>
                  <a:pt x="1460" y="946"/>
                </a:lnTo>
                <a:lnTo>
                  <a:pt x="1464" y="946"/>
                </a:lnTo>
                <a:lnTo>
                  <a:pt x="1474" y="945"/>
                </a:lnTo>
                <a:lnTo>
                  <a:pt x="1487" y="945"/>
                </a:lnTo>
                <a:lnTo>
                  <a:pt x="1509" y="945"/>
                </a:lnTo>
                <a:lnTo>
                  <a:pt x="1516" y="946"/>
                </a:lnTo>
                <a:lnTo>
                  <a:pt x="1521" y="947"/>
                </a:lnTo>
                <a:lnTo>
                  <a:pt x="1524" y="949"/>
                </a:lnTo>
                <a:lnTo>
                  <a:pt x="1526" y="951"/>
                </a:lnTo>
                <a:lnTo>
                  <a:pt x="1526" y="952"/>
                </a:lnTo>
                <a:lnTo>
                  <a:pt x="1528" y="956"/>
                </a:lnTo>
                <a:lnTo>
                  <a:pt x="1529" y="961"/>
                </a:lnTo>
                <a:lnTo>
                  <a:pt x="1595" y="1250"/>
                </a:lnTo>
                <a:lnTo>
                  <a:pt x="1664" y="963"/>
                </a:lnTo>
                <a:lnTo>
                  <a:pt x="1665" y="958"/>
                </a:lnTo>
                <a:lnTo>
                  <a:pt x="1667" y="954"/>
                </a:lnTo>
                <a:lnTo>
                  <a:pt x="1668" y="952"/>
                </a:lnTo>
                <a:lnTo>
                  <a:pt x="1670" y="950"/>
                </a:lnTo>
                <a:lnTo>
                  <a:pt x="1671" y="949"/>
                </a:lnTo>
                <a:lnTo>
                  <a:pt x="1674" y="948"/>
                </a:lnTo>
                <a:lnTo>
                  <a:pt x="1676" y="947"/>
                </a:lnTo>
                <a:lnTo>
                  <a:pt x="1679" y="947"/>
                </a:lnTo>
                <a:lnTo>
                  <a:pt x="1686" y="946"/>
                </a:lnTo>
                <a:lnTo>
                  <a:pt x="1695" y="945"/>
                </a:lnTo>
                <a:lnTo>
                  <a:pt x="1708" y="945"/>
                </a:lnTo>
                <a:lnTo>
                  <a:pt x="1730" y="945"/>
                </a:lnTo>
                <a:lnTo>
                  <a:pt x="1738" y="946"/>
                </a:lnTo>
                <a:lnTo>
                  <a:pt x="1743" y="948"/>
                </a:lnTo>
                <a:lnTo>
                  <a:pt x="1747" y="950"/>
                </a:lnTo>
                <a:lnTo>
                  <a:pt x="1750" y="953"/>
                </a:lnTo>
                <a:lnTo>
                  <a:pt x="1751" y="957"/>
                </a:lnTo>
                <a:lnTo>
                  <a:pt x="1753" y="963"/>
                </a:lnTo>
                <a:lnTo>
                  <a:pt x="1824" y="1250"/>
                </a:lnTo>
                <a:lnTo>
                  <a:pt x="1890" y="961"/>
                </a:lnTo>
                <a:lnTo>
                  <a:pt x="1891" y="957"/>
                </a:lnTo>
                <a:lnTo>
                  <a:pt x="1893" y="953"/>
                </a:lnTo>
                <a:lnTo>
                  <a:pt x="1895" y="950"/>
                </a:lnTo>
                <a:lnTo>
                  <a:pt x="1896" y="949"/>
                </a:lnTo>
                <a:lnTo>
                  <a:pt x="1898" y="948"/>
                </a:lnTo>
                <a:lnTo>
                  <a:pt x="1901" y="947"/>
                </a:lnTo>
                <a:lnTo>
                  <a:pt x="1903" y="947"/>
                </a:lnTo>
                <a:lnTo>
                  <a:pt x="1910" y="946"/>
                </a:lnTo>
                <a:lnTo>
                  <a:pt x="1919" y="945"/>
                </a:lnTo>
                <a:lnTo>
                  <a:pt x="1931" y="945"/>
                </a:lnTo>
                <a:lnTo>
                  <a:pt x="1943" y="945"/>
                </a:lnTo>
                <a:lnTo>
                  <a:pt x="1951" y="946"/>
                </a:lnTo>
                <a:lnTo>
                  <a:pt x="1957" y="947"/>
                </a:lnTo>
                <a:lnTo>
                  <a:pt x="1960" y="948"/>
                </a:lnTo>
                <a:lnTo>
                  <a:pt x="1962" y="950"/>
                </a:lnTo>
                <a:lnTo>
                  <a:pt x="1963" y="951"/>
                </a:lnTo>
                <a:lnTo>
                  <a:pt x="1964" y="953"/>
                </a:lnTo>
                <a:lnTo>
                  <a:pt x="1964" y="956"/>
                </a:lnTo>
                <a:lnTo>
                  <a:pt x="1964" y="959"/>
                </a:lnTo>
                <a:lnTo>
                  <a:pt x="1963" y="966"/>
                </a:lnTo>
                <a:lnTo>
                  <a:pt x="1961" y="976"/>
                </a:lnTo>
                <a:lnTo>
                  <a:pt x="1875" y="1304"/>
                </a:lnTo>
                <a:close/>
                <a:moveTo>
                  <a:pt x="1303" y="1304"/>
                </a:moveTo>
                <a:lnTo>
                  <a:pt x="1301" y="1311"/>
                </a:lnTo>
                <a:lnTo>
                  <a:pt x="1298" y="1316"/>
                </a:lnTo>
                <a:lnTo>
                  <a:pt x="1296" y="1318"/>
                </a:lnTo>
                <a:lnTo>
                  <a:pt x="1294" y="1319"/>
                </a:lnTo>
                <a:lnTo>
                  <a:pt x="1289" y="1322"/>
                </a:lnTo>
                <a:lnTo>
                  <a:pt x="1282" y="1324"/>
                </a:lnTo>
                <a:lnTo>
                  <a:pt x="1273" y="1325"/>
                </a:lnTo>
                <a:lnTo>
                  <a:pt x="1262" y="1326"/>
                </a:lnTo>
                <a:lnTo>
                  <a:pt x="1249" y="1326"/>
                </a:lnTo>
                <a:lnTo>
                  <a:pt x="1234" y="1326"/>
                </a:lnTo>
                <a:lnTo>
                  <a:pt x="1222" y="1325"/>
                </a:lnTo>
                <a:lnTo>
                  <a:pt x="1213" y="1324"/>
                </a:lnTo>
                <a:lnTo>
                  <a:pt x="1206" y="1322"/>
                </a:lnTo>
                <a:lnTo>
                  <a:pt x="1203" y="1321"/>
                </a:lnTo>
                <a:lnTo>
                  <a:pt x="1201" y="1319"/>
                </a:lnTo>
                <a:lnTo>
                  <a:pt x="1199" y="1318"/>
                </a:lnTo>
                <a:lnTo>
                  <a:pt x="1198" y="1316"/>
                </a:lnTo>
                <a:lnTo>
                  <a:pt x="1196" y="1313"/>
                </a:lnTo>
                <a:lnTo>
                  <a:pt x="1195" y="1311"/>
                </a:lnTo>
                <a:lnTo>
                  <a:pt x="1194" y="1304"/>
                </a:lnTo>
                <a:lnTo>
                  <a:pt x="1133" y="1065"/>
                </a:lnTo>
                <a:lnTo>
                  <a:pt x="1075" y="1304"/>
                </a:lnTo>
                <a:lnTo>
                  <a:pt x="1074" y="1310"/>
                </a:lnTo>
                <a:lnTo>
                  <a:pt x="1071" y="1315"/>
                </a:lnTo>
                <a:lnTo>
                  <a:pt x="1070" y="1317"/>
                </a:lnTo>
                <a:lnTo>
                  <a:pt x="1068" y="1319"/>
                </a:lnTo>
                <a:lnTo>
                  <a:pt x="1066" y="1321"/>
                </a:lnTo>
                <a:lnTo>
                  <a:pt x="1063" y="1322"/>
                </a:lnTo>
                <a:lnTo>
                  <a:pt x="1056" y="1324"/>
                </a:lnTo>
                <a:lnTo>
                  <a:pt x="1048" y="1325"/>
                </a:lnTo>
                <a:lnTo>
                  <a:pt x="1036" y="1326"/>
                </a:lnTo>
                <a:lnTo>
                  <a:pt x="1022" y="1326"/>
                </a:lnTo>
                <a:lnTo>
                  <a:pt x="1007" y="1326"/>
                </a:lnTo>
                <a:lnTo>
                  <a:pt x="995" y="1325"/>
                </a:lnTo>
                <a:lnTo>
                  <a:pt x="986" y="1324"/>
                </a:lnTo>
                <a:lnTo>
                  <a:pt x="979" y="1322"/>
                </a:lnTo>
                <a:lnTo>
                  <a:pt x="976" y="1321"/>
                </a:lnTo>
                <a:lnTo>
                  <a:pt x="974" y="1319"/>
                </a:lnTo>
                <a:lnTo>
                  <a:pt x="972" y="1318"/>
                </a:lnTo>
                <a:lnTo>
                  <a:pt x="971" y="1316"/>
                </a:lnTo>
                <a:lnTo>
                  <a:pt x="968" y="1311"/>
                </a:lnTo>
                <a:lnTo>
                  <a:pt x="966" y="1304"/>
                </a:lnTo>
                <a:lnTo>
                  <a:pt x="881" y="975"/>
                </a:lnTo>
                <a:lnTo>
                  <a:pt x="879" y="966"/>
                </a:lnTo>
                <a:lnTo>
                  <a:pt x="878" y="959"/>
                </a:lnTo>
                <a:lnTo>
                  <a:pt x="878" y="956"/>
                </a:lnTo>
                <a:lnTo>
                  <a:pt x="878" y="953"/>
                </a:lnTo>
                <a:lnTo>
                  <a:pt x="879" y="951"/>
                </a:lnTo>
                <a:lnTo>
                  <a:pt x="881" y="950"/>
                </a:lnTo>
                <a:lnTo>
                  <a:pt x="883" y="948"/>
                </a:lnTo>
                <a:lnTo>
                  <a:pt x="886" y="947"/>
                </a:lnTo>
                <a:lnTo>
                  <a:pt x="889" y="946"/>
                </a:lnTo>
                <a:lnTo>
                  <a:pt x="893" y="946"/>
                </a:lnTo>
                <a:lnTo>
                  <a:pt x="903" y="945"/>
                </a:lnTo>
                <a:lnTo>
                  <a:pt x="916" y="945"/>
                </a:lnTo>
                <a:lnTo>
                  <a:pt x="938" y="945"/>
                </a:lnTo>
                <a:lnTo>
                  <a:pt x="945" y="946"/>
                </a:lnTo>
                <a:lnTo>
                  <a:pt x="950" y="947"/>
                </a:lnTo>
                <a:lnTo>
                  <a:pt x="953" y="949"/>
                </a:lnTo>
                <a:lnTo>
                  <a:pt x="954" y="951"/>
                </a:lnTo>
                <a:lnTo>
                  <a:pt x="955" y="952"/>
                </a:lnTo>
                <a:lnTo>
                  <a:pt x="957" y="956"/>
                </a:lnTo>
                <a:lnTo>
                  <a:pt x="958" y="961"/>
                </a:lnTo>
                <a:lnTo>
                  <a:pt x="1024" y="1250"/>
                </a:lnTo>
                <a:lnTo>
                  <a:pt x="1093" y="963"/>
                </a:lnTo>
                <a:lnTo>
                  <a:pt x="1094" y="958"/>
                </a:lnTo>
                <a:lnTo>
                  <a:pt x="1096" y="954"/>
                </a:lnTo>
                <a:lnTo>
                  <a:pt x="1097" y="952"/>
                </a:lnTo>
                <a:lnTo>
                  <a:pt x="1099" y="950"/>
                </a:lnTo>
                <a:lnTo>
                  <a:pt x="1100" y="949"/>
                </a:lnTo>
                <a:lnTo>
                  <a:pt x="1102" y="948"/>
                </a:lnTo>
                <a:lnTo>
                  <a:pt x="1105" y="947"/>
                </a:lnTo>
                <a:lnTo>
                  <a:pt x="1108" y="947"/>
                </a:lnTo>
                <a:lnTo>
                  <a:pt x="1115" y="946"/>
                </a:lnTo>
                <a:lnTo>
                  <a:pt x="1124" y="945"/>
                </a:lnTo>
                <a:lnTo>
                  <a:pt x="1136" y="945"/>
                </a:lnTo>
                <a:lnTo>
                  <a:pt x="1158" y="945"/>
                </a:lnTo>
                <a:lnTo>
                  <a:pt x="1165" y="946"/>
                </a:lnTo>
                <a:lnTo>
                  <a:pt x="1171" y="948"/>
                </a:lnTo>
                <a:lnTo>
                  <a:pt x="1175" y="950"/>
                </a:lnTo>
                <a:lnTo>
                  <a:pt x="1177" y="953"/>
                </a:lnTo>
                <a:lnTo>
                  <a:pt x="1179" y="957"/>
                </a:lnTo>
                <a:lnTo>
                  <a:pt x="1181" y="963"/>
                </a:lnTo>
                <a:lnTo>
                  <a:pt x="1252" y="1250"/>
                </a:lnTo>
                <a:lnTo>
                  <a:pt x="1318" y="961"/>
                </a:lnTo>
                <a:lnTo>
                  <a:pt x="1319" y="957"/>
                </a:lnTo>
                <a:lnTo>
                  <a:pt x="1320" y="953"/>
                </a:lnTo>
                <a:lnTo>
                  <a:pt x="1323" y="950"/>
                </a:lnTo>
                <a:lnTo>
                  <a:pt x="1324" y="949"/>
                </a:lnTo>
                <a:lnTo>
                  <a:pt x="1326" y="948"/>
                </a:lnTo>
                <a:lnTo>
                  <a:pt x="1328" y="947"/>
                </a:lnTo>
                <a:lnTo>
                  <a:pt x="1331" y="947"/>
                </a:lnTo>
                <a:lnTo>
                  <a:pt x="1338" y="946"/>
                </a:lnTo>
                <a:lnTo>
                  <a:pt x="1347" y="945"/>
                </a:lnTo>
                <a:lnTo>
                  <a:pt x="1359" y="945"/>
                </a:lnTo>
                <a:lnTo>
                  <a:pt x="1371" y="945"/>
                </a:lnTo>
                <a:lnTo>
                  <a:pt x="1379" y="946"/>
                </a:lnTo>
                <a:lnTo>
                  <a:pt x="1385" y="947"/>
                </a:lnTo>
                <a:lnTo>
                  <a:pt x="1388" y="948"/>
                </a:lnTo>
                <a:lnTo>
                  <a:pt x="1389" y="950"/>
                </a:lnTo>
                <a:lnTo>
                  <a:pt x="1391" y="951"/>
                </a:lnTo>
                <a:lnTo>
                  <a:pt x="1392" y="953"/>
                </a:lnTo>
                <a:lnTo>
                  <a:pt x="1392" y="956"/>
                </a:lnTo>
                <a:lnTo>
                  <a:pt x="1392" y="959"/>
                </a:lnTo>
                <a:lnTo>
                  <a:pt x="1391" y="966"/>
                </a:lnTo>
                <a:lnTo>
                  <a:pt x="1389" y="976"/>
                </a:lnTo>
                <a:lnTo>
                  <a:pt x="1303" y="1304"/>
                </a:lnTo>
                <a:close/>
                <a:moveTo>
                  <a:pt x="0" y="1135"/>
                </a:moveTo>
                <a:lnTo>
                  <a:pt x="0" y="1106"/>
                </a:lnTo>
                <a:lnTo>
                  <a:pt x="2" y="1077"/>
                </a:lnTo>
                <a:lnTo>
                  <a:pt x="3" y="1048"/>
                </a:lnTo>
                <a:lnTo>
                  <a:pt x="6" y="1019"/>
                </a:lnTo>
                <a:lnTo>
                  <a:pt x="9" y="991"/>
                </a:lnTo>
                <a:lnTo>
                  <a:pt x="13" y="963"/>
                </a:lnTo>
                <a:lnTo>
                  <a:pt x="18" y="935"/>
                </a:lnTo>
                <a:lnTo>
                  <a:pt x="23" y="907"/>
                </a:lnTo>
                <a:lnTo>
                  <a:pt x="29" y="879"/>
                </a:lnTo>
                <a:lnTo>
                  <a:pt x="36" y="852"/>
                </a:lnTo>
                <a:lnTo>
                  <a:pt x="43" y="825"/>
                </a:lnTo>
                <a:lnTo>
                  <a:pt x="51" y="798"/>
                </a:lnTo>
                <a:lnTo>
                  <a:pt x="60" y="772"/>
                </a:lnTo>
                <a:lnTo>
                  <a:pt x="69" y="745"/>
                </a:lnTo>
                <a:lnTo>
                  <a:pt x="79" y="720"/>
                </a:lnTo>
                <a:lnTo>
                  <a:pt x="89" y="694"/>
                </a:lnTo>
                <a:lnTo>
                  <a:pt x="100" y="669"/>
                </a:lnTo>
                <a:lnTo>
                  <a:pt x="112" y="644"/>
                </a:lnTo>
                <a:lnTo>
                  <a:pt x="124" y="619"/>
                </a:lnTo>
                <a:lnTo>
                  <a:pt x="137" y="595"/>
                </a:lnTo>
                <a:lnTo>
                  <a:pt x="150" y="571"/>
                </a:lnTo>
                <a:lnTo>
                  <a:pt x="164" y="546"/>
                </a:lnTo>
                <a:lnTo>
                  <a:pt x="179" y="523"/>
                </a:lnTo>
                <a:lnTo>
                  <a:pt x="194" y="500"/>
                </a:lnTo>
                <a:lnTo>
                  <a:pt x="209" y="478"/>
                </a:lnTo>
                <a:lnTo>
                  <a:pt x="225" y="456"/>
                </a:lnTo>
                <a:lnTo>
                  <a:pt x="242" y="434"/>
                </a:lnTo>
                <a:lnTo>
                  <a:pt x="259" y="413"/>
                </a:lnTo>
                <a:lnTo>
                  <a:pt x="277" y="392"/>
                </a:lnTo>
                <a:lnTo>
                  <a:pt x="295" y="372"/>
                </a:lnTo>
                <a:lnTo>
                  <a:pt x="313" y="352"/>
                </a:lnTo>
                <a:lnTo>
                  <a:pt x="332" y="333"/>
                </a:lnTo>
                <a:lnTo>
                  <a:pt x="352" y="313"/>
                </a:lnTo>
                <a:lnTo>
                  <a:pt x="372" y="295"/>
                </a:lnTo>
                <a:lnTo>
                  <a:pt x="392" y="277"/>
                </a:lnTo>
                <a:lnTo>
                  <a:pt x="413" y="259"/>
                </a:lnTo>
                <a:lnTo>
                  <a:pt x="434" y="242"/>
                </a:lnTo>
                <a:lnTo>
                  <a:pt x="456" y="226"/>
                </a:lnTo>
                <a:lnTo>
                  <a:pt x="478" y="210"/>
                </a:lnTo>
                <a:lnTo>
                  <a:pt x="500" y="194"/>
                </a:lnTo>
                <a:lnTo>
                  <a:pt x="523" y="179"/>
                </a:lnTo>
                <a:lnTo>
                  <a:pt x="546" y="165"/>
                </a:lnTo>
                <a:lnTo>
                  <a:pt x="571" y="151"/>
                </a:lnTo>
                <a:lnTo>
                  <a:pt x="595" y="137"/>
                </a:lnTo>
                <a:lnTo>
                  <a:pt x="619" y="124"/>
                </a:lnTo>
                <a:lnTo>
                  <a:pt x="643" y="112"/>
                </a:lnTo>
                <a:lnTo>
                  <a:pt x="668" y="101"/>
                </a:lnTo>
                <a:lnTo>
                  <a:pt x="694" y="90"/>
                </a:lnTo>
                <a:lnTo>
                  <a:pt x="719" y="79"/>
                </a:lnTo>
                <a:lnTo>
                  <a:pt x="745" y="69"/>
                </a:lnTo>
                <a:lnTo>
                  <a:pt x="771" y="60"/>
                </a:lnTo>
                <a:lnTo>
                  <a:pt x="798" y="51"/>
                </a:lnTo>
                <a:lnTo>
                  <a:pt x="825" y="43"/>
                </a:lnTo>
                <a:lnTo>
                  <a:pt x="852" y="36"/>
                </a:lnTo>
                <a:lnTo>
                  <a:pt x="879" y="29"/>
                </a:lnTo>
                <a:lnTo>
                  <a:pt x="906" y="23"/>
                </a:lnTo>
                <a:lnTo>
                  <a:pt x="934" y="18"/>
                </a:lnTo>
                <a:lnTo>
                  <a:pt x="962" y="13"/>
                </a:lnTo>
                <a:lnTo>
                  <a:pt x="991" y="10"/>
                </a:lnTo>
                <a:lnTo>
                  <a:pt x="1019" y="6"/>
                </a:lnTo>
                <a:lnTo>
                  <a:pt x="1048" y="4"/>
                </a:lnTo>
                <a:lnTo>
                  <a:pt x="1077" y="2"/>
                </a:lnTo>
                <a:lnTo>
                  <a:pt x="1106" y="1"/>
                </a:lnTo>
                <a:lnTo>
                  <a:pt x="1135" y="0"/>
                </a:lnTo>
                <a:lnTo>
                  <a:pt x="1164" y="1"/>
                </a:lnTo>
                <a:lnTo>
                  <a:pt x="1193" y="2"/>
                </a:lnTo>
                <a:lnTo>
                  <a:pt x="1222" y="4"/>
                </a:lnTo>
                <a:lnTo>
                  <a:pt x="1251" y="6"/>
                </a:lnTo>
                <a:lnTo>
                  <a:pt x="1279" y="10"/>
                </a:lnTo>
                <a:lnTo>
                  <a:pt x="1308" y="13"/>
                </a:lnTo>
                <a:lnTo>
                  <a:pt x="1336" y="18"/>
                </a:lnTo>
                <a:lnTo>
                  <a:pt x="1363" y="23"/>
                </a:lnTo>
                <a:lnTo>
                  <a:pt x="1391" y="29"/>
                </a:lnTo>
                <a:lnTo>
                  <a:pt x="1418" y="36"/>
                </a:lnTo>
                <a:lnTo>
                  <a:pt x="1445" y="43"/>
                </a:lnTo>
                <a:lnTo>
                  <a:pt x="1472" y="51"/>
                </a:lnTo>
                <a:lnTo>
                  <a:pt x="1499" y="60"/>
                </a:lnTo>
                <a:lnTo>
                  <a:pt x="1525" y="69"/>
                </a:lnTo>
                <a:lnTo>
                  <a:pt x="1551" y="79"/>
                </a:lnTo>
                <a:lnTo>
                  <a:pt x="1576" y="90"/>
                </a:lnTo>
                <a:lnTo>
                  <a:pt x="1602" y="101"/>
                </a:lnTo>
                <a:lnTo>
                  <a:pt x="1627" y="112"/>
                </a:lnTo>
                <a:lnTo>
                  <a:pt x="1651" y="124"/>
                </a:lnTo>
                <a:lnTo>
                  <a:pt x="1675" y="137"/>
                </a:lnTo>
                <a:lnTo>
                  <a:pt x="1699" y="151"/>
                </a:lnTo>
                <a:lnTo>
                  <a:pt x="1724" y="165"/>
                </a:lnTo>
                <a:lnTo>
                  <a:pt x="1747" y="179"/>
                </a:lnTo>
                <a:lnTo>
                  <a:pt x="1770" y="194"/>
                </a:lnTo>
                <a:lnTo>
                  <a:pt x="1792" y="210"/>
                </a:lnTo>
                <a:lnTo>
                  <a:pt x="1814" y="226"/>
                </a:lnTo>
                <a:lnTo>
                  <a:pt x="1836" y="242"/>
                </a:lnTo>
                <a:lnTo>
                  <a:pt x="1857" y="259"/>
                </a:lnTo>
                <a:lnTo>
                  <a:pt x="1878" y="277"/>
                </a:lnTo>
                <a:lnTo>
                  <a:pt x="1898" y="295"/>
                </a:lnTo>
                <a:lnTo>
                  <a:pt x="1918" y="313"/>
                </a:lnTo>
                <a:lnTo>
                  <a:pt x="1938" y="333"/>
                </a:lnTo>
                <a:lnTo>
                  <a:pt x="1957" y="352"/>
                </a:lnTo>
                <a:lnTo>
                  <a:pt x="1975" y="372"/>
                </a:lnTo>
                <a:lnTo>
                  <a:pt x="1993" y="392"/>
                </a:lnTo>
                <a:lnTo>
                  <a:pt x="2011" y="413"/>
                </a:lnTo>
                <a:lnTo>
                  <a:pt x="2028" y="434"/>
                </a:lnTo>
                <a:lnTo>
                  <a:pt x="2045" y="456"/>
                </a:lnTo>
                <a:lnTo>
                  <a:pt x="2061" y="478"/>
                </a:lnTo>
                <a:lnTo>
                  <a:pt x="2076" y="500"/>
                </a:lnTo>
                <a:lnTo>
                  <a:pt x="2091" y="523"/>
                </a:lnTo>
                <a:lnTo>
                  <a:pt x="2106" y="546"/>
                </a:lnTo>
                <a:lnTo>
                  <a:pt x="2120" y="571"/>
                </a:lnTo>
                <a:lnTo>
                  <a:pt x="2133" y="595"/>
                </a:lnTo>
                <a:lnTo>
                  <a:pt x="2146" y="619"/>
                </a:lnTo>
                <a:lnTo>
                  <a:pt x="2158" y="644"/>
                </a:lnTo>
                <a:lnTo>
                  <a:pt x="2170" y="669"/>
                </a:lnTo>
                <a:lnTo>
                  <a:pt x="2181" y="694"/>
                </a:lnTo>
                <a:lnTo>
                  <a:pt x="2191" y="720"/>
                </a:lnTo>
                <a:lnTo>
                  <a:pt x="2201" y="745"/>
                </a:lnTo>
                <a:lnTo>
                  <a:pt x="2210" y="772"/>
                </a:lnTo>
                <a:lnTo>
                  <a:pt x="2219" y="798"/>
                </a:lnTo>
                <a:lnTo>
                  <a:pt x="2227" y="825"/>
                </a:lnTo>
                <a:lnTo>
                  <a:pt x="2234" y="852"/>
                </a:lnTo>
                <a:lnTo>
                  <a:pt x="2241" y="879"/>
                </a:lnTo>
                <a:lnTo>
                  <a:pt x="2247" y="907"/>
                </a:lnTo>
                <a:lnTo>
                  <a:pt x="2252" y="935"/>
                </a:lnTo>
                <a:lnTo>
                  <a:pt x="2257" y="963"/>
                </a:lnTo>
                <a:lnTo>
                  <a:pt x="2261" y="991"/>
                </a:lnTo>
                <a:lnTo>
                  <a:pt x="2264" y="1019"/>
                </a:lnTo>
                <a:lnTo>
                  <a:pt x="2267" y="1048"/>
                </a:lnTo>
                <a:lnTo>
                  <a:pt x="2268" y="1077"/>
                </a:lnTo>
                <a:lnTo>
                  <a:pt x="2269" y="1106"/>
                </a:lnTo>
                <a:lnTo>
                  <a:pt x="2270" y="1135"/>
                </a:lnTo>
                <a:lnTo>
                  <a:pt x="2269" y="1165"/>
                </a:lnTo>
                <a:lnTo>
                  <a:pt x="2268" y="1194"/>
                </a:lnTo>
                <a:lnTo>
                  <a:pt x="2267" y="1223"/>
                </a:lnTo>
                <a:lnTo>
                  <a:pt x="2264" y="1251"/>
                </a:lnTo>
                <a:lnTo>
                  <a:pt x="2261" y="1280"/>
                </a:lnTo>
                <a:lnTo>
                  <a:pt x="2257" y="1308"/>
                </a:lnTo>
                <a:lnTo>
                  <a:pt x="2252" y="1336"/>
                </a:lnTo>
                <a:lnTo>
                  <a:pt x="2247" y="1364"/>
                </a:lnTo>
                <a:lnTo>
                  <a:pt x="2241" y="1391"/>
                </a:lnTo>
                <a:lnTo>
                  <a:pt x="2234" y="1419"/>
                </a:lnTo>
                <a:lnTo>
                  <a:pt x="2227" y="1446"/>
                </a:lnTo>
                <a:lnTo>
                  <a:pt x="2219" y="1472"/>
                </a:lnTo>
                <a:lnTo>
                  <a:pt x="2210" y="1499"/>
                </a:lnTo>
                <a:lnTo>
                  <a:pt x="2201" y="1525"/>
                </a:lnTo>
                <a:lnTo>
                  <a:pt x="2191" y="1551"/>
                </a:lnTo>
                <a:lnTo>
                  <a:pt x="2181" y="1577"/>
                </a:lnTo>
                <a:lnTo>
                  <a:pt x="2170" y="1602"/>
                </a:lnTo>
                <a:lnTo>
                  <a:pt x="2158" y="1627"/>
                </a:lnTo>
                <a:lnTo>
                  <a:pt x="2146" y="1651"/>
                </a:lnTo>
                <a:lnTo>
                  <a:pt x="2133" y="1676"/>
                </a:lnTo>
                <a:lnTo>
                  <a:pt x="2120" y="1700"/>
                </a:lnTo>
                <a:lnTo>
                  <a:pt x="2106" y="1724"/>
                </a:lnTo>
                <a:lnTo>
                  <a:pt x="2091" y="1747"/>
                </a:lnTo>
                <a:lnTo>
                  <a:pt x="2076" y="1770"/>
                </a:lnTo>
                <a:lnTo>
                  <a:pt x="2061" y="1793"/>
                </a:lnTo>
                <a:lnTo>
                  <a:pt x="2045" y="1815"/>
                </a:lnTo>
                <a:lnTo>
                  <a:pt x="2028" y="1836"/>
                </a:lnTo>
                <a:lnTo>
                  <a:pt x="2011" y="1858"/>
                </a:lnTo>
                <a:lnTo>
                  <a:pt x="1993" y="1878"/>
                </a:lnTo>
                <a:lnTo>
                  <a:pt x="1975" y="1899"/>
                </a:lnTo>
                <a:lnTo>
                  <a:pt x="1957" y="1919"/>
                </a:lnTo>
                <a:lnTo>
                  <a:pt x="1938" y="1938"/>
                </a:lnTo>
                <a:lnTo>
                  <a:pt x="1918" y="1957"/>
                </a:lnTo>
                <a:lnTo>
                  <a:pt x="1898" y="1976"/>
                </a:lnTo>
                <a:lnTo>
                  <a:pt x="1878" y="1994"/>
                </a:lnTo>
                <a:lnTo>
                  <a:pt x="1857" y="2011"/>
                </a:lnTo>
                <a:lnTo>
                  <a:pt x="1836" y="2028"/>
                </a:lnTo>
                <a:lnTo>
                  <a:pt x="1814" y="2045"/>
                </a:lnTo>
                <a:lnTo>
                  <a:pt x="1792" y="2061"/>
                </a:lnTo>
                <a:lnTo>
                  <a:pt x="1770" y="2076"/>
                </a:lnTo>
                <a:lnTo>
                  <a:pt x="1747" y="2091"/>
                </a:lnTo>
                <a:lnTo>
                  <a:pt x="1724" y="2106"/>
                </a:lnTo>
                <a:lnTo>
                  <a:pt x="1699" y="2120"/>
                </a:lnTo>
                <a:lnTo>
                  <a:pt x="1675" y="2133"/>
                </a:lnTo>
                <a:lnTo>
                  <a:pt x="1651" y="2146"/>
                </a:lnTo>
                <a:lnTo>
                  <a:pt x="1627" y="2158"/>
                </a:lnTo>
                <a:lnTo>
                  <a:pt x="1602" y="2170"/>
                </a:lnTo>
                <a:lnTo>
                  <a:pt x="1576" y="2181"/>
                </a:lnTo>
                <a:lnTo>
                  <a:pt x="1551" y="2191"/>
                </a:lnTo>
                <a:lnTo>
                  <a:pt x="1525" y="2201"/>
                </a:lnTo>
                <a:lnTo>
                  <a:pt x="1499" y="2211"/>
                </a:lnTo>
                <a:lnTo>
                  <a:pt x="1472" y="2219"/>
                </a:lnTo>
                <a:lnTo>
                  <a:pt x="1445" y="2227"/>
                </a:lnTo>
                <a:lnTo>
                  <a:pt x="1418" y="2234"/>
                </a:lnTo>
                <a:lnTo>
                  <a:pt x="1391" y="2241"/>
                </a:lnTo>
                <a:lnTo>
                  <a:pt x="1363" y="2247"/>
                </a:lnTo>
                <a:lnTo>
                  <a:pt x="1336" y="2252"/>
                </a:lnTo>
                <a:lnTo>
                  <a:pt x="1308" y="2257"/>
                </a:lnTo>
                <a:lnTo>
                  <a:pt x="1279" y="2261"/>
                </a:lnTo>
                <a:lnTo>
                  <a:pt x="1251" y="2264"/>
                </a:lnTo>
                <a:lnTo>
                  <a:pt x="1222" y="2267"/>
                </a:lnTo>
                <a:lnTo>
                  <a:pt x="1193" y="2269"/>
                </a:lnTo>
                <a:lnTo>
                  <a:pt x="1164" y="2270"/>
                </a:lnTo>
                <a:lnTo>
                  <a:pt x="1135" y="2270"/>
                </a:lnTo>
                <a:lnTo>
                  <a:pt x="1106" y="2270"/>
                </a:lnTo>
                <a:lnTo>
                  <a:pt x="1077" y="2269"/>
                </a:lnTo>
                <a:lnTo>
                  <a:pt x="1048" y="2267"/>
                </a:lnTo>
                <a:lnTo>
                  <a:pt x="1019" y="2264"/>
                </a:lnTo>
                <a:lnTo>
                  <a:pt x="991" y="2261"/>
                </a:lnTo>
                <a:lnTo>
                  <a:pt x="962" y="2257"/>
                </a:lnTo>
                <a:lnTo>
                  <a:pt x="934" y="2252"/>
                </a:lnTo>
                <a:lnTo>
                  <a:pt x="906" y="2247"/>
                </a:lnTo>
                <a:lnTo>
                  <a:pt x="879" y="2241"/>
                </a:lnTo>
                <a:lnTo>
                  <a:pt x="852" y="2234"/>
                </a:lnTo>
                <a:lnTo>
                  <a:pt x="825" y="2227"/>
                </a:lnTo>
                <a:lnTo>
                  <a:pt x="798" y="2219"/>
                </a:lnTo>
                <a:lnTo>
                  <a:pt x="771" y="2211"/>
                </a:lnTo>
                <a:lnTo>
                  <a:pt x="745" y="2201"/>
                </a:lnTo>
                <a:lnTo>
                  <a:pt x="719" y="2191"/>
                </a:lnTo>
                <a:lnTo>
                  <a:pt x="694" y="2181"/>
                </a:lnTo>
                <a:lnTo>
                  <a:pt x="668" y="2170"/>
                </a:lnTo>
                <a:lnTo>
                  <a:pt x="643" y="2158"/>
                </a:lnTo>
                <a:lnTo>
                  <a:pt x="619" y="2146"/>
                </a:lnTo>
                <a:lnTo>
                  <a:pt x="595" y="2133"/>
                </a:lnTo>
                <a:lnTo>
                  <a:pt x="571" y="2120"/>
                </a:lnTo>
                <a:lnTo>
                  <a:pt x="546" y="2106"/>
                </a:lnTo>
                <a:lnTo>
                  <a:pt x="523" y="2091"/>
                </a:lnTo>
                <a:lnTo>
                  <a:pt x="500" y="2076"/>
                </a:lnTo>
                <a:lnTo>
                  <a:pt x="478" y="2061"/>
                </a:lnTo>
                <a:lnTo>
                  <a:pt x="456" y="2045"/>
                </a:lnTo>
                <a:lnTo>
                  <a:pt x="434" y="2028"/>
                </a:lnTo>
                <a:lnTo>
                  <a:pt x="413" y="2011"/>
                </a:lnTo>
                <a:lnTo>
                  <a:pt x="392" y="1994"/>
                </a:lnTo>
                <a:lnTo>
                  <a:pt x="372" y="1976"/>
                </a:lnTo>
                <a:lnTo>
                  <a:pt x="352" y="1957"/>
                </a:lnTo>
                <a:lnTo>
                  <a:pt x="332" y="1938"/>
                </a:lnTo>
                <a:lnTo>
                  <a:pt x="313" y="1919"/>
                </a:lnTo>
                <a:lnTo>
                  <a:pt x="295" y="1899"/>
                </a:lnTo>
                <a:lnTo>
                  <a:pt x="277" y="1878"/>
                </a:lnTo>
                <a:lnTo>
                  <a:pt x="259" y="1858"/>
                </a:lnTo>
                <a:lnTo>
                  <a:pt x="242" y="1836"/>
                </a:lnTo>
                <a:lnTo>
                  <a:pt x="225" y="1815"/>
                </a:lnTo>
                <a:lnTo>
                  <a:pt x="209" y="1793"/>
                </a:lnTo>
                <a:lnTo>
                  <a:pt x="194" y="1770"/>
                </a:lnTo>
                <a:lnTo>
                  <a:pt x="179" y="1747"/>
                </a:lnTo>
                <a:lnTo>
                  <a:pt x="164" y="1724"/>
                </a:lnTo>
                <a:lnTo>
                  <a:pt x="150" y="1700"/>
                </a:lnTo>
                <a:lnTo>
                  <a:pt x="137" y="1676"/>
                </a:lnTo>
                <a:lnTo>
                  <a:pt x="124" y="1651"/>
                </a:lnTo>
                <a:lnTo>
                  <a:pt x="112" y="1627"/>
                </a:lnTo>
                <a:lnTo>
                  <a:pt x="100" y="1602"/>
                </a:lnTo>
                <a:lnTo>
                  <a:pt x="89" y="1577"/>
                </a:lnTo>
                <a:lnTo>
                  <a:pt x="79" y="1551"/>
                </a:lnTo>
                <a:lnTo>
                  <a:pt x="69" y="1525"/>
                </a:lnTo>
                <a:lnTo>
                  <a:pt x="60" y="1499"/>
                </a:lnTo>
                <a:lnTo>
                  <a:pt x="51" y="1472"/>
                </a:lnTo>
                <a:lnTo>
                  <a:pt x="43" y="1446"/>
                </a:lnTo>
                <a:lnTo>
                  <a:pt x="36" y="1419"/>
                </a:lnTo>
                <a:lnTo>
                  <a:pt x="29" y="1391"/>
                </a:lnTo>
                <a:lnTo>
                  <a:pt x="23" y="1364"/>
                </a:lnTo>
                <a:lnTo>
                  <a:pt x="18" y="1336"/>
                </a:lnTo>
                <a:lnTo>
                  <a:pt x="13" y="1308"/>
                </a:lnTo>
                <a:lnTo>
                  <a:pt x="9" y="1280"/>
                </a:lnTo>
                <a:lnTo>
                  <a:pt x="6" y="1251"/>
                </a:lnTo>
                <a:lnTo>
                  <a:pt x="3" y="1223"/>
                </a:lnTo>
                <a:lnTo>
                  <a:pt x="2" y="1194"/>
                </a:lnTo>
                <a:lnTo>
                  <a:pt x="0" y="1165"/>
                </a:lnTo>
                <a:lnTo>
                  <a:pt x="0" y="1135"/>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p>
        </p:txBody>
      </p:sp>
      <p:pic>
        <p:nvPicPr>
          <p:cNvPr id="17" name="Graphic 16">
            <a:extLst>
              <a:ext uri="{FF2B5EF4-FFF2-40B4-BE49-F238E27FC236}">
                <a16:creationId xmlns:a16="http://schemas.microsoft.com/office/drawing/2014/main" id="{41929B04-BEC7-4D0F-9EFB-FBF41DBB3C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945002" y="596698"/>
            <a:ext cx="2397381" cy="958952"/>
          </a:xfrm>
          <a:prstGeom prst="rect">
            <a:avLst/>
          </a:prstGeom>
        </p:spPr>
      </p:pic>
    </p:spTree>
    <p:extLst>
      <p:ext uri="{BB962C8B-B14F-4D97-AF65-F5344CB8AC3E}">
        <p14:creationId xmlns:p14="http://schemas.microsoft.com/office/powerpoint/2010/main" val="223328780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54EFE4E5-6FE3-429D-AA60-8342539C78C4}" type="datetime4">
              <a:rPr lang="en-GB" smtClean="0"/>
              <a:t>16 February 2023</a:t>
            </a:fld>
            <a:endParaRPr lang="fi-FI"/>
          </a:p>
        </p:txBody>
      </p:sp>
      <p:sp>
        <p:nvSpPr>
          <p:cNvPr id="3" name="Footer Placeholder 2"/>
          <p:cNvSpPr>
            <a:spLocks noGrp="1"/>
          </p:cNvSpPr>
          <p:nvPr>
            <p:ph type="ftr" sz="quarter" idx="11"/>
          </p:nvPr>
        </p:nvSpPr>
        <p:spPr/>
        <p:txBody>
          <a:bodyPr/>
          <a:lstStyle>
            <a:lvl1pPr>
              <a:defRPr>
                <a:noFill/>
              </a:defRPr>
            </a:lvl1pPr>
          </a:lstStyle>
          <a:p>
            <a:r>
              <a:rPr lang="fi-FI"/>
              <a:t>CONFIDENTIAL</a:t>
            </a:r>
          </a:p>
        </p:txBody>
      </p:sp>
      <p:sp>
        <p:nvSpPr>
          <p:cNvPr id="4" name="Slide Number Placeholder 3"/>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1" name="Title 1"/>
          <p:cNvSpPr>
            <a:spLocks noGrp="1"/>
          </p:cNvSpPr>
          <p:nvPr>
            <p:ph type="title" hasCustomPrompt="1"/>
          </p:nvPr>
        </p:nvSpPr>
        <p:spPr>
          <a:xfrm>
            <a:off x="623888" y="1628775"/>
            <a:ext cx="10944225" cy="1800225"/>
          </a:xfrm>
        </p:spPr>
        <p:txBody>
          <a:bodyPr anchor="b" anchorCtr="0">
            <a:noAutofit/>
          </a:bodyPr>
          <a:lstStyle>
            <a:lvl1pPr algn="ctr">
              <a:defRPr sz="5000" b="1" spc="-100" baseline="0">
                <a:solidFill>
                  <a:schemeClr val="bg1"/>
                </a:solidFill>
              </a:defRPr>
            </a:lvl1pPr>
          </a:lstStyle>
          <a:p>
            <a:r>
              <a:rPr lang="en-US" dirty="0"/>
              <a:t>Add thank you message.</a:t>
            </a:r>
            <a:endParaRPr lang="fi-FI" dirty="0"/>
          </a:p>
        </p:txBody>
      </p:sp>
      <p:sp>
        <p:nvSpPr>
          <p:cNvPr id="18" name="Text Placeholder 22"/>
          <p:cNvSpPr>
            <a:spLocks noGrp="1"/>
          </p:cNvSpPr>
          <p:nvPr>
            <p:ph type="body" sz="quarter" idx="31" hasCustomPrompt="1"/>
          </p:nvPr>
        </p:nvSpPr>
        <p:spPr>
          <a:xfrm>
            <a:off x="623889" y="3645024"/>
            <a:ext cx="10944224" cy="1584201"/>
          </a:xfrm>
        </p:spPr>
        <p:txBody>
          <a:bodyPr/>
          <a:lstStyle>
            <a:lvl1pPr marL="0" indent="0" algn="ctr">
              <a:buFontTx/>
              <a:buNone/>
              <a:defRPr sz="1600" b="1" baseline="0">
                <a:solidFill>
                  <a:schemeClr val="bg1"/>
                </a:solidFill>
              </a:defRPr>
            </a:lvl1pPr>
            <a:lvl2pPr marL="0" indent="0" algn="ctr">
              <a:buFontTx/>
              <a:buNone/>
              <a:defRPr sz="1400">
                <a:solidFill>
                  <a:schemeClr val="bg1"/>
                </a:solidFill>
              </a:defRPr>
            </a:lvl2pPr>
            <a:lvl3pPr marL="0" indent="0" algn="ctr">
              <a:buFontTx/>
              <a:buNone/>
              <a:defRPr sz="1200">
                <a:solidFill>
                  <a:schemeClr val="bg1"/>
                </a:solidFill>
              </a:defRPr>
            </a:lvl3pPr>
            <a:lvl4pPr marL="0" indent="0">
              <a:buFontTx/>
              <a:buNone/>
              <a:defRPr sz="1200">
                <a:solidFill>
                  <a:schemeClr val="bg1"/>
                </a:solidFill>
              </a:defRPr>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Contact details</a:t>
            </a:r>
          </a:p>
          <a:p>
            <a:pPr lvl="1"/>
            <a:r>
              <a:rPr lang="en-US" dirty="0"/>
              <a:t>Address</a:t>
            </a:r>
          </a:p>
          <a:p>
            <a:pPr lvl="1"/>
            <a:endParaRPr lang="en-US" dirty="0"/>
          </a:p>
        </p:txBody>
      </p:sp>
      <p:sp>
        <p:nvSpPr>
          <p:cNvPr id="17" name="Freeform 6">
            <a:hlinkClick r:id="rId2" tooltip="twitter"/>
          </p:cNvPr>
          <p:cNvSpPr>
            <a:spLocks noChangeAspect="1" noEditPoints="1"/>
          </p:cNvSpPr>
          <p:nvPr userDrawn="1"/>
        </p:nvSpPr>
        <p:spPr bwMode="auto">
          <a:xfrm>
            <a:off x="6168008" y="5841388"/>
            <a:ext cx="360000" cy="360000"/>
          </a:xfrm>
          <a:custGeom>
            <a:avLst/>
            <a:gdLst>
              <a:gd name="T0" fmla="*/ 1130 w 2361"/>
              <a:gd name="T1" fmla="*/ 1782 h 2362"/>
              <a:gd name="T2" fmla="*/ 1329 w 2361"/>
              <a:gd name="T3" fmla="*/ 1703 h 2362"/>
              <a:gd name="T4" fmla="*/ 1491 w 2361"/>
              <a:gd name="T5" fmla="*/ 1581 h 2362"/>
              <a:gd name="T6" fmla="*/ 1614 w 2361"/>
              <a:gd name="T7" fmla="*/ 1427 h 2362"/>
              <a:gd name="T8" fmla="*/ 1714 w 2361"/>
              <a:gd name="T9" fmla="*/ 1199 h 2362"/>
              <a:gd name="T10" fmla="*/ 1745 w 2361"/>
              <a:gd name="T11" fmla="*/ 980 h 2362"/>
              <a:gd name="T12" fmla="*/ 1889 w 2361"/>
              <a:gd name="T13" fmla="*/ 792 h 2362"/>
              <a:gd name="T14" fmla="*/ 1744 w 2361"/>
              <a:gd name="T15" fmla="*/ 824 h 2362"/>
              <a:gd name="T16" fmla="*/ 1822 w 2361"/>
              <a:gd name="T17" fmla="*/ 738 h 2362"/>
              <a:gd name="T18" fmla="*/ 1773 w 2361"/>
              <a:gd name="T19" fmla="*/ 716 h 2362"/>
              <a:gd name="T20" fmla="*/ 1621 w 2361"/>
              <a:gd name="T21" fmla="*/ 709 h 2362"/>
              <a:gd name="T22" fmla="*/ 1485 w 2361"/>
              <a:gd name="T23" fmla="*/ 657 h 2362"/>
              <a:gd name="T24" fmla="*/ 1340 w 2361"/>
              <a:gd name="T25" fmla="*/ 679 h 2362"/>
              <a:gd name="T26" fmla="*/ 1230 w 2361"/>
              <a:gd name="T27" fmla="*/ 761 h 2362"/>
              <a:gd name="T28" fmla="*/ 1168 w 2361"/>
              <a:gd name="T29" fmla="*/ 888 h 2362"/>
              <a:gd name="T30" fmla="*/ 1125 w 2361"/>
              <a:gd name="T31" fmla="*/ 1009 h 2362"/>
              <a:gd name="T32" fmla="*/ 913 w 2361"/>
              <a:gd name="T33" fmla="*/ 957 h 2362"/>
              <a:gd name="T34" fmla="*/ 726 w 2361"/>
              <a:gd name="T35" fmla="*/ 855 h 2362"/>
              <a:gd name="T36" fmla="*/ 572 w 2361"/>
              <a:gd name="T37" fmla="*/ 709 h 2362"/>
              <a:gd name="T38" fmla="*/ 532 w 2361"/>
              <a:gd name="T39" fmla="*/ 845 h 2362"/>
              <a:gd name="T40" fmla="*/ 577 w 2361"/>
              <a:gd name="T41" fmla="*/ 1009 h 2362"/>
              <a:gd name="T42" fmla="*/ 661 w 2361"/>
              <a:gd name="T43" fmla="*/ 1097 h 2362"/>
              <a:gd name="T44" fmla="*/ 537 w 2361"/>
              <a:gd name="T45" fmla="*/ 1065 h 2362"/>
              <a:gd name="T46" fmla="*/ 543 w 2361"/>
              <a:gd name="T47" fmla="*/ 1153 h 2362"/>
              <a:gd name="T48" fmla="*/ 605 w 2361"/>
              <a:gd name="T49" fmla="*/ 1258 h 2362"/>
              <a:gd name="T50" fmla="*/ 704 w 2361"/>
              <a:gd name="T51" fmla="*/ 1330 h 2362"/>
              <a:gd name="T52" fmla="*/ 686 w 2361"/>
              <a:gd name="T53" fmla="*/ 1359 h 2362"/>
              <a:gd name="T54" fmla="*/ 660 w 2361"/>
              <a:gd name="T55" fmla="*/ 1416 h 2362"/>
              <a:gd name="T56" fmla="*/ 752 w 2361"/>
              <a:gd name="T57" fmla="*/ 1510 h 2362"/>
              <a:gd name="T58" fmla="*/ 857 w 2361"/>
              <a:gd name="T59" fmla="*/ 1551 h 2362"/>
              <a:gd name="T60" fmla="*/ 792 w 2361"/>
              <a:gd name="T61" fmla="*/ 1625 h 2362"/>
              <a:gd name="T62" fmla="*/ 617 w 2361"/>
              <a:gd name="T63" fmla="*/ 1676 h 2362"/>
              <a:gd name="T64" fmla="*/ 535 w 2361"/>
              <a:gd name="T65" fmla="*/ 1712 h 2362"/>
              <a:gd name="T66" fmla="*/ 768 w 2361"/>
              <a:gd name="T67" fmla="*/ 1794 h 2362"/>
              <a:gd name="T68" fmla="*/ 6 w 2361"/>
              <a:gd name="T69" fmla="*/ 1060 h 2362"/>
              <a:gd name="T70" fmla="*/ 72 w 2361"/>
              <a:gd name="T71" fmla="*/ 775 h 2362"/>
              <a:gd name="T72" fmla="*/ 202 w 2361"/>
              <a:gd name="T73" fmla="*/ 521 h 2362"/>
              <a:gd name="T74" fmla="*/ 387 w 2361"/>
              <a:gd name="T75" fmla="*/ 307 h 2362"/>
              <a:gd name="T76" fmla="*/ 618 w 2361"/>
              <a:gd name="T77" fmla="*/ 143 h 2362"/>
              <a:gd name="T78" fmla="*/ 886 w 2361"/>
              <a:gd name="T79" fmla="*/ 38 h 2362"/>
              <a:gd name="T80" fmla="*/ 1181 w 2361"/>
              <a:gd name="T81" fmla="*/ 0 h 2362"/>
              <a:gd name="T82" fmla="*/ 1476 w 2361"/>
              <a:gd name="T83" fmla="*/ 38 h 2362"/>
              <a:gd name="T84" fmla="*/ 1744 w 2361"/>
              <a:gd name="T85" fmla="*/ 143 h 2362"/>
              <a:gd name="T86" fmla="*/ 1975 w 2361"/>
              <a:gd name="T87" fmla="*/ 307 h 2362"/>
              <a:gd name="T88" fmla="*/ 2159 w 2361"/>
              <a:gd name="T89" fmla="*/ 521 h 2362"/>
              <a:gd name="T90" fmla="*/ 2290 w 2361"/>
              <a:gd name="T91" fmla="*/ 775 h 2362"/>
              <a:gd name="T92" fmla="*/ 2355 w 2361"/>
              <a:gd name="T93" fmla="*/ 1060 h 2362"/>
              <a:gd name="T94" fmla="*/ 2348 w 2361"/>
              <a:gd name="T95" fmla="*/ 1361 h 2362"/>
              <a:gd name="T96" fmla="*/ 2269 w 2361"/>
              <a:gd name="T97" fmla="*/ 1640 h 2362"/>
              <a:gd name="T98" fmla="*/ 2127 w 2361"/>
              <a:gd name="T99" fmla="*/ 1888 h 2362"/>
              <a:gd name="T100" fmla="*/ 1932 w 2361"/>
              <a:gd name="T101" fmla="*/ 2092 h 2362"/>
              <a:gd name="T102" fmla="*/ 1693 w 2361"/>
              <a:gd name="T103" fmla="*/ 2246 h 2362"/>
              <a:gd name="T104" fmla="*/ 1419 w 2361"/>
              <a:gd name="T105" fmla="*/ 2338 h 2362"/>
              <a:gd name="T106" fmla="*/ 1120 w 2361"/>
              <a:gd name="T107" fmla="*/ 2361 h 2362"/>
              <a:gd name="T108" fmla="*/ 830 w 2361"/>
              <a:gd name="T109" fmla="*/ 2309 h 2362"/>
              <a:gd name="T110" fmla="*/ 568 w 2361"/>
              <a:gd name="T111" fmla="*/ 2191 h 2362"/>
              <a:gd name="T112" fmla="*/ 346 w 2361"/>
              <a:gd name="T113" fmla="*/ 2016 h 2362"/>
              <a:gd name="T114" fmla="*/ 172 w 2361"/>
              <a:gd name="T115" fmla="*/ 1794 h 2362"/>
              <a:gd name="T116" fmla="*/ 53 w 2361"/>
              <a:gd name="T117" fmla="*/ 1532 h 2362"/>
              <a:gd name="T118" fmla="*/ 2 w 2361"/>
              <a:gd name="T119" fmla="*/ 1242 h 2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1" h="2362">
                <a:moveTo>
                  <a:pt x="918" y="1807"/>
                </a:moveTo>
                <a:lnTo>
                  <a:pt x="943" y="1806"/>
                </a:lnTo>
                <a:lnTo>
                  <a:pt x="967" y="1805"/>
                </a:lnTo>
                <a:lnTo>
                  <a:pt x="992" y="1804"/>
                </a:lnTo>
                <a:lnTo>
                  <a:pt x="1016" y="1802"/>
                </a:lnTo>
                <a:lnTo>
                  <a:pt x="1039" y="1799"/>
                </a:lnTo>
                <a:lnTo>
                  <a:pt x="1062" y="1796"/>
                </a:lnTo>
                <a:lnTo>
                  <a:pt x="1085" y="1792"/>
                </a:lnTo>
                <a:lnTo>
                  <a:pt x="1107" y="1787"/>
                </a:lnTo>
                <a:lnTo>
                  <a:pt x="1130" y="1782"/>
                </a:lnTo>
                <a:lnTo>
                  <a:pt x="1150" y="1776"/>
                </a:lnTo>
                <a:lnTo>
                  <a:pt x="1172" y="1770"/>
                </a:lnTo>
                <a:lnTo>
                  <a:pt x="1193" y="1763"/>
                </a:lnTo>
                <a:lnTo>
                  <a:pt x="1214" y="1756"/>
                </a:lnTo>
                <a:lnTo>
                  <a:pt x="1234" y="1749"/>
                </a:lnTo>
                <a:lnTo>
                  <a:pt x="1254" y="1740"/>
                </a:lnTo>
                <a:lnTo>
                  <a:pt x="1273" y="1731"/>
                </a:lnTo>
                <a:lnTo>
                  <a:pt x="1292" y="1723"/>
                </a:lnTo>
                <a:lnTo>
                  <a:pt x="1311" y="1712"/>
                </a:lnTo>
                <a:lnTo>
                  <a:pt x="1329" y="1703"/>
                </a:lnTo>
                <a:lnTo>
                  <a:pt x="1346" y="1693"/>
                </a:lnTo>
                <a:lnTo>
                  <a:pt x="1364" y="1681"/>
                </a:lnTo>
                <a:lnTo>
                  <a:pt x="1382" y="1671"/>
                </a:lnTo>
                <a:lnTo>
                  <a:pt x="1398" y="1658"/>
                </a:lnTo>
                <a:lnTo>
                  <a:pt x="1415" y="1647"/>
                </a:lnTo>
                <a:lnTo>
                  <a:pt x="1431" y="1634"/>
                </a:lnTo>
                <a:lnTo>
                  <a:pt x="1446" y="1621"/>
                </a:lnTo>
                <a:lnTo>
                  <a:pt x="1462" y="1608"/>
                </a:lnTo>
                <a:lnTo>
                  <a:pt x="1476" y="1595"/>
                </a:lnTo>
                <a:lnTo>
                  <a:pt x="1491" y="1581"/>
                </a:lnTo>
                <a:lnTo>
                  <a:pt x="1504" y="1567"/>
                </a:lnTo>
                <a:lnTo>
                  <a:pt x="1519" y="1552"/>
                </a:lnTo>
                <a:lnTo>
                  <a:pt x="1532" y="1537"/>
                </a:lnTo>
                <a:lnTo>
                  <a:pt x="1545" y="1523"/>
                </a:lnTo>
                <a:lnTo>
                  <a:pt x="1558" y="1507"/>
                </a:lnTo>
                <a:lnTo>
                  <a:pt x="1569" y="1492"/>
                </a:lnTo>
                <a:lnTo>
                  <a:pt x="1582" y="1476"/>
                </a:lnTo>
                <a:lnTo>
                  <a:pt x="1593" y="1459"/>
                </a:lnTo>
                <a:lnTo>
                  <a:pt x="1603" y="1444"/>
                </a:lnTo>
                <a:lnTo>
                  <a:pt x="1614" y="1427"/>
                </a:lnTo>
                <a:lnTo>
                  <a:pt x="1624" y="1410"/>
                </a:lnTo>
                <a:lnTo>
                  <a:pt x="1634" y="1394"/>
                </a:lnTo>
                <a:lnTo>
                  <a:pt x="1643" y="1377"/>
                </a:lnTo>
                <a:lnTo>
                  <a:pt x="1652" y="1359"/>
                </a:lnTo>
                <a:lnTo>
                  <a:pt x="1661" y="1342"/>
                </a:lnTo>
                <a:lnTo>
                  <a:pt x="1669" y="1325"/>
                </a:lnTo>
                <a:lnTo>
                  <a:pt x="1676" y="1307"/>
                </a:lnTo>
                <a:lnTo>
                  <a:pt x="1691" y="1271"/>
                </a:lnTo>
                <a:lnTo>
                  <a:pt x="1703" y="1235"/>
                </a:lnTo>
                <a:lnTo>
                  <a:pt x="1714" y="1199"/>
                </a:lnTo>
                <a:lnTo>
                  <a:pt x="1723" y="1162"/>
                </a:lnTo>
                <a:lnTo>
                  <a:pt x="1727" y="1144"/>
                </a:lnTo>
                <a:lnTo>
                  <a:pt x="1731" y="1126"/>
                </a:lnTo>
                <a:lnTo>
                  <a:pt x="1735" y="1107"/>
                </a:lnTo>
                <a:lnTo>
                  <a:pt x="1737" y="1090"/>
                </a:lnTo>
                <a:lnTo>
                  <a:pt x="1740" y="1071"/>
                </a:lnTo>
                <a:lnTo>
                  <a:pt x="1741" y="1053"/>
                </a:lnTo>
                <a:lnTo>
                  <a:pt x="1743" y="1034"/>
                </a:lnTo>
                <a:lnTo>
                  <a:pt x="1744" y="1017"/>
                </a:lnTo>
                <a:lnTo>
                  <a:pt x="1745" y="980"/>
                </a:lnTo>
                <a:lnTo>
                  <a:pt x="1744" y="943"/>
                </a:lnTo>
                <a:lnTo>
                  <a:pt x="1765" y="927"/>
                </a:lnTo>
                <a:lnTo>
                  <a:pt x="1785" y="910"/>
                </a:lnTo>
                <a:lnTo>
                  <a:pt x="1804" y="893"/>
                </a:lnTo>
                <a:lnTo>
                  <a:pt x="1823" y="874"/>
                </a:lnTo>
                <a:lnTo>
                  <a:pt x="1841" y="854"/>
                </a:lnTo>
                <a:lnTo>
                  <a:pt x="1857" y="834"/>
                </a:lnTo>
                <a:lnTo>
                  <a:pt x="1866" y="824"/>
                </a:lnTo>
                <a:lnTo>
                  <a:pt x="1874" y="814"/>
                </a:lnTo>
                <a:lnTo>
                  <a:pt x="1889" y="792"/>
                </a:lnTo>
                <a:lnTo>
                  <a:pt x="1869" y="800"/>
                </a:lnTo>
                <a:lnTo>
                  <a:pt x="1849" y="808"/>
                </a:lnTo>
                <a:lnTo>
                  <a:pt x="1828" y="815"/>
                </a:lnTo>
                <a:lnTo>
                  <a:pt x="1807" y="821"/>
                </a:lnTo>
                <a:lnTo>
                  <a:pt x="1787" y="826"/>
                </a:lnTo>
                <a:lnTo>
                  <a:pt x="1766" y="831"/>
                </a:lnTo>
                <a:lnTo>
                  <a:pt x="1744" y="834"/>
                </a:lnTo>
                <a:lnTo>
                  <a:pt x="1722" y="838"/>
                </a:lnTo>
                <a:lnTo>
                  <a:pt x="1734" y="831"/>
                </a:lnTo>
                <a:lnTo>
                  <a:pt x="1744" y="824"/>
                </a:lnTo>
                <a:lnTo>
                  <a:pt x="1754" y="816"/>
                </a:lnTo>
                <a:lnTo>
                  <a:pt x="1764" y="807"/>
                </a:lnTo>
                <a:lnTo>
                  <a:pt x="1774" y="798"/>
                </a:lnTo>
                <a:lnTo>
                  <a:pt x="1784" y="790"/>
                </a:lnTo>
                <a:lnTo>
                  <a:pt x="1792" y="779"/>
                </a:lnTo>
                <a:lnTo>
                  <a:pt x="1800" y="770"/>
                </a:lnTo>
                <a:lnTo>
                  <a:pt x="1804" y="765"/>
                </a:lnTo>
                <a:lnTo>
                  <a:pt x="1809" y="759"/>
                </a:lnTo>
                <a:lnTo>
                  <a:pt x="1816" y="748"/>
                </a:lnTo>
                <a:lnTo>
                  <a:pt x="1822" y="738"/>
                </a:lnTo>
                <a:lnTo>
                  <a:pt x="1829" y="726"/>
                </a:lnTo>
                <a:lnTo>
                  <a:pt x="1835" y="715"/>
                </a:lnTo>
                <a:lnTo>
                  <a:pt x="1841" y="702"/>
                </a:lnTo>
                <a:lnTo>
                  <a:pt x="1845" y="690"/>
                </a:lnTo>
                <a:lnTo>
                  <a:pt x="1850" y="677"/>
                </a:lnTo>
                <a:lnTo>
                  <a:pt x="1828" y="690"/>
                </a:lnTo>
                <a:lnTo>
                  <a:pt x="1806" y="700"/>
                </a:lnTo>
                <a:lnTo>
                  <a:pt x="1795" y="705"/>
                </a:lnTo>
                <a:lnTo>
                  <a:pt x="1785" y="710"/>
                </a:lnTo>
                <a:lnTo>
                  <a:pt x="1773" y="716"/>
                </a:lnTo>
                <a:lnTo>
                  <a:pt x="1762" y="720"/>
                </a:lnTo>
                <a:lnTo>
                  <a:pt x="1738" y="728"/>
                </a:lnTo>
                <a:lnTo>
                  <a:pt x="1714" y="735"/>
                </a:lnTo>
                <a:lnTo>
                  <a:pt x="1690" y="743"/>
                </a:lnTo>
                <a:lnTo>
                  <a:pt x="1677" y="745"/>
                </a:lnTo>
                <a:lnTo>
                  <a:pt x="1665" y="748"/>
                </a:lnTo>
                <a:lnTo>
                  <a:pt x="1655" y="738"/>
                </a:lnTo>
                <a:lnTo>
                  <a:pt x="1644" y="727"/>
                </a:lnTo>
                <a:lnTo>
                  <a:pt x="1634" y="719"/>
                </a:lnTo>
                <a:lnTo>
                  <a:pt x="1621" y="709"/>
                </a:lnTo>
                <a:lnTo>
                  <a:pt x="1610" y="701"/>
                </a:lnTo>
                <a:lnTo>
                  <a:pt x="1597" y="694"/>
                </a:lnTo>
                <a:lnTo>
                  <a:pt x="1584" y="687"/>
                </a:lnTo>
                <a:lnTo>
                  <a:pt x="1571" y="680"/>
                </a:lnTo>
                <a:lnTo>
                  <a:pt x="1558" y="675"/>
                </a:lnTo>
                <a:lnTo>
                  <a:pt x="1543" y="670"/>
                </a:lnTo>
                <a:lnTo>
                  <a:pt x="1528" y="666"/>
                </a:lnTo>
                <a:lnTo>
                  <a:pt x="1514" y="663"/>
                </a:lnTo>
                <a:lnTo>
                  <a:pt x="1499" y="659"/>
                </a:lnTo>
                <a:lnTo>
                  <a:pt x="1485" y="657"/>
                </a:lnTo>
                <a:lnTo>
                  <a:pt x="1469" y="656"/>
                </a:lnTo>
                <a:lnTo>
                  <a:pt x="1453" y="656"/>
                </a:lnTo>
                <a:lnTo>
                  <a:pt x="1438" y="656"/>
                </a:lnTo>
                <a:lnTo>
                  <a:pt x="1423" y="657"/>
                </a:lnTo>
                <a:lnTo>
                  <a:pt x="1409" y="659"/>
                </a:lnTo>
                <a:lnTo>
                  <a:pt x="1395" y="662"/>
                </a:lnTo>
                <a:lnTo>
                  <a:pt x="1381" y="665"/>
                </a:lnTo>
                <a:lnTo>
                  <a:pt x="1367" y="669"/>
                </a:lnTo>
                <a:lnTo>
                  <a:pt x="1353" y="674"/>
                </a:lnTo>
                <a:lnTo>
                  <a:pt x="1340" y="679"/>
                </a:lnTo>
                <a:lnTo>
                  <a:pt x="1327" y="684"/>
                </a:lnTo>
                <a:lnTo>
                  <a:pt x="1315" y="691"/>
                </a:lnTo>
                <a:lnTo>
                  <a:pt x="1302" y="698"/>
                </a:lnTo>
                <a:lnTo>
                  <a:pt x="1291" y="705"/>
                </a:lnTo>
                <a:lnTo>
                  <a:pt x="1280" y="714"/>
                </a:lnTo>
                <a:lnTo>
                  <a:pt x="1268" y="722"/>
                </a:lnTo>
                <a:lnTo>
                  <a:pt x="1258" y="731"/>
                </a:lnTo>
                <a:lnTo>
                  <a:pt x="1248" y="741"/>
                </a:lnTo>
                <a:lnTo>
                  <a:pt x="1238" y="751"/>
                </a:lnTo>
                <a:lnTo>
                  <a:pt x="1230" y="761"/>
                </a:lnTo>
                <a:lnTo>
                  <a:pt x="1220" y="773"/>
                </a:lnTo>
                <a:lnTo>
                  <a:pt x="1212" y="784"/>
                </a:lnTo>
                <a:lnTo>
                  <a:pt x="1205" y="796"/>
                </a:lnTo>
                <a:lnTo>
                  <a:pt x="1197" y="808"/>
                </a:lnTo>
                <a:lnTo>
                  <a:pt x="1191" y="821"/>
                </a:lnTo>
                <a:lnTo>
                  <a:pt x="1186" y="833"/>
                </a:lnTo>
                <a:lnTo>
                  <a:pt x="1181" y="847"/>
                </a:lnTo>
                <a:lnTo>
                  <a:pt x="1175" y="860"/>
                </a:lnTo>
                <a:lnTo>
                  <a:pt x="1172" y="874"/>
                </a:lnTo>
                <a:lnTo>
                  <a:pt x="1168" y="888"/>
                </a:lnTo>
                <a:lnTo>
                  <a:pt x="1166" y="902"/>
                </a:lnTo>
                <a:lnTo>
                  <a:pt x="1164" y="917"/>
                </a:lnTo>
                <a:lnTo>
                  <a:pt x="1163" y="931"/>
                </a:lnTo>
                <a:lnTo>
                  <a:pt x="1163" y="947"/>
                </a:lnTo>
                <a:lnTo>
                  <a:pt x="1163" y="964"/>
                </a:lnTo>
                <a:lnTo>
                  <a:pt x="1165" y="980"/>
                </a:lnTo>
                <a:lnTo>
                  <a:pt x="1167" y="997"/>
                </a:lnTo>
                <a:lnTo>
                  <a:pt x="1170" y="1012"/>
                </a:lnTo>
                <a:lnTo>
                  <a:pt x="1147" y="1011"/>
                </a:lnTo>
                <a:lnTo>
                  <a:pt x="1125" y="1009"/>
                </a:lnTo>
                <a:lnTo>
                  <a:pt x="1104" y="1006"/>
                </a:lnTo>
                <a:lnTo>
                  <a:pt x="1081" y="1003"/>
                </a:lnTo>
                <a:lnTo>
                  <a:pt x="1059" y="1000"/>
                </a:lnTo>
                <a:lnTo>
                  <a:pt x="1038" y="995"/>
                </a:lnTo>
                <a:lnTo>
                  <a:pt x="1016" y="991"/>
                </a:lnTo>
                <a:lnTo>
                  <a:pt x="995" y="984"/>
                </a:lnTo>
                <a:lnTo>
                  <a:pt x="974" y="979"/>
                </a:lnTo>
                <a:lnTo>
                  <a:pt x="954" y="972"/>
                </a:lnTo>
                <a:lnTo>
                  <a:pt x="933" y="966"/>
                </a:lnTo>
                <a:lnTo>
                  <a:pt x="913" y="957"/>
                </a:lnTo>
                <a:lnTo>
                  <a:pt x="892" y="950"/>
                </a:lnTo>
                <a:lnTo>
                  <a:pt x="872" y="941"/>
                </a:lnTo>
                <a:lnTo>
                  <a:pt x="854" y="932"/>
                </a:lnTo>
                <a:lnTo>
                  <a:pt x="834" y="922"/>
                </a:lnTo>
                <a:lnTo>
                  <a:pt x="815" y="913"/>
                </a:lnTo>
                <a:lnTo>
                  <a:pt x="796" y="902"/>
                </a:lnTo>
                <a:lnTo>
                  <a:pt x="779" y="891"/>
                </a:lnTo>
                <a:lnTo>
                  <a:pt x="760" y="879"/>
                </a:lnTo>
                <a:lnTo>
                  <a:pt x="742" y="868"/>
                </a:lnTo>
                <a:lnTo>
                  <a:pt x="726" y="855"/>
                </a:lnTo>
                <a:lnTo>
                  <a:pt x="708" y="843"/>
                </a:lnTo>
                <a:lnTo>
                  <a:pt x="691" y="829"/>
                </a:lnTo>
                <a:lnTo>
                  <a:pt x="676" y="816"/>
                </a:lnTo>
                <a:lnTo>
                  <a:pt x="659" y="801"/>
                </a:lnTo>
                <a:lnTo>
                  <a:pt x="643" y="786"/>
                </a:lnTo>
                <a:lnTo>
                  <a:pt x="629" y="772"/>
                </a:lnTo>
                <a:lnTo>
                  <a:pt x="614" y="757"/>
                </a:lnTo>
                <a:lnTo>
                  <a:pt x="600" y="742"/>
                </a:lnTo>
                <a:lnTo>
                  <a:pt x="585" y="725"/>
                </a:lnTo>
                <a:lnTo>
                  <a:pt x="572" y="709"/>
                </a:lnTo>
                <a:lnTo>
                  <a:pt x="563" y="725"/>
                </a:lnTo>
                <a:lnTo>
                  <a:pt x="559" y="734"/>
                </a:lnTo>
                <a:lnTo>
                  <a:pt x="555" y="743"/>
                </a:lnTo>
                <a:lnTo>
                  <a:pt x="549" y="760"/>
                </a:lnTo>
                <a:lnTo>
                  <a:pt x="542" y="778"/>
                </a:lnTo>
                <a:lnTo>
                  <a:pt x="538" y="797"/>
                </a:lnTo>
                <a:lnTo>
                  <a:pt x="536" y="806"/>
                </a:lnTo>
                <a:lnTo>
                  <a:pt x="535" y="816"/>
                </a:lnTo>
                <a:lnTo>
                  <a:pt x="533" y="835"/>
                </a:lnTo>
                <a:lnTo>
                  <a:pt x="532" y="845"/>
                </a:lnTo>
                <a:lnTo>
                  <a:pt x="532" y="855"/>
                </a:lnTo>
                <a:lnTo>
                  <a:pt x="533" y="874"/>
                </a:lnTo>
                <a:lnTo>
                  <a:pt x="535" y="893"/>
                </a:lnTo>
                <a:lnTo>
                  <a:pt x="537" y="910"/>
                </a:lnTo>
                <a:lnTo>
                  <a:pt x="541" y="928"/>
                </a:lnTo>
                <a:lnTo>
                  <a:pt x="547" y="946"/>
                </a:lnTo>
                <a:lnTo>
                  <a:pt x="553" y="962"/>
                </a:lnTo>
                <a:lnTo>
                  <a:pt x="560" y="978"/>
                </a:lnTo>
                <a:lnTo>
                  <a:pt x="567" y="995"/>
                </a:lnTo>
                <a:lnTo>
                  <a:pt x="577" y="1009"/>
                </a:lnTo>
                <a:lnTo>
                  <a:pt x="586" y="1024"/>
                </a:lnTo>
                <a:lnTo>
                  <a:pt x="597" y="1039"/>
                </a:lnTo>
                <a:lnTo>
                  <a:pt x="608" y="1051"/>
                </a:lnTo>
                <a:lnTo>
                  <a:pt x="614" y="1057"/>
                </a:lnTo>
                <a:lnTo>
                  <a:pt x="620" y="1064"/>
                </a:lnTo>
                <a:lnTo>
                  <a:pt x="627" y="1070"/>
                </a:lnTo>
                <a:lnTo>
                  <a:pt x="634" y="1076"/>
                </a:lnTo>
                <a:lnTo>
                  <a:pt x="648" y="1086"/>
                </a:lnTo>
                <a:lnTo>
                  <a:pt x="654" y="1092"/>
                </a:lnTo>
                <a:lnTo>
                  <a:pt x="661" y="1097"/>
                </a:lnTo>
                <a:lnTo>
                  <a:pt x="643" y="1096"/>
                </a:lnTo>
                <a:lnTo>
                  <a:pt x="627" y="1094"/>
                </a:lnTo>
                <a:lnTo>
                  <a:pt x="609" y="1091"/>
                </a:lnTo>
                <a:lnTo>
                  <a:pt x="592" y="1086"/>
                </a:lnTo>
                <a:lnTo>
                  <a:pt x="584" y="1084"/>
                </a:lnTo>
                <a:lnTo>
                  <a:pt x="577" y="1081"/>
                </a:lnTo>
                <a:lnTo>
                  <a:pt x="560" y="1075"/>
                </a:lnTo>
                <a:lnTo>
                  <a:pt x="553" y="1072"/>
                </a:lnTo>
                <a:lnTo>
                  <a:pt x="544" y="1069"/>
                </a:lnTo>
                <a:lnTo>
                  <a:pt x="537" y="1065"/>
                </a:lnTo>
                <a:lnTo>
                  <a:pt x="530" y="1060"/>
                </a:lnTo>
                <a:lnTo>
                  <a:pt x="530" y="1065"/>
                </a:lnTo>
                <a:lnTo>
                  <a:pt x="530" y="1077"/>
                </a:lnTo>
                <a:lnTo>
                  <a:pt x="531" y="1091"/>
                </a:lnTo>
                <a:lnTo>
                  <a:pt x="532" y="1103"/>
                </a:lnTo>
                <a:lnTo>
                  <a:pt x="534" y="1116"/>
                </a:lnTo>
                <a:lnTo>
                  <a:pt x="537" y="1128"/>
                </a:lnTo>
                <a:lnTo>
                  <a:pt x="538" y="1134"/>
                </a:lnTo>
                <a:lnTo>
                  <a:pt x="540" y="1141"/>
                </a:lnTo>
                <a:lnTo>
                  <a:pt x="543" y="1153"/>
                </a:lnTo>
                <a:lnTo>
                  <a:pt x="548" y="1165"/>
                </a:lnTo>
                <a:lnTo>
                  <a:pt x="552" y="1176"/>
                </a:lnTo>
                <a:lnTo>
                  <a:pt x="557" y="1187"/>
                </a:lnTo>
                <a:lnTo>
                  <a:pt x="562" y="1199"/>
                </a:lnTo>
                <a:lnTo>
                  <a:pt x="568" y="1209"/>
                </a:lnTo>
                <a:lnTo>
                  <a:pt x="575" y="1220"/>
                </a:lnTo>
                <a:lnTo>
                  <a:pt x="582" y="1230"/>
                </a:lnTo>
                <a:lnTo>
                  <a:pt x="589" y="1240"/>
                </a:lnTo>
                <a:lnTo>
                  <a:pt x="597" y="1250"/>
                </a:lnTo>
                <a:lnTo>
                  <a:pt x="605" y="1258"/>
                </a:lnTo>
                <a:lnTo>
                  <a:pt x="613" y="1268"/>
                </a:lnTo>
                <a:lnTo>
                  <a:pt x="622" y="1276"/>
                </a:lnTo>
                <a:lnTo>
                  <a:pt x="631" y="1284"/>
                </a:lnTo>
                <a:lnTo>
                  <a:pt x="640" y="1293"/>
                </a:lnTo>
                <a:lnTo>
                  <a:pt x="650" y="1300"/>
                </a:lnTo>
                <a:lnTo>
                  <a:pt x="660" y="1306"/>
                </a:lnTo>
                <a:lnTo>
                  <a:pt x="670" y="1313"/>
                </a:lnTo>
                <a:lnTo>
                  <a:pt x="681" y="1320"/>
                </a:lnTo>
                <a:lnTo>
                  <a:pt x="692" y="1325"/>
                </a:lnTo>
                <a:lnTo>
                  <a:pt x="704" y="1330"/>
                </a:lnTo>
                <a:lnTo>
                  <a:pt x="715" y="1335"/>
                </a:lnTo>
                <a:lnTo>
                  <a:pt x="727" y="1340"/>
                </a:lnTo>
                <a:lnTo>
                  <a:pt x="738" y="1343"/>
                </a:lnTo>
                <a:lnTo>
                  <a:pt x="751" y="1347"/>
                </a:lnTo>
                <a:lnTo>
                  <a:pt x="763" y="1349"/>
                </a:lnTo>
                <a:lnTo>
                  <a:pt x="744" y="1353"/>
                </a:lnTo>
                <a:lnTo>
                  <a:pt x="735" y="1355"/>
                </a:lnTo>
                <a:lnTo>
                  <a:pt x="726" y="1357"/>
                </a:lnTo>
                <a:lnTo>
                  <a:pt x="706" y="1358"/>
                </a:lnTo>
                <a:lnTo>
                  <a:pt x="686" y="1359"/>
                </a:lnTo>
                <a:lnTo>
                  <a:pt x="673" y="1359"/>
                </a:lnTo>
                <a:lnTo>
                  <a:pt x="659" y="1358"/>
                </a:lnTo>
                <a:lnTo>
                  <a:pt x="645" y="1356"/>
                </a:lnTo>
                <a:lnTo>
                  <a:pt x="632" y="1354"/>
                </a:lnTo>
                <a:lnTo>
                  <a:pt x="635" y="1365"/>
                </a:lnTo>
                <a:lnTo>
                  <a:pt x="639" y="1375"/>
                </a:lnTo>
                <a:lnTo>
                  <a:pt x="644" y="1385"/>
                </a:lnTo>
                <a:lnTo>
                  <a:pt x="649" y="1396"/>
                </a:lnTo>
                <a:lnTo>
                  <a:pt x="654" y="1406"/>
                </a:lnTo>
                <a:lnTo>
                  <a:pt x="660" y="1416"/>
                </a:lnTo>
                <a:lnTo>
                  <a:pt x="665" y="1425"/>
                </a:lnTo>
                <a:lnTo>
                  <a:pt x="671" y="1434"/>
                </a:lnTo>
                <a:lnTo>
                  <a:pt x="685" y="1452"/>
                </a:lnTo>
                <a:lnTo>
                  <a:pt x="692" y="1460"/>
                </a:lnTo>
                <a:lnTo>
                  <a:pt x="701" y="1468"/>
                </a:lnTo>
                <a:lnTo>
                  <a:pt x="708" y="1476"/>
                </a:lnTo>
                <a:lnTo>
                  <a:pt x="716" y="1483"/>
                </a:lnTo>
                <a:lnTo>
                  <a:pt x="725" y="1491"/>
                </a:lnTo>
                <a:lnTo>
                  <a:pt x="734" y="1498"/>
                </a:lnTo>
                <a:lnTo>
                  <a:pt x="752" y="1510"/>
                </a:lnTo>
                <a:lnTo>
                  <a:pt x="761" y="1516"/>
                </a:lnTo>
                <a:lnTo>
                  <a:pt x="771" y="1522"/>
                </a:lnTo>
                <a:lnTo>
                  <a:pt x="781" y="1527"/>
                </a:lnTo>
                <a:lnTo>
                  <a:pt x="791" y="1531"/>
                </a:lnTo>
                <a:lnTo>
                  <a:pt x="802" y="1535"/>
                </a:lnTo>
                <a:lnTo>
                  <a:pt x="812" y="1539"/>
                </a:lnTo>
                <a:lnTo>
                  <a:pt x="824" y="1544"/>
                </a:lnTo>
                <a:lnTo>
                  <a:pt x="834" y="1547"/>
                </a:lnTo>
                <a:lnTo>
                  <a:pt x="845" y="1549"/>
                </a:lnTo>
                <a:lnTo>
                  <a:pt x="857" y="1551"/>
                </a:lnTo>
                <a:lnTo>
                  <a:pt x="868" y="1553"/>
                </a:lnTo>
                <a:lnTo>
                  <a:pt x="880" y="1554"/>
                </a:lnTo>
                <a:lnTo>
                  <a:pt x="891" y="1555"/>
                </a:lnTo>
                <a:lnTo>
                  <a:pt x="903" y="1556"/>
                </a:lnTo>
                <a:lnTo>
                  <a:pt x="884" y="1570"/>
                </a:lnTo>
                <a:lnTo>
                  <a:pt x="864" y="1583"/>
                </a:lnTo>
                <a:lnTo>
                  <a:pt x="844" y="1597"/>
                </a:lnTo>
                <a:lnTo>
                  <a:pt x="824" y="1608"/>
                </a:lnTo>
                <a:lnTo>
                  <a:pt x="803" y="1620"/>
                </a:lnTo>
                <a:lnTo>
                  <a:pt x="792" y="1625"/>
                </a:lnTo>
                <a:lnTo>
                  <a:pt x="781" y="1629"/>
                </a:lnTo>
                <a:lnTo>
                  <a:pt x="770" y="1634"/>
                </a:lnTo>
                <a:lnTo>
                  <a:pt x="759" y="1638"/>
                </a:lnTo>
                <a:lnTo>
                  <a:pt x="736" y="1648"/>
                </a:lnTo>
                <a:lnTo>
                  <a:pt x="713" y="1655"/>
                </a:lnTo>
                <a:lnTo>
                  <a:pt x="702" y="1658"/>
                </a:lnTo>
                <a:lnTo>
                  <a:pt x="690" y="1661"/>
                </a:lnTo>
                <a:lnTo>
                  <a:pt x="666" y="1668"/>
                </a:lnTo>
                <a:lnTo>
                  <a:pt x="642" y="1672"/>
                </a:lnTo>
                <a:lnTo>
                  <a:pt x="617" y="1676"/>
                </a:lnTo>
                <a:lnTo>
                  <a:pt x="592" y="1678"/>
                </a:lnTo>
                <a:lnTo>
                  <a:pt x="567" y="1680"/>
                </a:lnTo>
                <a:lnTo>
                  <a:pt x="542" y="1680"/>
                </a:lnTo>
                <a:lnTo>
                  <a:pt x="525" y="1680"/>
                </a:lnTo>
                <a:lnTo>
                  <a:pt x="507" y="1679"/>
                </a:lnTo>
                <a:lnTo>
                  <a:pt x="490" y="1678"/>
                </a:lnTo>
                <a:lnTo>
                  <a:pt x="473" y="1676"/>
                </a:lnTo>
                <a:lnTo>
                  <a:pt x="498" y="1692"/>
                </a:lnTo>
                <a:lnTo>
                  <a:pt x="523" y="1705"/>
                </a:lnTo>
                <a:lnTo>
                  <a:pt x="535" y="1712"/>
                </a:lnTo>
                <a:lnTo>
                  <a:pt x="548" y="1719"/>
                </a:lnTo>
                <a:lnTo>
                  <a:pt x="561" y="1725"/>
                </a:lnTo>
                <a:lnTo>
                  <a:pt x="574" y="1731"/>
                </a:lnTo>
                <a:lnTo>
                  <a:pt x="601" y="1743"/>
                </a:lnTo>
                <a:lnTo>
                  <a:pt x="627" y="1754"/>
                </a:lnTo>
                <a:lnTo>
                  <a:pt x="655" y="1763"/>
                </a:lnTo>
                <a:lnTo>
                  <a:pt x="682" y="1773"/>
                </a:lnTo>
                <a:lnTo>
                  <a:pt x="711" y="1780"/>
                </a:lnTo>
                <a:lnTo>
                  <a:pt x="739" y="1787"/>
                </a:lnTo>
                <a:lnTo>
                  <a:pt x="768" y="1794"/>
                </a:lnTo>
                <a:lnTo>
                  <a:pt x="797" y="1798"/>
                </a:lnTo>
                <a:lnTo>
                  <a:pt x="828" y="1802"/>
                </a:lnTo>
                <a:lnTo>
                  <a:pt x="857" y="1805"/>
                </a:lnTo>
                <a:lnTo>
                  <a:pt x="888" y="1806"/>
                </a:lnTo>
                <a:lnTo>
                  <a:pt x="918" y="1807"/>
                </a:lnTo>
                <a:close/>
                <a:moveTo>
                  <a:pt x="0" y="1181"/>
                </a:moveTo>
                <a:lnTo>
                  <a:pt x="1" y="1151"/>
                </a:lnTo>
                <a:lnTo>
                  <a:pt x="2" y="1121"/>
                </a:lnTo>
                <a:lnTo>
                  <a:pt x="4" y="1091"/>
                </a:lnTo>
                <a:lnTo>
                  <a:pt x="6" y="1060"/>
                </a:lnTo>
                <a:lnTo>
                  <a:pt x="10" y="1031"/>
                </a:lnTo>
                <a:lnTo>
                  <a:pt x="13" y="1001"/>
                </a:lnTo>
                <a:lnTo>
                  <a:pt x="19" y="972"/>
                </a:lnTo>
                <a:lnTo>
                  <a:pt x="24" y="944"/>
                </a:lnTo>
                <a:lnTo>
                  <a:pt x="30" y="915"/>
                </a:lnTo>
                <a:lnTo>
                  <a:pt x="37" y="886"/>
                </a:lnTo>
                <a:lnTo>
                  <a:pt x="45" y="858"/>
                </a:lnTo>
                <a:lnTo>
                  <a:pt x="53" y="830"/>
                </a:lnTo>
                <a:lnTo>
                  <a:pt x="62" y="802"/>
                </a:lnTo>
                <a:lnTo>
                  <a:pt x="72" y="775"/>
                </a:lnTo>
                <a:lnTo>
                  <a:pt x="82" y="748"/>
                </a:lnTo>
                <a:lnTo>
                  <a:pt x="94" y="722"/>
                </a:lnTo>
                <a:lnTo>
                  <a:pt x="105" y="696"/>
                </a:lnTo>
                <a:lnTo>
                  <a:pt x="117" y="670"/>
                </a:lnTo>
                <a:lnTo>
                  <a:pt x="129" y="644"/>
                </a:lnTo>
                <a:lnTo>
                  <a:pt x="143" y="619"/>
                </a:lnTo>
                <a:lnTo>
                  <a:pt x="157" y="594"/>
                </a:lnTo>
                <a:lnTo>
                  <a:pt x="172" y="569"/>
                </a:lnTo>
                <a:lnTo>
                  <a:pt x="186" y="545"/>
                </a:lnTo>
                <a:lnTo>
                  <a:pt x="202" y="521"/>
                </a:lnTo>
                <a:lnTo>
                  <a:pt x="219" y="498"/>
                </a:lnTo>
                <a:lnTo>
                  <a:pt x="235" y="475"/>
                </a:lnTo>
                <a:lnTo>
                  <a:pt x="252" y="452"/>
                </a:lnTo>
                <a:lnTo>
                  <a:pt x="270" y="430"/>
                </a:lnTo>
                <a:lnTo>
                  <a:pt x="288" y="408"/>
                </a:lnTo>
                <a:lnTo>
                  <a:pt x="307" y="388"/>
                </a:lnTo>
                <a:lnTo>
                  <a:pt x="326" y="367"/>
                </a:lnTo>
                <a:lnTo>
                  <a:pt x="346" y="346"/>
                </a:lnTo>
                <a:lnTo>
                  <a:pt x="366" y="326"/>
                </a:lnTo>
                <a:lnTo>
                  <a:pt x="387" y="307"/>
                </a:lnTo>
                <a:lnTo>
                  <a:pt x="408" y="289"/>
                </a:lnTo>
                <a:lnTo>
                  <a:pt x="430" y="270"/>
                </a:lnTo>
                <a:lnTo>
                  <a:pt x="452" y="252"/>
                </a:lnTo>
                <a:lnTo>
                  <a:pt x="475" y="236"/>
                </a:lnTo>
                <a:lnTo>
                  <a:pt x="498" y="218"/>
                </a:lnTo>
                <a:lnTo>
                  <a:pt x="521" y="202"/>
                </a:lnTo>
                <a:lnTo>
                  <a:pt x="544" y="187"/>
                </a:lnTo>
                <a:lnTo>
                  <a:pt x="568" y="171"/>
                </a:lnTo>
                <a:lnTo>
                  <a:pt x="593" y="157"/>
                </a:lnTo>
                <a:lnTo>
                  <a:pt x="618" y="143"/>
                </a:lnTo>
                <a:lnTo>
                  <a:pt x="643" y="129"/>
                </a:lnTo>
                <a:lnTo>
                  <a:pt x="669" y="117"/>
                </a:lnTo>
                <a:lnTo>
                  <a:pt x="695" y="104"/>
                </a:lnTo>
                <a:lnTo>
                  <a:pt x="721" y="93"/>
                </a:lnTo>
                <a:lnTo>
                  <a:pt x="748" y="82"/>
                </a:lnTo>
                <a:lnTo>
                  <a:pt x="775" y="72"/>
                </a:lnTo>
                <a:lnTo>
                  <a:pt x="803" y="63"/>
                </a:lnTo>
                <a:lnTo>
                  <a:pt x="830" y="53"/>
                </a:lnTo>
                <a:lnTo>
                  <a:pt x="858" y="45"/>
                </a:lnTo>
                <a:lnTo>
                  <a:pt x="886" y="38"/>
                </a:lnTo>
                <a:lnTo>
                  <a:pt x="914" y="30"/>
                </a:lnTo>
                <a:lnTo>
                  <a:pt x="943" y="24"/>
                </a:lnTo>
                <a:lnTo>
                  <a:pt x="972" y="19"/>
                </a:lnTo>
                <a:lnTo>
                  <a:pt x="1002" y="14"/>
                </a:lnTo>
                <a:lnTo>
                  <a:pt x="1031" y="10"/>
                </a:lnTo>
                <a:lnTo>
                  <a:pt x="1060" y="6"/>
                </a:lnTo>
                <a:lnTo>
                  <a:pt x="1090" y="4"/>
                </a:lnTo>
                <a:lnTo>
                  <a:pt x="1120" y="2"/>
                </a:lnTo>
                <a:lnTo>
                  <a:pt x="1150" y="1"/>
                </a:lnTo>
                <a:lnTo>
                  <a:pt x="1181" y="0"/>
                </a:lnTo>
                <a:lnTo>
                  <a:pt x="1212" y="1"/>
                </a:lnTo>
                <a:lnTo>
                  <a:pt x="1242" y="2"/>
                </a:lnTo>
                <a:lnTo>
                  <a:pt x="1271" y="4"/>
                </a:lnTo>
                <a:lnTo>
                  <a:pt x="1301" y="6"/>
                </a:lnTo>
                <a:lnTo>
                  <a:pt x="1332" y="10"/>
                </a:lnTo>
                <a:lnTo>
                  <a:pt x="1361" y="14"/>
                </a:lnTo>
                <a:lnTo>
                  <a:pt x="1390" y="19"/>
                </a:lnTo>
                <a:lnTo>
                  <a:pt x="1419" y="24"/>
                </a:lnTo>
                <a:lnTo>
                  <a:pt x="1447" y="30"/>
                </a:lnTo>
                <a:lnTo>
                  <a:pt x="1476" y="38"/>
                </a:lnTo>
                <a:lnTo>
                  <a:pt x="1504" y="45"/>
                </a:lnTo>
                <a:lnTo>
                  <a:pt x="1532" y="53"/>
                </a:lnTo>
                <a:lnTo>
                  <a:pt x="1560" y="63"/>
                </a:lnTo>
                <a:lnTo>
                  <a:pt x="1587" y="72"/>
                </a:lnTo>
                <a:lnTo>
                  <a:pt x="1614" y="82"/>
                </a:lnTo>
                <a:lnTo>
                  <a:pt x="1641" y="93"/>
                </a:lnTo>
                <a:lnTo>
                  <a:pt x="1667" y="104"/>
                </a:lnTo>
                <a:lnTo>
                  <a:pt x="1693" y="117"/>
                </a:lnTo>
                <a:lnTo>
                  <a:pt x="1718" y="129"/>
                </a:lnTo>
                <a:lnTo>
                  <a:pt x="1744" y="143"/>
                </a:lnTo>
                <a:lnTo>
                  <a:pt x="1769" y="157"/>
                </a:lnTo>
                <a:lnTo>
                  <a:pt x="1793" y="171"/>
                </a:lnTo>
                <a:lnTo>
                  <a:pt x="1817" y="187"/>
                </a:lnTo>
                <a:lnTo>
                  <a:pt x="1841" y="202"/>
                </a:lnTo>
                <a:lnTo>
                  <a:pt x="1865" y="218"/>
                </a:lnTo>
                <a:lnTo>
                  <a:pt x="1888" y="236"/>
                </a:lnTo>
                <a:lnTo>
                  <a:pt x="1910" y="252"/>
                </a:lnTo>
                <a:lnTo>
                  <a:pt x="1932" y="270"/>
                </a:lnTo>
                <a:lnTo>
                  <a:pt x="1953" y="289"/>
                </a:lnTo>
                <a:lnTo>
                  <a:pt x="1975" y="307"/>
                </a:lnTo>
                <a:lnTo>
                  <a:pt x="1996" y="326"/>
                </a:lnTo>
                <a:lnTo>
                  <a:pt x="2016" y="346"/>
                </a:lnTo>
                <a:lnTo>
                  <a:pt x="2035" y="367"/>
                </a:lnTo>
                <a:lnTo>
                  <a:pt x="2055" y="388"/>
                </a:lnTo>
                <a:lnTo>
                  <a:pt x="2074" y="408"/>
                </a:lnTo>
                <a:lnTo>
                  <a:pt x="2092" y="430"/>
                </a:lnTo>
                <a:lnTo>
                  <a:pt x="2109" y="452"/>
                </a:lnTo>
                <a:lnTo>
                  <a:pt x="2127" y="475"/>
                </a:lnTo>
                <a:lnTo>
                  <a:pt x="2144" y="498"/>
                </a:lnTo>
                <a:lnTo>
                  <a:pt x="2159" y="521"/>
                </a:lnTo>
                <a:lnTo>
                  <a:pt x="2175" y="545"/>
                </a:lnTo>
                <a:lnTo>
                  <a:pt x="2191" y="569"/>
                </a:lnTo>
                <a:lnTo>
                  <a:pt x="2205" y="594"/>
                </a:lnTo>
                <a:lnTo>
                  <a:pt x="2219" y="619"/>
                </a:lnTo>
                <a:lnTo>
                  <a:pt x="2232" y="644"/>
                </a:lnTo>
                <a:lnTo>
                  <a:pt x="2245" y="670"/>
                </a:lnTo>
                <a:lnTo>
                  <a:pt x="2257" y="696"/>
                </a:lnTo>
                <a:lnTo>
                  <a:pt x="2269" y="722"/>
                </a:lnTo>
                <a:lnTo>
                  <a:pt x="2279" y="748"/>
                </a:lnTo>
                <a:lnTo>
                  <a:pt x="2290" y="775"/>
                </a:lnTo>
                <a:lnTo>
                  <a:pt x="2300" y="802"/>
                </a:lnTo>
                <a:lnTo>
                  <a:pt x="2308" y="830"/>
                </a:lnTo>
                <a:lnTo>
                  <a:pt x="2317" y="858"/>
                </a:lnTo>
                <a:lnTo>
                  <a:pt x="2324" y="886"/>
                </a:lnTo>
                <a:lnTo>
                  <a:pt x="2331" y="915"/>
                </a:lnTo>
                <a:lnTo>
                  <a:pt x="2337" y="944"/>
                </a:lnTo>
                <a:lnTo>
                  <a:pt x="2343" y="972"/>
                </a:lnTo>
                <a:lnTo>
                  <a:pt x="2348" y="1001"/>
                </a:lnTo>
                <a:lnTo>
                  <a:pt x="2352" y="1031"/>
                </a:lnTo>
                <a:lnTo>
                  <a:pt x="2355" y="1060"/>
                </a:lnTo>
                <a:lnTo>
                  <a:pt x="2358" y="1091"/>
                </a:lnTo>
                <a:lnTo>
                  <a:pt x="2360" y="1121"/>
                </a:lnTo>
                <a:lnTo>
                  <a:pt x="2361" y="1151"/>
                </a:lnTo>
                <a:lnTo>
                  <a:pt x="2361" y="1181"/>
                </a:lnTo>
                <a:lnTo>
                  <a:pt x="2361" y="1211"/>
                </a:lnTo>
                <a:lnTo>
                  <a:pt x="2360" y="1242"/>
                </a:lnTo>
                <a:lnTo>
                  <a:pt x="2358" y="1272"/>
                </a:lnTo>
                <a:lnTo>
                  <a:pt x="2355" y="1302"/>
                </a:lnTo>
                <a:lnTo>
                  <a:pt x="2352" y="1332"/>
                </a:lnTo>
                <a:lnTo>
                  <a:pt x="2348" y="1361"/>
                </a:lnTo>
                <a:lnTo>
                  <a:pt x="2343" y="1391"/>
                </a:lnTo>
                <a:lnTo>
                  <a:pt x="2337" y="1420"/>
                </a:lnTo>
                <a:lnTo>
                  <a:pt x="2331" y="1448"/>
                </a:lnTo>
                <a:lnTo>
                  <a:pt x="2324" y="1477"/>
                </a:lnTo>
                <a:lnTo>
                  <a:pt x="2317" y="1505"/>
                </a:lnTo>
                <a:lnTo>
                  <a:pt x="2308" y="1532"/>
                </a:lnTo>
                <a:lnTo>
                  <a:pt x="2300" y="1560"/>
                </a:lnTo>
                <a:lnTo>
                  <a:pt x="2290" y="1587"/>
                </a:lnTo>
                <a:lnTo>
                  <a:pt x="2279" y="1614"/>
                </a:lnTo>
                <a:lnTo>
                  <a:pt x="2269" y="1640"/>
                </a:lnTo>
                <a:lnTo>
                  <a:pt x="2257" y="1668"/>
                </a:lnTo>
                <a:lnTo>
                  <a:pt x="2245" y="1694"/>
                </a:lnTo>
                <a:lnTo>
                  <a:pt x="2232" y="1719"/>
                </a:lnTo>
                <a:lnTo>
                  <a:pt x="2219" y="1745"/>
                </a:lnTo>
                <a:lnTo>
                  <a:pt x="2205" y="1770"/>
                </a:lnTo>
                <a:lnTo>
                  <a:pt x="2191" y="1794"/>
                </a:lnTo>
                <a:lnTo>
                  <a:pt x="2175" y="1818"/>
                </a:lnTo>
                <a:lnTo>
                  <a:pt x="2159" y="1842"/>
                </a:lnTo>
                <a:lnTo>
                  <a:pt x="2144" y="1865"/>
                </a:lnTo>
                <a:lnTo>
                  <a:pt x="2127" y="1888"/>
                </a:lnTo>
                <a:lnTo>
                  <a:pt x="2109" y="1910"/>
                </a:lnTo>
                <a:lnTo>
                  <a:pt x="2092" y="1932"/>
                </a:lnTo>
                <a:lnTo>
                  <a:pt x="2074" y="1954"/>
                </a:lnTo>
                <a:lnTo>
                  <a:pt x="2055" y="1976"/>
                </a:lnTo>
                <a:lnTo>
                  <a:pt x="2035" y="1996"/>
                </a:lnTo>
                <a:lnTo>
                  <a:pt x="2016" y="2016"/>
                </a:lnTo>
                <a:lnTo>
                  <a:pt x="1996" y="2036"/>
                </a:lnTo>
                <a:lnTo>
                  <a:pt x="1975" y="2055"/>
                </a:lnTo>
                <a:lnTo>
                  <a:pt x="1953" y="2075"/>
                </a:lnTo>
                <a:lnTo>
                  <a:pt x="1932" y="2092"/>
                </a:lnTo>
                <a:lnTo>
                  <a:pt x="1910" y="2110"/>
                </a:lnTo>
                <a:lnTo>
                  <a:pt x="1888" y="2128"/>
                </a:lnTo>
                <a:lnTo>
                  <a:pt x="1865" y="2145"/>
                </a:lnTo>
                <a:lnTo>
                  <a:pt x="1841" y="2160"/>
                </a:lnTo>
                <a:lnTo>
                  <a:pt x="1817" y="2176"/>
                </a:lnTo>
                <a:lnTo>
                  <a:pt x="1793" y="2191"/>
                </a:lnTo>
                <a:lnTo>
                  <a:pt x="1769" y="2206"/>
                </a:lnTo>
                <a:lnTo>
                  <a:pt x="1744" y="2220"/>
                </a:lnTo>
                <a:lnTo>
                  <a:pt x="1718" y="2233"/>
                </a:lnTo>
                <a:lnTo>
                  <a:pt x="1693" y="2246"/>
                </a:lnTo>
                <a:lnTo>
                  <a:pt x="1667" y="2258"/>
                </a:lnTo>
                <a:lnTo>
                  <a:pt x="1641" y="2270"/>
                </a:lnTo>
                <a:lnTo>
                  <a:pt x="1614" y="2280"/>
                </a:lnTo>
                <a:lnTo>
                  <a:pt x="1587" y="2290"/>
                </a:lnTo>
                <a:lnTo>
                  <a:pt x="1560" y="2300"/>
                </a:lnTo>
                <a:lnTo>
                  <a:pt x="1532" y="2309"/>
                </a:lnTo>
                <a:lnTo>
                  <a:pt x="1504" y="2317"/>
                </a:lnTo>
                <a:lnTo>
                  <a:pt x="1476" y="2325"/>
                </a:lnTo>
                <a:lnTo>
                  <a:pt x="1447" y="2332"/>
                </a:lnTo>
                <a:lnTo>
                  <a:pt x="1419" y="2338"/>
                </a:lnTo>
                <a:lnTo>
                  <a:pt x="1390" y="2343"/>
                </a:lnTo>
                <a:lnTo>
                  <a:pt x="1361" y="2349"/>
                </a:lnTo>
                <a:lnTo>
                  <a:pt x="1332" y="2353"/>
                </a:lnTo>
                <a:lnTo>
                  <a:pt x="1301" y="2356"/>
                </a:lnTo>
                <a:lnTo>
                  <a:pt x="1271" y="2359"/>
                </a:lnTo>
                <a:lnTo>
                  <a:pt x="1242" y="2361"/>
                </a:lnTo>
                <a:lnTo>
                  <a:pt x="1212" y="2362"/>
                </a:lnTo>
                <a:lnTo>
                  <a:pt x="1181" y="2362"/>
                </a:lnTo>
                <a:lnTo>
                  <a:pt x="1150" y="2362"/>
                </a:lnTo>
                <a:lnTo>
                  <a:pt x="1120" y="2361"/>
                </a:lnTo>
                <a:lnTo>
                  <a:pt x="1090" y="2359"/>
                </a:lnTo>
                <a:lnTo>
                  <a:pt x="1060" y="2356"/>
                </a:lnTo>
                <a:lnTo>
                  <a:pt x="1031" y="2353"/>
                </a:lnTo>
                <a:lnTo>
                  <a:pt x="1002" y="2349"/>
                </a:lnTo>
                <a:lnTo>
                  <a:pt x="972" y="2343"/>
                </a:lnTo>
                <a:lnTo>
                  <a:pt x="943" y="2338"/>
                </a:lnTo>
                <a:lnTo>
                  <a:pt x="914" y="2332"/>
                </a:lnTo>
                <a:lnTo>
                  <a:pt x="886" y="2325"/>
                </a:lnTo>
                <a:lnTo>
                  <a:pt x="858" y="2317"/>
                </a:lnTo>
                <a:lnTo>
                  <a:pt x="830" y="2309"/>
                </a:lnTo>
                <a:lnTo>
                  <a:pt x="803" y="2300"/>
                </a:lnTo>
                <a:lnTo>
                  <a:pt x="775" y="2290"/>
                </a:lnTo>
                <a:lnTo>
                  <a:pt x="748" y="2280"/>
                </a:lnTo>
                <a:lnTo>
                  <a:pt x="721" y="2270"/>
                </a:lnTo>
                <a:lnTo>
                  <a:pt x="695" y="2258"/>
                </a:lnTo>
                <a:lnTo>
                  <a:pt x="669" y="2246"/>
                </a:lnTo>
                <a:lnTo>
                  <a:pt x="643" y="2233"/>
                </a:lnTo>
                <a:lnTo>
                  <a:pt x="618" y="2220"/>
                </a:lnTo>
                <a:lnTo>
                  <a:pt x="593" y="2206"/>
                </a:lnTo>
                <a:lnTo>
                  <a:pt x="568" y="2191"/>
                </a:lnTo>
                <a:lnTo>
                  <a:pt x="544" y="2176"/>
                </a:lnTo>
                <a:lnTo>
                  <a:pt x="521" y="2160"/>
                </a:lnTo>
                <a:lnTo>
                  <a:pt x="498" y="2145"/>
                </a:lnTo>
                <a:lnTo>
                  <a:pt x="475" y="2128"/>
                </a:lnTo>
                <a:lnTo>
                  <a:pt x="452" y="2110"/>
                </a:lnTo>
                <a:lnTo>
                  <a:pt x="430" y="2092"/>
                </a:lnTo>
                <a:lnTo>
                  <a:pt x="408" y="2075"/>
                </a:lnTo>
                <a:lnTo>
                  <a:pt x="387" y="2055"/>
                </a:lnTo>
                <a:lnTo>
                  <a:pt x="366" y="2036"/>
                </a:lnTo>
                <a:lnTo>
                  <a:pt x="346" y="2016"/>
                </a:lnTo>
                <a:lnTo>
                  <a:pt x="326" y="1996"/>
                </a:lnTo>
                <a:lnTo>
                  <a:pt x="307" y="1976"/>
                </a:lnTo>
                <a:lnTo>
                  <a:pt x="288" y="1954"/>
                </a:lnTo>
                <a:lnTo>
                  <a:pt x="270" y="1932"/>
                </a:lnTo>
                <a:lnTo>
                  <a:pt x="252" y="1910"/>
                </a:lnTo>
                <a:lnTo>
                  <a:pt x="235" y="1888"/>
                </a:lnTo>
                <a:lnTo>
                  <a:pt x="219" y="1865"/>
                </a:lnTo>
                <a:lnTo>
                  <a:pt x="202" y="1842"/>
                </a:lnTo>
                <a:lnTo>
                  <a:pt x="186" y="1818"/>
                </a:lnTo>
                <a:lnTo>
                  <a:pt x="172" y="1794"/>
                </a:lnTo>
                <a:lnTo>
                  <a:pt x="157" y="1770"/>
                </a:lnTo>
                <a:lnTo>
                  <a:pt x="143" y="1745"/>
                </a:lnTo>
                <a:lnTo>
                  <a:pt x="129" y="1719"/>
                </a:lnTo>
                <a:lnTo>
                  <a:pt x="117" y="1694"/>
                </a:lnTo>
                <a:lnTo>
                  <a:pt x="105" y="1668"/>
                </a:lnTo>
                <a:lnTo>
                  <a:pt x="94" y="1640"/>
                </a:lnTo>
                <a:lnTo>
                  <a:pt x="82" y="1614"/>
                </a:lnTo>
                <a:lnTo>
                  <a:pt x="72" y="1587"/>
                </a:lnTo>
                <a:lnTo>
                  <a:pt x="62" y="1560"/>
                </a:lnTo>
                <a:lnTo>
                  <a:pt x="53" y="1532"/>
                </a:lnTo>
                <a:lnTo>
                  <a:pt x="45" y="1505"/>
                </a:lnTo>
                <a:lnTo>
                  <a:pt x="37" y="1477"/>
                </a:lnTo>
                <a:lnTo>
                  <a:pt x="30" y="1448"/>
                </a:lnTo>
                <a:lnTo>
                  <a:pt x="24" y="1420"/>
                </a:lnTo>
                <a:lnTo>
                  <a:pt x="19" y="1391"/>
                </a:lnTo>
                <a:lnTo>
                  <a:pt x="13" y="1361"/>
                </a:lnTo>
                <a:lnTo>
                  <a:pt x="10" y="1332"/>
                </a:lnTo>
                <a:lnTo>
                  <a:pt x="6" y="1302"/>
                </a:lnTo>
                <a:lnTo>
                  <a:pt x="4" y="1272"/>
                </a:lnTo>
                <a:lnTo>
                  <a:pt x="2" y="1242"/>
                </a:lnTo>
                <a:lnTo>
                  <a:pt x="1" y="1211"/>
                </a:lnTo>
                <a:lnTo>
                  <a:pt x="0" y="118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22" name="Freeform 7">
            <a:hlinkClick r:id="rId3" tooltip="linkedin"/>
          </p:cNvPr>
          <p:cNvSpPr>
            <a:spLocks noChangeAspect="1" noEditPoints="1"/>
          </p:cNvSpPr>
          <p:nvPr userDrawn="1"/>
        </p:nvSpPr>
        <p:spPr bwMode="auto">
          <a:xfrm>
            <a:off x="5663992" y="5841388"/>
            <a:ext cx="360000" cy="360000"/>
          </a:xfrm>
          <a:custGeom>
            <a:avLst/>
            <a:gdLst>
              <a:gd name="T0" fmla="*/ 760 w 2361"/>
              <a:gd name="T1" fmla="*/ 594 h 2362"/>
              <a:gd name="T2" fmla="*/ 832 w 2361"/>
              <a:gd name="T3" fmla="*/ 632 h 2362"/>
              <a:gd name="T4" fmla="*/ 867 w 2361"/>
              <a:gd name="T5" fmla="*/ 691 h 2362"/>
              <a:gd name="T6" fmla="*/ 870 w 2361"/>
              <a:gd name="T7" fmla="*/ 761 h 2362"/>
              <a:gd name="T8" fmla="*/ 832 w 2361"/>
              <a:gd name="T9" fmla="*/ 833 h 2362"/>
              <a:gd name="T10" fmla="*/ 774 w 2361"/>
              <a:gd name="T11" fmla="*/ 869 h 2362"/>
              <a:gd name="T12" fmla="*/ 689 w 2361"/>
              <a:gd name="T13" fmla="*/ 869 h 2362"/>
              <a:gd name="T14" fmla="*/ 626 w 2361"/>
              <a:gd name="T15" fmla="*/ 828 h 2362"/>
              <a:gd name="T16" fmla="*/ 593 w 2361"/>
              <a:gd name="T17" fmla="*/ 769 h 2362"/>
              <a:gd name="T18" fmla="*/ 596 w 2361"/>
              <a:gd name="T19" fmla="*/ 691 h 2362"/>
              <a:gd name="T20" fmla="*/ 636 w 2361"/>
              <a:gd name="T21" fmla="*/ 628 h 2362"/>
              <a:gd name="T22" fmla="*/ 696 w 2361"/>
              <a:gd name="T23" fmla="*/ 595 h 2362"/>
              <a:gd name="T24" fmla="*/ 1246 w 2361"/>
              <a:gd name="T25" fmla="*/ 1091 h 2362"/>
              <a:gd name="T26" fmla="*/ 1316 w 2361"/>
              <a:gd name="T27" fmla="*/ 1014 h 2362"/>
              <a:gd name="T28" fmla="*/ 1406 w 2361"/>
              <a:gd name="T29" fmla="*/ 972 h 2362"/>
              <a:gd name="T30" fmla="*/ 1500 w 2361"/>
              <a:gd name="T31" fmla="*/ 964 h 2362"/>
              <a:gd name="T32" fmla="*/ 1628 w 2361"/>
              <a:gd name="T33" fmla="*/ 993 h 2362"/>
              <a:gd name="T34" fmla="*/ 1710 w 2361"/>
              <a:gd name="T35" fmla="*/ 1059 h 2362"/>
              <a:gd name="T36" fmla="*/ 1758 w 2361"/>
              <a:gd name="T37" fmla="*/ 1174 h 2362"/>
              <a:gd name="T38" fmla="*/ 1772 w 2361"/>
              <a:gd name="T39" fmla="*/ 1320 h 2362"/>
              <a:gd name="T40" fmla="*/ 1523 w 2361"/>
              <a:gd name="T41" fmla="*/ 1299 h 2362"/>
              <a:gd name="T42" fmla="*/ 1499 w 2361"/>
              <a:gd name="T43" fmla="*/ 1228 h 2362"/>
              <a:gd name="T44" fmla="*/ 1450 w 2361"/>
              <a:gd name="T45" fmla="*/ 1187 h 2362"/>
              <a:gd name="T46" fmla="*/ 1378 w 2361"/>
              <a:gd name="T47" fmla="*/ 1180 h 2362"/>
              <a:gd name="T48" fmla="*/ 1309 w 2361"/>
              <a:gd name="T49" fmla="*/ 1205 h 2362"/>
              <a:gd name="T50" fmla="*/ 1271 w 2361"/>
              <a:gd name="T51" fmla="*/ 1256 h 2362"/>
              <a:gd name="T52" fmla="*/ 1253 w 2361"/>
              <a:gd name="T53" fmla="*/ 1381 h 2362"/>
              <a:gd name="T54" fmla="*/ 6 w 2361"/>
              <a:gd name="T55" fmla="*/ 1060 h 2362"/>
              <a:gd name="T56" fmla="*/ 53 w 2361"/>
              <a:gd name="T57" fmla="*/ 830 h 2362"/>
              <a:gd name="T58" fmla="*/ 143 w 2361"/>
              <a:gd name="T59" fmla="*/ 619 h 2362"/>
              <a:gd name="T60" fmla="*/ 270 w 2361"/>
              <a:gd name="T61" fmla="*/ 430 h 2362"/>
              <a:gd name="T62" fmla="*/ 430 w 2361"/>
              <a:gd name="T63" fmla="*/ 270 h 2362"/>
              <a:gd name="T64" fmla="*/ 618 w 2361"/>
              <a:gd name="T65" fmla="*/ 143 h 2362"/>
              <a:gd name="T66" fmla="*/ 830 w 2361"/>
              <a:gd name="T67" fmla="*/ 53 h 2362"/>
              <a:gd name="T68" fmla="*/ 1060 w 2361"/>
              <a:gd name="T69" fmla="*/ 6 h 2362"/>
              <a:gd name="T70" fmla="*/ 1302 w 2361"/>
              <a:gd name="T71" fmla="*/ 6 h 2362"/>
              <a:gd name="T72" fmla="*/ 1532 w 2361"/>
              <a:gd name="T73" fmla="*/ 53 h 2362"/>
              <a:gd name="T74" fmla="*/ 1743 w 2361"/>
              <a:gd name="T75" fmla="*/ 143 h 2362"/>
              <a:gd name="T76" fmla="*/ 1931 w 2361"/>
              <a:gd name="T77" fmla="*/ 270 h 2362"/>
              <a:gd name="T78" fmla="*/ 2092 w 2361"/>
              <a:gd name="T79" fmla="*/ 430 h 2362"/>
              <a:gd name="T80" fmla="*/ 2219 w 2361"/>
              <a:gd name="T81" fmla="*/ 619 h 2362"/>
              <a:gd name="T82" fmla="*/ 2308 w 2361"/>
              <a:gd name="T83" fmla="*/ 830 h 2362"/>
              <a:gd name="T84" fmla="*/ 2355 w 2361"/>
              <a:gd name="T85" fmla="*/ 1060 h 2362"/>
              <a:gd name="T86" fmla="*/ 2355 w 2361"/>
              <a:gd name="T87" fmla="*/ 1302 h 2362"/>
              <a:gd name="T88" fmla="*/ 2308 w 2361"/>
              <a:gd name="T89" fmla="*/ 1532 h 2362"/>
              <a:gd name="T90" fmla="*/ 2219 w 2361"/>
              <a:gd name="T91" fmla="*/ 1745 h 2362"/>
              <a:gd name="T92" fmla="*/ 2092 w 2361"/>
              <a:gd name="T93" fmla="*/ 1932 h 2362"/>
              <a:gd name="T94" fmla="*/ 1931 w 2361"/>
              <a:gd name="T95" fmla="*/ 2092 h 2362"/>
              <a:gd name="T96" fmla="*/ 1743 w 2361"/>
              <a:gd name="T97" fmla="*/ 2220 h 2362"/>
              <a:gd name="T98" fmla="*/ 1532 w 2361"/>
              <a:gd name="T99" fmla="*/ 2309 h 2362"/>
              <a:gd name="T100" fmla="*/ 1302 w 2361"/>
              <a:gd name="T101" fmla="*/ 2356 h 2362"/>
              <a:gd name="T102" fmla="*/ 1060 w 2361"/>
              <a:gd name="T103" fmla="*/ 2356 h 2362"/>
              <a:gd name="T104" fmla="*/ 830 w 2361"/>
              <a:gd name="T105" fmla="*/ 2309 h 2362"/>
              <a:gd name="T106" fmla="*/ 618 w 2361"/>
              <a:gd name="T107" fmla="*/ 2220 h 2362"/>
              <a:gd name="T108" fmla="*/ 430 w 2361"/>
              <a:gd name="T109" fmla="*/ 2092 h 2362"/>
              <a:gd name="T110" fmla="*/ 270 w 2361"/>
              <a:gd name="T111" fmla="*/ 1932 h 2362"/>
              <a:gd name="T112" fmla="*/ 143 w 2361"/>
              <a:gd name="T113" fmla="*/ 1745 h 2362"/>
              <a:gd name="T114" fmla="*/ 53 w 2361"/>
              <a:gd name="T115" fmla="*/ 1532 h 2362"/>
              <a:gd name="T116" fmla="*/ 6 w 2361"/>
              <a:gd name="T117" fmla="*/ 1302 h 2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1" h="2362">
                <a:moveTo>
                  <a:pt x="609" y="983"/>
                </a:moveTo>
                <a:lnTo>
                  <a:pt x="854" y="983"/>
                </a:lnTo>
                <a:lnTo>
                  <a:pt x="854" y="1772"/>
                </a:lnTo>
                <a:lnTo>
                  <a:pt x="609" y="1772"/>
                </a:lnTo>
                <a:lnTo>
                  <a:pt x="609" y="983"/>
                </a:lnTo>
                <a:close/>
                <a:moveTo>
                  <a:pt x="732" y="591"/>
                </a:moveTo>
                <a:lnTo>
                  <a:pt x="746" y="592"/>
                </a:lnTo>
                <a:lnTo>
                  <a:pt x="760" y="594"/>
                </a:lnTo>
                <a:lnTo>
                  <a:pt x="774" y="597"/>
                </a:lnTo>
                <a:lnTo>
                  <a:pt x="780" y="599"/>
                </a:lnTo>
                <a:lnTo>
                  <a:pt x="787" y="602"/>
                </a:lnTo>
                <a:lnTo>
                  <a:pt x="800" y="608"/>
                </a:lnTo>
                <a:lnTo>
                  <a:pt x="811" y="615"/>
                </a:lnTo>
                <a:lnTo>
                  <a:pt x="816" y="619"/>
                </a:lnTo>
                <a:lnTo>
                  <a:pt x="822" y="623"/>
                </a:lnTo>
                <a:lnTo>
                  <a:pt x="832" y="632"/>
                </a:lnTo>
                <a:lnTo>
                  <a:pt x="837" y="638"/>
                </a:lnTo>
                <a:lnTo>
                  <a:pt x="841" y="643"/>
                </a:lnTo>
                <a:lnTo>
                  <a:pt x="845" y="648"/>
                </a:lnTo>
                <a:lnTo>
                  <a:pt x="850" y="653"/>
                </a:lnTo>
                <a:lnTo>
                  <a:pt x="857" y="666"/>
                </a:lnTo>
                <a:lnTo>
                  <a:pt x="862" y="678"/>
                </a:lnTo>
                <a:lnTo>
                  <a:pt x="865" y="684"/>
                </a:lnTo>
                <a:lnTo>
                  <a:pt x="867" y="691"/>
                </a:lnTo>
                <a:lnTo>
                  <a:pt x="869" y="698"/>
                </a:lnTo>
                <a:lnTo>
                  <a:pt x="870" y="704"/>
                </a:lnTo>
                <a:lnTo>
                  <a:pt x="872" y="711"/>
                </a:lnTo>
                <a:lnTo>
                  <a:pt x="873" y="719"/>
                </a:lnTo>
                <a:lnTo>
                  <a:pt x="874" y="726"/>
                </a:lnTo>
                <a:lnTo>
                  <a:pt x="874" y="733"/>
                </a:lnTo>
                <a:lnTo>
                  <a:pt x="873" y="748"/>
                </a:lnTo>
                <a:lnTo>
                  <a:pt x="870" y="761"/>
                </a:lnTo>
                <a:lnTo>
                  <a:pt x="867" y="775"/>
                </a:lnTo>
                <a:lnTo>
                  <a:pt x="865" y="782"/>
                </a:lnTo>
                <a:lnTo>
                  <a:pt x="862" y="789"/>
                </a:lnTo>
                <a:lnTo>
                  <a:pt x="857" y="801"/>
                </a:lnTo>
                <a:lnTo>
                  <a:pt x="850" y="813"/>
                </a:lnTo>
                <a:lnTo>
                  <a:pt x="845" y="818"/>
                </a:lnTo>
                <a:lnTo>
                  <a:pt x="841" y="823"/>
                </a:lnTo>
                <a:lnTo>
                  <a:pt x="832" y="833"/>
                </a:lnTo>
                <a:lnTo>
                  <a:pt x="827" y="839"/>
                </a:lnTo>
                <a:lnTo>
                  <a:pt x="822" y="843"/>
                </a:lnTo>
                <a:lnTo>
                  <a:pt x="816" y="847"/>
                </a:lnTo>
                <a:lnTo>
                  <a:pt x="811" y="851"/>
                </a:lnTo>
                <a:lnTo>
                  <a:pt x="800" y="858"/>
                </a:lnTo>
                <a:lnTo>
                  <a:pt x="787" y="864"/>
                </a:lnTo>
                <a:lnTo>
                  <a:pt x="780" y="867"/>
                </a:lnTo>
                <a:lnTo>
                  <a:pt x="774" y="869"/>
                </a:lnTo>
                <a:lnTo>
                  <a:pt x="767" y="871"/>
                </a:lnTo>
                <a:lnTo>
                  <a:pt x="760" y="872"/>
                </a:lnTo>
                <a:lnTo>
                  <a:pt x="753" y="874"/>
                </a:lnTo>
                <a:lnTo>
                  <a:pt x="746" y="874"/>
                </a:lnTo>
                <a:lnTo>
                  <a:pt x="732" y="875"/>
                </a:lnTo>
                <a:lnTo>
                  <a:pt x="717" y="874"/>
                </a:lnTo>
                <a:lnTo>
                  <a:pt x="703" y="872"/>
                </a:lnTo>
                <a:lnTo>
                  <a:pt x="689" y="869"/>
                </a:lnTo>
                <a:lnTo>
                  <a:pt x="683" y="867"/>
                </a:lnTo>
                <a:lnTo>
                  <a:pt x="676" y="864"/>
                </a:lnTo>
                <a:lnTo>
                  <a:pt x="663" y="858"/>
                </a:lnTo>
                <a:lnTo>
                  <a:pt x="652" y="851"/>
                </a:lnTo>
                <a:lnTo>
                  <a:pt x="647" y="847"/>
                </a:lnTo>
                <a:lnTo>
                  <a:pt x="641" y="843"/>
                </a:lnTo>
                <a:lnTo>
                  <a:pt x="631" y="833"/>
                </a:lnTo>
                <a:lnTo>
                  <a:pt x="626" y="828"/>
                </a:lnTo>
                <a:lnTo>
                  <a:pt x="622" y="823"/>
                </a:lnTo>
                <a:lnTo>
                  <a:pt x="617" y="818"/>
                </a:lnTo>
                <a:lnTo>
                  <a:pt x="613" y="813"/>
                </a:lnTo>
                <a:lnTo>
                  <a:pt x="606" y="801"/>
                </a:lnTo>
                <a:lnTo>
                  <a:pt x="601" y="789"/>
                </a:lnTo>
                <a:lnTo>
                  <a:pt x="598" y="782"/>
                </a:lnTo>
                <a:lnTo>
                  <a:pt x="596" y="775"/>
                </a:lnTo>
                <a:lnTo>
                  <a:pt x="593" y="769"/>
                </a:lnTo>
                <a:lnTo>
                  <a:pt x="592" y="761"/>
                </a:lnTo>
                <a:lnTo>
                  <a:pt x="591" y="754"/>
                </a:lnTo>
                <a:lnTo>
                  <a:pt x="590" y="748"/>
                </a:lnTo>
                <a:lnTo>
                  <a:pt x="589" y="741"/>
                </a:lnTo>
                <a:lnTo>
                  <a:pt x="589" y="733"/>
                </a:lnTo>
                <a:lnTo>
                  <a:pt x="590" y="719"/>
                </a:lnTo>
                <a:lnTo>
                  <a:pt x="592" y="704"/>
                </a:lnTo>
                <a:lnTo>
                  <a:pt x="596" y="691"/>
                </a:lnTo>
                <a:lnTo>
                  <a:pt x="598" y="684"/>
                </a:lnTo>
                <a:lnTo>
                  <a:pt x="601" y="678"/>
                </a:lnTo>
                <a:lnTo>
                  <a:pt x="606" y="666"/>
                </a:lnTo>
                <a:lnTo>
                  <a:pt x="613" y="653"/>
                </a:lnTo>
                <a:lnTo>
                  <a:pt x="617" y="648"/>
                </a:lnTo>
                <a:lnTo>
                  <a:pt x="622" y="643"/>
                </a:lnTo>
                <a:lnTo>
                  <a:pt x="631" y="632"/>
                </a:lnTo>
                <a:lnTo>
                  <a:pt x="636" y="628"/>
                </a:lnTo>
                <a:lnTo>
                  <a:pt x="641" y="623"/>
                </a:lnTo>
                <a:lnTo>
                  <a:pt x="647" y="619"/>
                </a:lnTo>
                <a:lnTo>
                  <a:pt x="652" y="615"/>
                </a:lnTo>
                <a:lnTo>
                  <a:pt x="663" y="608"/>
                </a:lnTo>
                <a:lnTo>
                  <a:pt x="676" y="602"/>
                </a:lnTo>
                <a:lnTo>
                  <a:pt x="683" y="599"/>
                </a:lnTo>
                <a:lnTo>
                  <a:pt x="689" y="597"/>
                </a:lnTo>
                <a:lnTo>
                  <a:pt x="696" y="595"/>
                </a:lnTo>
                <a:lnTo>
                  <a:pt x="703" y="594"/>
                </a:lnTo>
                <a:lnTo>
                  <a:pt x="710" y="593"/>
                </a:lnTo>
                <a:lnTo>
                  <a:pt x="717" y="592"/>
                </a:lnTo>
                <a:lnTo>
                  <a:pt x="732" y="591"/>
                </a:lnTo>
                <a:close/>
                <a:moveTo>
                  <a:pt x="1008" y="983"/>
                </a:moveTo>
                <a:lnTo>
                  <a:pt x="1243" y="983"/>
                </a:lnTo>
                <a:lnTo>
                  <a:pt x="1243" y="1091"/>
                </a:lnTo>
                <a:lnTo>
                  <a:pt x="1246" y="1091"/>
                </a:lnTo>
                <a:lnTo>
                  <a:pt x="1249" y="1085"/>
                </a:lnTo>
                <a:lnTo>
                  <a:pt x="1253" y="1079"/>
                </a:lnTo>
                <a:lnTo>
                  <a:pt x="1261" y="1068"/>
                </a:lnTo>
                <a:lnTo>
                  <a:pt x="1269" y="1056"/>
                </a:lnTo>
                <a:lnTo>
                  <a:pt x="1280" y="1045"/>
                </a:lnTo>
                <a:lnTo>
                  <a:pt x="1290" y="1033"/>
                </a:lnTo>
                <a:lnTo>
                  <a:pt x="1303" y="1023"/>
                </a:lnTo>
                <a:lnTo>
                  <a:pt x="1316" y="1014"/>
                </a:lnTo>
                <a:lnTo>
                  <a:pt x="1330" y="1004"/>
                </a:lnTo>
                <a:lnTo>
                  <a:pt x="1337" y="999"/>
                </a:lnTo>
                <a:lnTo>
                  <a:pt x="1345" y="995"/>
                </a:lnTo>
                <a:lnTo>
                  <a:pt x="1353" y="992"/>
                </a:lnTo>
                <a:lnTo>
                  <a:pt x="1361" y="987"/>
                </a:lnTo>
                <a:lnTo>
                  <a:pt x="1379" y="980"/>
                </a:lnTo>
                <a:lnTo>
                  <a:pt x="1396" y="975"/>
                </a:lnTo>
                <a:lnTo>
                  <a:pt x="1406" y="972"/>
                </a:lnTo>
                <a:lnTo>
                  <a:pt x="1415" y="970"/>
                </a:lnTo>
                <a:lnTo>
                  <a:pt x="1425" y="968"/>
                </a:lnTo>
                <a:lnTo>
                  <a:pt x="1435" y="967"/>
                </a:lnTo>
                <a:lnTo>
                  <a:pt x="1445" y="965"/>
                </a:lnTo>
                <a:lnTo>
                  <a:pt x="1457" y="965"/>
                </a:lnTo>
                <a:lnTo>
                  <a:pt x="1467" y="964"/>
                </a:lnTo>
                <a:lnTo>
                  <a:pt x="1479" y="964"/>
                </a:lnTo>
                <a:lnTo>
                  <a:pt x="1500" y="964"/>
                </a:lnTo>
                <a:lnTo>
                  <a:pt x="1522" y="966"/>
                </a:lnTo>
                <a:lnTo>
                  <a:pt x="1533" y="967"/>
                </a:lnTo>
                <a:lnTo>
                  <a:pt x="1543" y="968"/>
                </a:lnTo>
                <a:lnTo>
                  <a:pt x="1562" y="971"/>
                </a:lnTo>
                <a:lnTo>
                  <a:pt x="1581" y="975"/>
                </a:lnTo>
                <a:lnTo>
                  <a:pt x="1597" y="980"/>
                </a:lnTo>
                <a:lnTo>
                  <a:pt x="1614" y="985"/>
                </a:lnTo>
                <a:lnTo>
                  <a:pt x="1628" y="993"/>
                </a:lnTo>
                <a:lnTo>
                  <a:pt x="1643" y="1000"/>
                </a:lnTo>
                <a:lnTo>
                  <a:pt x="1657" y="1007"/>
                </a:lnTo>
                <a:lnTo>
                  <a:pt x="1669" y="1017"/>
                </a:lnTo>
                <a:lnTo>
                  <a:pt x="1681" y="1026"/>
                </a:lnTo>
                <a:lnTo>
                  <a:pt x="1691" y="1036"/>
                </a:lnTo>
                <a:lnTo>
                  <a:pt x="1700" y="1048"/>
                </a:lnTo>
                <a:lnTo>
                  <a:pt x="1706" y="1053"/>
                </a:lnTo>
                <a:lnTo>
                  <a:pt x="1710" y="1059"/>
                </a:lnTo>
                <a:lnTo>
                  <a:pt x="1718" y="1072"/>
                </a:lnTo>
                <a:lnTo>
                  <a:pt x="1725" y="1084"/>
                </a:lnTo>
                <a:lnTo>
                  <a:pt x="1733" y="1098"/>
                </a:lnTo>
                <a:lnTo>
                  <a:pt x="1739" y="1112"/>
                </a:lnTo>
                <a:lnTo>
                  <a:pt x="1745" y="1127"/>
                </a:lnTo>
                <a:lnTo>
                  <a:pt x="1749" y="1143"/>
                </a:lnTo>
                <a:lnTo>
                  <a:pt x="1754" y="1158"/>
                </a:lnTo>
                <a:lnTo>
                  <a:pt x="1758" y="1174"/>
                </a:lnTo>
                <a:lnTo>
                  <a:pt x="1761" y="1191"/>
                </a:lnTo>
                <a:lnTo>
                  <a:pt x="1764" y="1208"/>
                </a:lnTo>
                <a:lnTo>
                  <a:pt x="1766" y="1226"/>
                </a:lnTo>
                <a:lnTo>
                  <a:pt x="1768" y="1244"/>
                </a:lnTo>
                <a:lnTo>
                  <a:pt x="1770" y="1262"/>
                </a:lnTo>
                <a:lnTo>
                  <a:pt x="1771" y="1281"/>
                </a:lnTo>
                <a:lnTo>
                  <a:pt x="1771" y="1300"/>
                </a:lnTo>
                <a:lnTo>
                  <a:pt x="1772" y="1320"/>
                </a:lnTo>
                <a:lnTo>
                  <a:pt x="1772" y="1340"/>
                </a:lnTo>
                <a:lnTo>
                  <a:pt x="1772" y="1772"/>
                </a:lnTo>
                <a:lnTo>
                  <a:pt x="1527" y="1772"/>
                </a:lnTo>
                <a:lnTo>
                  <a:pt x="1527" y="1388"/>
                </a:lnTo>
                <a:lnTo>
                  <a:pt x="1526" y="1353"/>
                </a:lnTo>
                <a:lnTo>
                  <a:pt x="1526" y="1335"/>
                </a:lnTo>
                <a:lnTo>
                  <a:pt x="1525" y="1317"/>
                </a:lnTo>
                <a:lnTo>
                  <a:pt x="1523" y="1299"/>
                </a:lnTo>
                <a:lnTo>
                  <a:pt x="1520" y="1282"/>
                </a:lnTo>
                <a:lnTo>
                  <a:pt x="1518" y="1274"/>
                </a:lnTo>
                <a:lnTo>
                  <a:pt x="1516" y="1266"/>
                </a:lnTo>
                <a:lnTo>
                  <a:pt x="1514" y="1257"/>
                </a:lnTo>
                <a:lnTo>
                  <a:pt x="1511" y="1249"/>
                </a:lnTo>
                <a:lnTo>
                  <a:pt x="1508" y="1242"/>
                </a:lnTo>
                <a:lnTo>
                  <a:pt x="1504" y="1234"/>
                </a:lnTo>
                <a:lnTo>
                  <a:pt x="1499" y="1228"/>
                </a:lnTo>
                <a:lnTo>
                  <a:pt x="1495" y="1221"/>
                </a:lnTo>
                <a:lnTo>
                  <a:pt x="1490" y="1215"/>
                </a:lnTo>
                <a:lnTo>
                  <a:pt x="1485" y="1209"/>
                </a:lnTo>
                <a:lnTo>
                  <a:pt x="1480" y="1204"/>
                </a:lnTo>
                <a:lnTo>
                  <a:pt x="1472" y="1199"/>
                </a:lnTo>
                <a:lnTo>
                  <a:pt x="1466" y="1195"/>
                </a:lnTo>
                <a:lnTo>
                  <a:pt x="1458" y="1191"/>
                </a:lnTo>
                <a:lnTo>
                  <a:pt x="1450" y="1187"/>
                </a:lnTo>
                <a:lnTo>
                  <a:pt x="1441" y="1184"/>
                </a:lnTo>
                <a:lnTo>
                  <a:pt x="1432" y="1182"/>
                </a:lnTo>
                <a:lnTo>
                  <a:pt x="1426" y="1181"/>
                </a:lnTo>
                <a:lnTo>
                  <a:pt x="1422" y="1180"/>
                </a:lnTo>
                <a:lnTo>
                  <a:pt x="1411" y="1179"/>
                </a:lnTo>
                <a:lnTo>
                  <a:pt x="1399" y="1179"/>
                </a:lnTo>
                <a:lnTo>
                  <a:pt x="1388" y="1179"/>
                </a:lnTo>
                <a:lnTo>
                  <a:pt x="1378" y="1180"/>
                </a:lnTo>
                <a:lnTo>
                  <a:pt x="1367" y="1181"/>
                </a:lnTo>
                <a:lnTo>
                  <a:pt x="1357" y="1183"/>
                </a:lnTo>
                <a:lnTo>
                  <a:pt x="1347" y="1186"/>
                </a:lnTo>
                <a:lnTo>
                  <a:pt x="1339" y="1188"/>
                </a:lnTo>
                <a:lnTo>
                  <a:pt x="1331" y="1193"/>
                </a:lnTo>
                <a:lnTo>
                  <a:pt x="1323" y="1196"/>
                </a:lnTo>
                <a:lnTo>
                  <a:pt x="1316" y="1201"/>
                </a:lnTo>
                <a:lnTo>
                  <a:pt x="1309" y="1205"/>
                </a:lnTo>
                <a:lnTo>
                  <a:pt x="1303" y="1210"/>
                </a:lnTo>
                <a:lnTo>
                  <a:pt x="1297" y="1216"/>
                </a:lnTo>
                <a:lnTo>
                  <a:pt x="1292" y="1222"/>
                </a:lnTo>
                <a:lnTo>
                  <a:pt x="1287" y="1228"/>
                </a:lnTo>
                <a:lnTo>
                  <a:pt x="1283" y="1235"/>
                </a:lnTo>
                <a:lnTo>
                  <a:pt x="1279" y="1242"/>
                </a:lnTo>
                <a:lnTo>
                  <a:pt x="1274" y="1249"/>
                </a:lnTo>
                <a:lnTo>
                  <a:pt x="1271" y="1256"/>
                </a:lnTo>
                <a:lnTo>
                  <a:pt x="1265" y="1273"/>
                </a:lnTo>
                <a:lnTo>
                  <a:pt x="1261" y="1290"/>
                </a:lnTo>
                <a:lnTo>
                  <a:pt x="1258" y="1306"/>
                </a:lnTo>
                <a:lnTo>
                  <a:pt x="1257" y="1316"/>
                </a:lnTo>
                <a:lnTo>
                  <a:pt x="1256" y="1325"/>
                </a:lnTo>
                <a:lnTo>
                  <a:pt x="1254" y="1344"/>
                </a:lnTo>
                <a:lnTo>
                  <a:pt x="1253" y="1362"/>
                </a:lnTo>
                <a:lnTo>
                  <a:pt x="1253" y="1381"/>
                </a:lnTo>
                <a:lnTo>
                  <a:pt x="1253" y="1772"/>
                </a:lnTo>
                <a:lnTo>
                  <a:pt x="1008" y="1772"/>
                </a:lnTo>
                <a:lnTo>
                  <a:pt x="1008" y="983"/>
                </a:lnTo>
                <a:close/>
                <a:moveTo>
                  <a:pt x="0" y="1181"/>
                </a:moveTo>
                <a:lnTo>
                  <a:pt x="0" y="1151"/>
                </a:lnTo>
                <a:lnTo>
                  <a:pt x="2" y="1121"/>
                </a:lnTo>
                <a:lnTo>
                  <a:pt x="3" y="1091"/>
                </a:lnTo>
                <a:lnTo>
                  <a:pt x="6" y="1060"/>
                </a:lnTo>
                <a:lnTo>
                  <a:pt x="9" y="1031"/>
                </a:lnTo>
                <a:lnTo>
                  <a:pt x="14" y="1001"/>
                </a:lnTo>
                <a:lnTo>
                  <a:pt x="19" y="972"/>
                </a:lnTo>
                <a:lnTo>
                  <a:pt x="24" y="944"/>
                </a:lnTo>
                <a:lnTo>
                  <a:pt x="30" y="915"/>
                </a:lnTo>
                <a:lnTo>
                  <a:pt x="37" y="886"/>
                </a:lnTo>
                <a:lnTo>
                  <a:pt x="45" y="858"/>
                </a:lnTo>
                <a:lnTo>
                  <a:pt x="53" y="830"/>
                </a:lnTo>
                <a:lnTo>
                  <a:pt x="62" y="802"/>
                </a:lnTo>
                <a:lnTo>
                  <a:pt x="72" y="775"/>
                </a:lnTo>
                <a:lnTo>
                  <a:pt x="82" y="748"/>
                </a:lnTo>
                <a:lnTo>
                  <a:pt x="93" y="722"/>
                </a:lnTo>
                <a:lnTo>
                  <a:pt x="104" y="696"/>
                </a:lnTo>
                <a:lnTo>
                  <a:pt x="117" y="670"/>
                </a:lnTo>
                <a:lnTo>
                  <a:pt x="129" y="644"/>
                </a:lnTo>
                <a:lnTo>
                  <a:pt x="143" y="619"/>
                </a:lnTo>
                <a:lnTo>
                  <a:pt x="156" y="594"/>
                </a:lnTo>
                <a:lnTo>
                  <a:pt x="171" y="569"/>
                </a:lnTo>
                <a:lnTo>
                  <a:pt x="186" y="545"/>
                </a:lnTo>
                <a:lnTo>
                  <a:pt x="202" y="521"/>
                </a:lnTo>
                <a:lnTo>
                  <a:pt x="218" y="498"/>
                </a:lnTo>
                <a:lnTo>
                  <a:pt x="234" y="475"/>
                </a:lnTo>
                <a:lnTo>
                  <a:pt x="252" y="452"/>
                </a:lnTo>
                <a:lnTo>
                  <a:pt x="270" y="430"/>
                </a:lnTo>
                <a:lnTo>
                  <a:pt x="288" y="408"/>
                </a:lnTo>
                <a:lnTo>
                  <a:pt x="307" y="388"/>
                </a:lnTo>
                <a:lnTo>
                  <a:pt x="326" y="367"/>
                </a:lnTo>
                <a:lnTo>
                  <a:pt x="346" y="346"/>
                </a:lnTo>
                <a:lnTo>
                  <a:pt x="367" y="326"/>
                </a:lnTo>
                <a:lnTo>
                  <a:pt x="387" y="307"/>
                </a:lnTo>
                <a:lnTo>
                  <a:pt x="408" y="289"/>
                </a:lnTo>
                <a:lnTo>
                  <a:pt x="430" y="270"/>
                </a:lnTo>
                <a:lnTo>
                  <a:pt x="452" y="252"/>
                </a:lnTo>
                <a:lnTo>
                  <a:pt x="475" y="236"/>
                </a:lnTo>
                <a:lnTo>
                  <a:pt x="498" y="218"/>
                </a:lnTo>
                <a:lnTo>
                  <a:pt x="521" y="202"/>
                </a:lnTo>
                <a:lnTo>
                  <a:pt x="545" y="187"/>
                </a:lnTo>
                <a:lnTo>
                  <a:pt x="569" y="171"/>
                </a:lnTo>
                <a:lnTo>
                  <a:pt x="593" y="157"/>
                </a:lnTo>
                <a:lnTo>
                  <a:pt x="618" y="143"/>
                </a:lnTo>
                <a:lnTo>
                  <a:pt x="643" y="129"/>
                </a:lnTo>
                <a:lnTo>
                  <a:pt x="668" y="117"/>
                </a:lnTo>
                <a:lnTo>
                  <a:pt x="694" y="104"/>
                </a:lnTo>
                <a:lnTo>
                  <a:pt x="722" y="93"/>
                </a:lnTo>
                <a:lnTo>
                  <a:pt x="748" y="82"/>
                </a:lnTo>
                <a:lnTo>
                  <a:pt x="775" y="72"/>
                </a:lnTo>
                <a:lnTo>
                  <a:pt x="802" y="63"/>
                </a:lnTo>
                <a:lnTo>
                  <a:pt x="830" y="53"/>
                </a:lnTo>
                <a:lnTo>
                  <a:pt x="858" y="45"/>
                </a:lnTo>
                <a:lnTo>
                  <a:pt x="886" y="38"/>
                </a:lnTo>
                <a:lnTo>
                  <a:pt x="914" y="30"/>
                </a:lnTo>
                <a:lnTo>
                  <a:pt x="942" y="24"/>
                </a:lnTo>
                <a:lnTo>
                  <a:pt x="971" y="19"/>
                </a:lnTo>
                <a:lnTo>
                  <a:pt x="1001" y="14"/>
                </a:lnTo>
                <a:lnTo>
                  <a:pt x="1031" y="10"/>
                </a:lnTo>
                <a:lnTo>
                  <a:pt x="1060" y="6"/>
                </a:lnTo>
                <a:lnTo>
                  <a:pt x="1090" y="4"/>
                </a:lnTo>
                <a:lnTo>
                  <a:pt x="1120" y="2"/>
                </a:lnTo>
                <a:lnTo>
                  <a:pt x="1151" y="1"/>
                </a:lnTo>
                <a:lnTo>
                  <a:pt x="1181" y="0"/>
                </a:lnTo>
                <a:lnTo>
                  <a:pt x="1211" y="1"/>
                </a:lnTo>
                <a:lnTo>
                  <a:pt x="1241" y="2"/>
                </a:lnTo>
                <a:lnTo>
                  <a:pt x="1271" y="4"/>
                </a:lnTo>
                <a:lnTo>
                  <a:pt x="1302" y="6"/>
                </a:lnTo>
                <a:lnTo>
                  <a:pt x="1331" y="10"/>
                </a:lnTo>
                <a:lnTo>
                  <a:pt x="1361" y="14"/>
                </a:lnTo>
                <a:lnTo>
                  <a:pt x="1390" y="19"/>
                </a:lnTo>
                <a:lnTo>
                  <a:pt x="1418" y="24"/>
                </a:lnTo>
                <a:lnTo>
                  <a:pt x="1447" y="30"/>
                </a:lnTo>
                <a:lnTo>
                  <a:pt x="1475" y="38"/>
                </a:lnTo>
                <a:lnTo>
                  <a:pt x="1504" y="45"/>
                </a:lnTo>
                <a:lnTo>
                  <a:pt x="1532" y="53"/>
                </a:lnTo>
                <a:lnTo>
                  <a:pt x="1560" y="63"/>
                </a:lnTo>
                <a:lnTo>
                  <a:pt x="1587" y="72"/>
                </a:lnTo>
                <a:lnTo>
                  <a:pt x="1614" y="82"/>
                </a:lnTo>
                <a:lnTo>
                  <a:pt x="1640" y="93"/>
                </a:lnTo>
                <a:lnTo>
                  <a:pt x="1667" y="104"/>
                </a:lnTo>
                <a:lnTo>
                  <a:pt x="1693" y="117"/>
                </a:lnTo>
                <a:lnTo>
                  <a:pt x="1718" y="129"/>
                </a:lnTo>
                <a:lnTo>
                  <a:pt x="1743" y="143"/>
                </a:lnTo>
                <a:lnTo>
                  <a:pt x="1768" y="157"/>
                </a:lnTo>
                <a:lnTo>
                  <a:pt x="1793" y="171"/>
                </a:lnTo>
                <a:lnTo>
                  <a:pt x="1817" y="187"/>
                </a:lnTo>
                <a:lnTo>
                  <a:pt x="1841" y="202"/>
                </a:lnTo>
                <a:lnTo>
                  <a:pt x="1864" y="218"/>
                </a:lnTo>
                <a:lnTo>
                  <a:pt x="1887" y="236"/>
                </a:lnTo>
                <a:lnTo>
                  <a:pt x="1910" y="252"/>
                </a:lnTo>
                <a:lnTo>
                  <a:pt x="1931" y="270"/>
                </a:lnTo>
                <a:lnTo>
                  <a:pt x="1953" y="289"/>
                </a:lnTo>
                <a:lnTo>
                  <a:pt x="1974" y="307"/>
                </a:lnTo>
                <a:lnTo>
                  <a:pt x="1995" y="326"/>
                </a:lnTo>
                <a:lnTo>
                  <a:pt x="2016" y="346"/>
                </a:lnTo>
                <a:lnTo>
                  <a:pt x="2036" y="367"/>
                </a:lnTo>
                <a:lnTo>
                  <a:pt x="2054" y="388"/>
                </a:lnTo>
                <a:lnTo>
                  <a:pt x="2073" y="408"/>
                </a:lnTo>
                <a:lnTo>
                  <a:pt x="2092" y="430"/>
                </a:lnTo>
                <a:lnTo>
                  <a:pt x="2110" y="452"/>
                </a:lnTo>
                <a:lnTo>
                  <a:pt x="2127" y="475"/>
                </a:lnTo>
                <a:lnTo>
                  <a:pt x="2144" y="498"/>
                </a:lnTo>
                <a:lnTo>
                  <a:pt x="2159" y="521"/>
                </a:lnTo>
                <a:lnTo>
                  <a:pt x="2175" y="545"/>
                </a:lnTo>
                <a:lnTo>
                  <a:pt x="2191" y="569"/>
                </a:lnTo>
                <a:lnTo>
                  <a:pt x="2205" y="594"/>
                </a:lnTo>
                <a:lnTo>
                  <a:pt x="2219" y="619"/>
                </a:lnTo>
                <a:lnTo>
                  <a:pt x="2232" y="644"/>
                </a:lnTo>
                <a:lnTo>
                  <a:pt x="2245" y="670"/>
                </a:lnTo>
                <a:lnTo>
                  <a:pt x="2257" y="696"/>
                </a:lnTo>
                <a:lnTo>
                  <a:pt x="2269" y="722"/>
                </a:lnTo>
                <a:lnTo>
                  <a:pt x="2279" y="748"/>
                </a:lnTo>
                <a:lnTo>
                  <a:pt x="2290" y="775"/>
                </a:lnTo>
                <a:lnTo>
                  <a:pt x="2299" y="802"/>
                </a:lnTo>
                <a:lnTo>
                  <a:pt x="2308" y="830"/>
                </a:lnTo>
                <a:lnTo>
                  <a:pt x="2317" y="858"/>
                </a:lnTo>
                <a:lnTo>
                  <a:pt x="2324" y="886"/>
                </a:lnTo>
                <a:lnTo>
                  <a:pt x="2331" y="915"/>
                </a:lnTo>
                <a:lnTo>
                  <a:pt x="2338" y="944"/>
                </a:lnTo>
                <a:lnTo>
                  <a:pt x="2343" y="972"/>
                </a:lnTo>
                <a:lnTo>
                  <a:pt x="2348" y="1001"/>
                </a:lnTo>
                <a:lnTo>
                  <a:pt x="2352" y="1031"/>
                </a:lnTo>
                <a:lnTo>
                  <a:pt x="2355" y="1060"/>
                </a:lnTo>
                <a:lnTo>
                  <a:pt x="2358" y="1091"/>
                </a:lnTo>
                <a:lnTo>
                  <a:pt x="2359" y="1121"/>
                </a:lnTo>
                <a:lnTo>
                  <a:pt x="2360" y="1151"/>
                </a:lnTo>
                <a:lnTo>
                  <a:pt x="2361" y="1181"/>
                </a:lnTo>
                <a:lnTo>
                  <a:pt x="2360" y="1211"/>
                </a:lnTo>
                <a:lnTo>
                  <a:pt x="2359" y="1242"/>
                </a:lnTo>
                <a:lnTo>
                  <a:pt x="2358" y="1272"/>
                </a:lnTo>
                <a:lnTo>
                  <a:pt x="2355" y="1302"/>
                </a:lnTo>
                <a:lnTo>
                  <a:pt x="2352" y="1332"/>
                </a:lnTo>
                <a:lnTo>
                  <a:pt x="2348" y="1361"/>
                </a:lnTo>
                <a:lnTo>
                  <a:pt x="2343" y="1391"/>
                </a:lnTo>
                <a:lnTo>
                  <a:pt x="2338" y="1420"/>
                </a:lnTo>
                <a:lnTo>
                  <a:pt x="2331" y="1448"/>
                </a:lnTo>
                <a:lnTo>
                  <a:pt x="2324" y="1477"/>
                </a:lnTo>
                <a:lnTo>
                  <a:pt x="2317" y="1505"/>
                </a:lnTo>
                <a:lnTo>
                  <a:pt x="2308" y="1532"/>
                </a:lnTo>
                <a:lnTo>
                  <a:pt x="2299" y="1560"/>
                </a:lnTo>
                <a:lnTo>
                  <a:pt x="2290" y="1587"/>
                </a:lnTo>
                <a:lnTo>
                  <a:pt x="2279" y="1614"/>
                </a:lnTo>
                <a:lnTo>
                  <a:pt x="2269" y="1640"/>
                </a:lnTo>
                <a:lnTo>
                  <a:pt x="2257" y="1668"/>
                </a:lnTo>
                <a:lnTo>
                  <a:pt x="2245" y="1694"/>
                </a:lnTo>
                <a:lnTo>
                  <a:pt x="2232" y="1719"/>
                </a:lnTo>
                <a:lnTo>
                  <a:pt x="2219" y="1745"/>
                </a:lnTo>
                <a:lnTo>
                  <a:pt x="2205" y="1770"/>
                </a:lnTo>
                <a:lnTo>
                  <a:pt x="2191" y="1794"/>
                </a:lnTo>
                <a:lnTo>
                  <a:pt x="2175" y="1818"/>
                </a:lnTo>
                <a:lnTo>
                  <a:pt x="2159" y="1842"/>
                </a:lnTo>
                <a:lnTo>
                  <a:pt x="2144" y="1865"/>
                </a:lnTo>
                <a:lnTo>
                  <a:pt x="2127" y="1888"/>
                </a:lnTo>
                <a:lnTo>
                  <a:pt x="2110" y="1910"/>
                </a:lnTo>
                <a:lnTo>
                  <a:pt x="2092" y="1932"/>
                </a:lnTo>
                <a:lnTo>
                  <a:pt x="2073" y="1954"/>
                </a:lnTo>
                <a:lnTo>
                  <a:pt x="2054" y="1976"/>
                </a:lnTo>
                <a:lnTo>
                  <a:pt x="2036" y="1996"/>
                </a:lnTo>
                <a:lnTo>
                  <a:pt x="2016" y="2016"/>
                </a:lnTo>
                <a:lnTo>
                  <a:pt x="1995" y="2036"/>
                </a:lnTo>
                <a:lnTo>
                  <a:pt x="1974" y="2055"/>
                </a:lnTo>
                <a:lnTo>
                  <a:pt x="1953" y="2075"/>
                </a:lnTo>
                <a:lnTo>
                  <a:pt x="1931" y="2092"/>
                </a:lnTo>
                <a:lnTo>
                  <a:pt x="1910" y="2110"/>
                </a:lnTo>
                <a:lnTo>
                  <a:pt x="1887" y="2128"/>
                </a:lnTo>
                <a:lnTo>
                  <a:pt x="1864" y="2145"/>
                </a:lnTo>
                <a:lnTo>
                  <a:pt x="1841" y="2160"/>
                </a:lnTo>
                <a:lnTo>
                  <a:pt x="1817" y="2176"/>
                </a:lnTo>
                <a:lnTo>
                  <a:pt x="1793" y="2191"/>
                </a:lnTo>
                <a:lnTo>
                  <a:pt x="1768" y="2206"/>
                </a:lnTo>
                <a:lnTo>
                  <a:pt x="1743" y="2220"/>
                </a:lnTo>
                <a:lnTo>
                  <a:pt x="1718" y="2233"/>
                </a:lnTo>
                <a:lnTo>
                  <a:pt x="1693" y="2246"/>
                </a:lnTo>
                <a:lnTo>
                  <a:pt x="1667" y="2258"/>
                </a:lnTo>
                <a:lnTo>
                  <a:pt x="1640" y="2270"/>
                </a:lnTo>
                <a:lnTo>
                  <a:pt x="1614" y="2280"/>
                </a:lnTo>
                <a:lnTo>
                  <a:pt x="1587" y="2290"/>
                </a:lnTo>
                <a:lnTo>
                  <a:pt x="1560" y="2300"/>
                </a:lnTo>
                <a:lnTo>
                  <a:pt x="1532" y="2309"/>
                </a:lnTo>
                <a:lnTo>
                  <a:pt x="1504" y="2317"/>
                </a:lnTo>
                <a:lnTo>
                  <a:pt x="1475" y="2325"/>
                </a:lnTo>
                <a:lnTo>
                  <a:pt x="1447" y="2332"/>
                </a:lnTo>
                <a:lnTo>
                  <a:pt x="1418" y="2338"/>
                </a:lnTo>
                <a:lnTo>
                  <a:pt x="1390" y="2343"/>
                </a:lnTo>
                <a:lnTo>
                  <a:pt x="1361" y="2349"/>
                </a:lnTo>
                <a:lnTo>
                  <a:pt x="1331" y="2353"/>
                </a:lnTo>
                <a:lnTo>
                  <a:pt x="1302" y="2356"/>
                </a:lnTo>
                <a:lnTo>
                  <a:pt x="1271" y="2359"/>
                </a:lnTo>
                <a:lnTo>
                  <a:pt x="1241" y="2361"/>
                </a:lnTo>
                <a:lnTo>
                  <a:pt x="1211" y="2362"/>
                </a:lnTo>
                <a:lnTo>
                  <a:pt x="1181" y="2362"/>
                </a:lnTo>
                <a:lnTo>
                  <a:pt x="1151" y="2362"/>
                </a:lnTo>
                <a:lnTo>
                  <a:pt x="1120" y="2361"/>
                </a:lnTo>
                <a:lnTo>
                  <a:pt x="1090" y="2359"/>
                </a:lnTo>
                <a:lnTo>
                  <a:pt x="1060" y="2356"/>
                </a:lnTo>
                <a:lnTo>
                  <a:pt x="1031" y="2353"/>
                </a:lnTo>
                <a:lnTo>
                  <a:pt x="1001" y="2349"/>
                </a:lnTo>
                <a:lnTo>
                  <a:pt x="971" y="2343"/>
                </a:lnTo>
                <a:lnTo>
                  <a:pt x="942" y="2338"/>
                </a:lnTo>
                <a:lnTo>
                  <a:pt x="914" y="2332"/>
                </a:lnTo>
                <a:lnTo>
                  <a:pt x="886" y="2325"/>
                </a:lnTo>
                <a:lnTo>
                  <a:pt x="858" y="2317"/>
                </a:lnTo>
                <a:lnTo>
                  <a:pt x="830" y="2309"/>
                </a:lnTo>
                <a:lnTo>
                  <a:pt x="802" y="2300"/>
                </a:lnTo>
                <a:lnTo>
                  <a:pt x="775" y="2290"/>
                </a:lnTo>
                <a:lnTo>
                  <a:pt x="748" y="2280"/>
                </a:lnTo>
                <a:lnTo>
                  <a:pt x="722" y="2270"/>
                </a:lnTo>
                <a:lnTo>
                  <a:pt x="694" y="2258"/>
                </a:lnTo>
                <a:lnTo>
                  <a:pt x="668" y="2246"/>
                </a:lnTo>
                <a:lnTo>
                  <a:pt x="643" y="2233"/>
                </a:lnTo>
                <a:lnTo>
                  <a:pt x="618" y="2220"/>
                </a:lnTo>
                <a:lnTo>
                  <a:pt x="593" y="2206"/>
                </a:lnTo>
                <a:lnTo>
                  <a:pt x="569" y="2191"/>
                </a:lnTo>
                <a:lnTo>
                  <a:pt x="545" y="2176"/>
                </a:lnTo>
                <a:lnTo>
                  <a:pt x="521" y="2160"/>
                </a:lnTo>
                <a:lnTo>
                  <a:pt x="498" y="2145"/>
                </a:lnTo>
                <a:lnTo>
                  <a:pt x="475" y="2128"/>
                </a:lnTo>
                <a:lnTo>
                  <a:pt x="452" y="2110"/>
                </a:lnTo>
                <a:lnTo>
                  <a:pt x="430" y="2092"/>
                </a:lnTo>
                <a:lnTo>
                  <a:pt x="408" y="2075"/>
                </a:lnTo>
                <a:lnTo>
                  <a:pt x="387" y="2055"/>
                </a:lnTo>
                <a:lnTo>
                  <a:pt x="367" y="2036"/>
                </a:lnTo>
                <a:lnTo>
                  <a:pt x="346" y="2016"/>
                </a:lnTo>
                <a:lnTo>
                  <a:pt x="326" y="1996"/>
                </a:lnTo>
                <a:lnTo>
                  <a:pt x="307" y="1976"/>
                </a:lnTo>
                <a:lnTo>
                  <a:pt x="288" y="1954"/>
                </a:lnTo>
                <a:lnTo>
                  <a:pt x="270" y="1932"/>
                </a:lnTo>
                <a:lnTo>
                  <a:pt x="252" y="1910"/>
                </a:lnTo>
                <a:lnTo>
                  <a:pt x="234" y="1888"/>
                </a:lnTo>
                <a:lnTo>
                  <a:pt x="218" y="1865"/>
                </a:lnTo>
                <a:lnTo>
                  <a:pt x="202" y="1842"/>
                </a:lnTo>
                <a:lnTo>
                  <a:pt x="186" y="1818"/>
                </a:lnTo>
                <a:lnTo>
                  <a:pt x="171" y="1794"/>
                </a:lnTo>
                <a:lnTo>
                  <a:pt x="156" y="1770"/>
                </a:lnTo>
                <a:lnTo>
                  <a:pt x="143" y="1745"/>
                </a:lnTo>
                <a:lnTo>
                  <a:pt x="129" y="1719"/>
                </a:lnTo>
                <a:lnTo>
                  <a:pt x="117" y="1694"/>
                </a:lnTo>
                <a:lnTo>
                  <a:pt x="104" y="1668"/>
                </a:lnTo>
                <a:lnTo>
                  <a:pt x="93" y="1640"/>
                </a:lnTo>
                <a:lnTo>
                  <a:pt x="82" y="1614"/>
                </a:lnTo>
                <a:lnTo>
                  <a:pt x="72" y="1587"/>
                </a:lnTo>
                <a:lnTo>
                  <a:pt x="62" y="1560"/>
                </a:lnTo>
                <a:lnTo>
                  <a:pt x="53" y="1532"/>
                </a:lnTo>
                <a:lnTo>
                  <a:pt x="45" y="1505"/>
                </a:lnTo>
                <a:lnTo>
                  <a:pt x="37" y="1477"/>
                </a:lnTo>
                <a:lnTo>
                  <a:pt x="30" y="1448"/>
                </a:lnTo>
                <a:lnTo>
                  <a:pt x="24" y="1420"/>
                </a:lnTo>
                <a:lnTo>
                  <a:pt x="19" y="1391"/>
                </a:lnTo>
                <a:lnTo>
                  <a:pt x="14" y="1361"/>
                </a:lnTo>
                <a:lnTo>
                  <a:pt x="9" y="1332"/>
                </a:lnTo>
                <a:lnTo>
                  <a:pt x="6" y="1302"/>
                </a:lnTo>
                <a:lnTo>
                  <a:pt x="3" y="1272"/>
                </a:lnTo>
                <a:lnTo>
                  <a:pt x="2" y="1242"/>
                </a:lnTo>
                <a:lnTo>
                  <a:pt x="0" y="1211"/>
                </a:lnTo>
                <a:lnTo>
                  <a:pt x="0" y="118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23" name="Freeform 8">
            <a:hlinkClick r:id="rId4" tooltip="instragram"/>
          </p:cNvPr>
          <p:cNvSpPr>
            <a:spLocks noChangeAspect="1" noEditPoints="1"/>
          </p:cNvSpPr>
          <p:nvPr userDrawn="1"/>
        </p:nvSpPr>
        <p:spPr bwMode="auto">
          <a:xfrm>
            <a:off x="5159976" y="5841388"/>
            <a:ext cx="360000" cy="360000"/>
          </a:xfrm>
          <a:custGeom>
            <a:avLst/>
            <a:gdLst>
              <a:gd name="T0" fmla="*/ 1542 w 2361"/>
              <a:gd name="T1" fmla="*/ 719 h 2362"/>
              <a:gd name="T2" fmla="*/ 1641 w 2361"/>
              <a:gd name="T3" fmla="*/ 777 h 2362"/>
              <a:gd name="T4" fmla="*/ 1593 w 2361"/>
              <a:gd name="T5" fmla="*/ 881 h 2362"/>
              <a:gd name="T6" fmla="*/ 1484 w 2361"/>
              <a:gd name="T7" fmla="*/ 844 h 2362"/>
              <a:gd name="T8" fmla="*/ 1078 w 2361"/>
              <a:gd name="T9" fmla="*/ 1394 h 2362"/>
              <a:gd name="T10" fmla="*/ 963 w 2361"/>
              <a:gd name="T11" fmla="*/ 1274 h 2362"/>
              <a:gd name="T12" fmla="*/ 959 w 2361"/>
              <a:gd name="T13" fmla="*/ 1100 h 2362"/>
              <a:gd name="T14" fmla="*/ 1068 w 2361"/>
              <a:gd name="T15" fmla="*/ 974 h 2362"/>
              <a:gd name="T16" fmla="*/ 1240 w 2361"/>
              <a:gd name="T17" fmla="*/ 952 h 2362"/>
              <a:gd name="T18" fmla="*/ 1377 w 2361"/>
              <a:gd name="T19" fmla="*/ 1049 h 2362"/>
              <a:gd name="T20" fmla="*/ 1415 w 2361"/>
              <a:gd name="T21" fmla="*/ 1217 h 2362"/>
              <a:gd name="T22" fmla="*/ 1331 w 2361"/>
              <a:gd name="T23" fmla="*/ 1364 h 2362"/>
              <a:gd name="T24" fmla="*/ 1180 w 2361"/>
              <a:gd name="T25" fmla="*/ 816 h 2362"/>
              <a:gd name="T26" fmla="*/ 956 w 2361"/>
              <a:gd name="T27" fmla="*/ 895 h 2362"/>
              <a:gd name="T28" fmla="*/ 823 w 2361"/>
              <a:gd name="T29" fmla="*/ 1108 h 2362"/>
              <a:gd name="T30" fmla="*/ 861 w 2361"/>
              <a:gd name="T31" fmla="*/ 1355 h 2362"/>
              <a:gd name="T32" fmla="*/ 1039 w 2361"/>
              <a:gd name="T33" fmla="*/ 1517 h 2362"/>
              <a:gd name="T34" fmla="*/ 1289 w 2361"/>
              <a:gd name="T35" fmla="*/ 1529 h 2362"/>
              <a:gd name="T36" fmla="*/ 1482 w 2361"/>
              <a:gd name="T37" fmla="*/ 1385 h 2362"/>
              <a:gd name="T38" fmla="*/ 1542 w 2361"/>
              <a:gd name="T39" fmla="*/ 1135 h 2362"/>
              <a:gd name="T40" fmla="*/ 1439 w 2361"/>
              <a:gd name="T41" fmla="*/ 924 h 2362"/>
              <a:gd name="T42" fmla="*/ 1199 w 2361"/>
              <a:gd name="T43" fmla="*/ 817 h 2362"/>
              <a:gd name="T44" fmla="*/ 716 w 2361"/>
              <a:gd name="T45" fmla="*/ 509 h 2362"/>
              <a:gd name="T46" fmla="*/ 532 w 2361"/>
              <a:gd name="T47" fmla="*/ 666 h 2362"/>
              <a:gd name="T48" fmla="*/ 476 w 2361"/>
              <a:gd name="T49" fmla="*/ 888 h 2362"/>
              <a:gd name="T50" fmla="*/ 496 w 2361"/>
              <a:gd name="T51" fmla="*/ 1611 h 2362"/>
              <a:gd name="T52" fmla="*/ 635 w 2361"/>
              <a:gd name="T53" fmla="*/ 1810 h 2362"/>
              <a:gd name="T54" fmla="*/ 861 w 2361"/>
              <a:gd name="T55" fmla="*/ 1885 h 2362"/>
              <a:gd name="T56" fmla="*/ 1571 w 2361"/>
              <a:gd name="T57" fmla="*/ 1876 h 2362"/>
              <a:gd name="T58" fmla="*/ 1798 w 2361"/>
              <a:gd name="T59" fmla="*/ 1742 h 2362"/>
              <a:gd name="T60" fmla="*/ 1882 w 2361"/>
              <a:gd name="T61" fmla="*/ 1527 h 2362"/>
              <a:gd name="T62" fmla="*/ 1882 w 2361"/>
              <a:gd name="T63" fmla="*/ 836 h 2362"/>
              <a:gd name="T64" fmla="*/ 1771 w 2361"/>
              <a:gd name="T65" fmla="*/ 590 h 2362"/>
              <a:gd name="T66" fmla="*/ 1549 w 2361"/>
              <a:gd name="T67" fmla="*/ 483 h 2362"/>
              <a:gd name="T68" fmla="*/ 1468 w 2361"/>
              <a:gd name="T69" fmla="*/ 604 h 2362"/>
              <a:gd name="T70" fmla="*/ 1663 w 2361"/>
              <a:gd name="T71" fmla="*/ 664 h 2362"/>
              <a:gd name="T72" fmla="*/ 1754 w 2361"/>
              <a:gd name="T73" fmla="*/ 849 h 2362"/>
              <a:gd name="T74" fmla="*/ 1749 w 2361"/>
              <a:gd name="T75" fmla="*/ 1551 h 2362"/>
              <a:gd name="T76" fmla="*/ 1653 w 2361"/>
              <a:gd name="T77" fmla="*/ 1706 h 2362"/>
              <a:gd name="T78" fmla="*/ 1295 w 2361"/>
              <a:gd name="T79" fmla="*/ 1763 h 2362"/>
              <a:gd name="T80" fmla="*/ 750 w 2361"/>
              <a:gd name="T81" fmla="*/ 1730 h 2362"/>
              <a:gd name="T82" fmla="*/ 628 w 2361"/>
              <a:gd name="T83" fmla="*/ 1600 h 2362"/>
              <a:gd name="T84" fmla="*/ 604 w 2361"/>
              <a:gd name="T85" fmla="*/ 895 h 2362"/>
              <a:gd name="T86" fmla="*/ 664 w 2361"/>
              <a:gd name="T87" fmla="*/ 700 h 2362"/>
              <a:gd name="T88" fmla="*/ 847 w 2361"/>
              <a:gd name="T89" fmla="*/ 607 h 2362"/>
              <a:gd name="T90" fmla="*/ 24 w 2361"/>
              <a:gd name="T91" fmla="*/ 944 h 2362"/>
              <a:gd name="T92" fmla="*/ 186 w 2361"/>
              <a:gd name="T93" fmla="*/ 545 h 2362"/>
              <a:gd name="T94" fmla="*/ 474 w 2361"/>
              <a:gd name="T95" fmla="*/ 235 h 2362"/>
              <a:gd name="T96" fmla="*/ 858 w 2361"/>
              <a:gd name="T97" fmla="*/ 45 h 2362"/>
              <a:gd name="T98" fmla="*/ 1301 w 2361"/>
              <a:gd name="T99" fmla="*/ 6 h 2362"/>
              <a:gd name="T100" fmla="*/ 1718 w 2361"/>
              <a:gd name="T101" fmla="*/ 129 h 2362"/>
              <a:gd name="T102" fmla="*/ 2055 w 2361"/>
              <a:gd name="T103" fmla="*/ 387 h 2362"/>
              <a:gd name="T104" fmla="*/ 2279 w 2361"/>
              <a:gd name="T105" fmla="*/ 749 h 2362"/>
              <a:gd name="T106" fmla="*/ 2361 w 2361"/>
              <a:gd name="T107" fmla="*/ 1181 h 2362"/>
              <a:gd name="T108" fmla="*/ 2279 w 2361"/>
              <a:gd name="T109" fmla="*/ 1614 h 2362"/>
              <a:gd name="T110" fmla="*/ 2055 w 2361"/>
              <a:gd name="T111" fmla="*/ 1976 h 2362"/>
              <a:gd name="T112" fmla="*/ 1718 w 2361"/>
              <a:gd name="T113" fmla="*/ 2233 h 2362"/>
              <a:gd name="T114" fmla="*/ 1301 w 2361"/>
              <a:gd name="T115" fmla="*/ 2356 h 2362"/>
              <a:gd name="T116" fmla="*/ 858 w 2361"/>
              <a:gd name="T117" fmla="*/ 2317 h 2362"/>
              <a:gd name="T118" fmla="*/ 474 w 2361"/>
              <a:gd name="T119" fmla="*/ 2128 h 2362"/>
              <a:gd name="T120" fmla="*/ 186 w 2361"/>
              <a:gd name="T121" fmla="*/ 1817 h 2362"/>
              <a:gd name="T122" fmla="*/ 24 w 2361"/>
              <a:gd name="T123" fmla="*/ 1419 h 2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61" h="2362">
                <a:moveTo>
                  <a:pt x="1474" y="803"/>
                </a:moveTo>
                <a:lnTo>
                  <a:pt x="1475" y="794"/>
                </a:lnTo>
                <a:lnTo>
                  <a:pt x="1476" y="785"/>
                </a:lnTo>
                <a:lnTo>
                  <a:pt x="1478" y="777"/>
                </a:lnTo>
                <a:lnTo>
                  <a:pt x="1481" y="770"/>
                </a:lnTo>
                <a:lnTo>
                  <a:pt x="1484" y="762"/>
                </a:lnTo>
                <a:lnTo>
                  <a:pt x="1489" y="755"/>
                </a:lnTo>
                <a:lnTo>
                  <a:pt x="1494" y="749"/>
                </a:lnTo>
                <a:lnTo>
                  <a:pt x="1499" y="743"/>
                </a:lnTo>
                <a:lnTo>
                  <a:pt x="1505" y="736"/>
                </a:lnTo>
                <a:lnTo>
                  <a:pt x="1512" y="732"/>
                </a:lnTo>
                <a:lnTo>
                  <a:pt x="1519" y="728"/>
                </a:lnTo>
                <a:lnTo>
                  <a:pt x="1526" y="724"/>
                </a:lnTo>
                <a:lnTo>
                  <a:pt x="1534" y="721"/>
                </a:lnTo>
                <a:lnTo>
                  <a:pt x="1542" y="719"/>
                </a:lnTo>
                <a:lnTo>
                  <a:pt x="1551" y="718"/>
                </a:lnTo>
                <a:lnTo>
                  <a:pt x="1559" y="718"/>
                </a:lnTo>
                <a:lnTo>
                  <a:pt x="1568" y="718"/>
                </a:lnTo>
                <a:lnTo>
                  <a:pt x="1576" y="719"/>
                </a:lnTo>
                <a:lnTo>
                  <a:pt x="1584" y="721"/>
                </a:lnTo>
                <a:lnTo>
                  <a:pt x="1593" y="724"/>
                </a:lnTo>
                <a:lnTo>
                  <a:pt x="1600" y="728"/>
                </a:lnTo>
                <a:lnTo>
                  <a:pt x="1607" y="732"/>
                </a:lnTo>
                <a:lnTo>
                  <a:pt x="1614" y="736"/>
                </a:lnTo>
                <a:lnTo>
                  <a:pt x="1620" y="743"/>
                </a:lnTo>
                <a:lnTo>
                  <a:pt x="1625" y="749"/>
                </a:lnTo>
                <a:lnTo>
                  <a:pt x="1630" y="755"/>
                </a:lnTo>
                <a:lnTo>
                  <a:pt x="1634" y="762"/>
                </a:lnTo>
                <a:lnTo>
                  <a:pt x="1638" y="770"/>
                </a:lnTo>
                <a:lnTo>
                  <a:pt x="1641" y="777"/>
                </a:lnTo>
                <a:lnTo>
                  <a:pt x="1643" y="785"/>
                </a:lnTo>
                <a:lnTo>
                  <a:pt x="1644" y="794"/>
                </a:lnTo>
                <a:lnTo>
                  <a:pt x="1645" y="803"/>
                </a:lnTo>
                <a:lnTo>
                  <a:pt x="1644" y="811"/>
                </a:lnTo>
                <a:lnTo>
                  <a:pt x="1643" y="820"/>
                </a:lnTo>
                <a:lnTo>
                  <a:pt x="1641" y="828"/>
                </a:lnTo>
                <a:lnTo>
                  <a:pt x="1638" y="835"/>
                </a:lnTo>
                <a:lnTo>
                  <a:pt x="1634" y="844"/>
                </a:lnTo>
                <a:lnTo>
                  <a:pt x="1630" y="850"/>
                </a:lnTo>
                <a:lnTo>
                  <a:pt x="1625" y="857"/>
                </a:lnTo>
                <a:lnTo>
                  <a:pt x="1620" y="862"/>
                </a:lnTo>
                <a:lnTo>
                  <a:pt x="1614" y="869"/>
                </a:lnTo>
                <a:lnTo>
                  <a:pt x="1607" y="873"/>
                </a:lnTo>
                <a:lnTo>
                  <a:pt x="1600" y="877"/>
                </a:lnTo>
                <a:lnTo>
                  <a:pt x="1593" y="881"/>
                </a:lnTo>
                <a:lnTo>
                  <a:pt x="1584" y="884"/>
                </a:lnTo>
                <a:lnTo>
                  <a:pt x="1576" y="886"/>
                </a:lnTo>
                <a:lnTo>
                  <a:pt x="1568" y="887"/>
                </a:lnTo>
                <a:lnTo>
                  <a:pt x="1559" y="887"/>
                </a:lnTo>
                <a:lnTo>
                  <a:pt x="1551" y="887"/>
                </a:lnTo>
                <a:lnTo>
                  <a:pt x="1542" y="886"/>
                </a:lnTo>
                <a:lnTo>
                  <a:pt x="1534" y="884"/>
                </a:lnTo>
                <a:lnTo>
                  <a:pt x="1526" y="881"/>
                </a:lnTo>
                <a:lnTo>
                  <a:pt x="1519" y="877"/>
                </a:lnTo>
                <a:lnTo>
                  <a:pt x="1512" y="873"/>
                </a:lnTo>
                <a:lnTo>
                  <a:pt x="1505" y="869"/>
                </a:lnTo>
                <a:lnTo>
                  <a:pt x="1499" y="862"/>
                </a:lnTo>
                <a:lnTo>
                  <a:pt x="1494" y="857"/>
                </a:lnTo>
                <a:lnTo>
                  <a:pt x="1489" y="850"/>
                </a:lnTo>
                <a:lnTo>
                  <a:pt x="1484" y="844"/>
                </a:lnTo>
                <a:lnTo>
                  <a:pt x="1481" y="835"/>
                </a:lnTo>
                <a:lnTo>
                  <a:pt x="1478" y="828"/>
                </a:lnTo>
                <a:lnTo>
                  <a:pt x="1476" y="820"/>
                </a:lnTo>
                <a:lnTo>
                  <a:pt x="1475" y="811"/>
                </a:lnTo>
                <a:lnTo>
                  <a:pt x="1474" y="803"/>
                </a:lnTo>
                <a:close/>
                <a:moveTo>
                  <a:pt x="1180" y="1417"/>
                </a:moveTo>
                <a:lnTo>
                  <a:pt x="1169" y="1417"/>
                </a:lnTo>
                <a:lnTo>
                  <a:pt x="1156" y="1416"/>
                </a:lnTo>
                <a:lnTo>
                  <a:pt x="1145" y="1415"/>
                </a:lnTo>
                <a:lnTo>
                  <a:pt x="1133" y="1413"/>
                </a:lnTo>
                <a:lnTo>
                  <a:pt x="1121" y="1410"/>
                </a:lnTo>
                <a:lnTo>
                  <a:pt x="1111" y="1407"/>
                </a:lnTo>
                <a:lnTo>
                  <a:pt x="1099" y="1404"/>
                </a:lnTo>
                <a:lnTo>
                  <a:pt x="1089" y="1400"/>
                </a:lnTo>
                <a:lnTo>
                  <a:pt x="1078" y="1394"/>
                </a:lnTo>
                <a:lnTo>
                  <a:pt x="1068" y="1389"/>
                </a:lnTo>
                <a:lnTo>
                  <a:pt x="1058" y="1384"/>
                </a:lnTo>
                <a:lnTo>
                  <a:pt x="1048" y="1378"/>
                </a:lnTo>
                <a:lnTo>
                  <a:pt x="1039" y="1371"/>
                </a:lnTo>
                <a:lnTo>
                  <a:pt x="1030" y="1364"/>
                </a:lnTo>
                <a:lnTo>
                  <a:pt x="1022" y="1356"/>
                </a:lnTo>
                <a:lnTo>
                  <a:pt x="1014" y="1349"/>
                </a:lnTo>
                <a:lnTo>
                  <a:pt x="1005" y="1340"/>
                </a:lnTo>
                <a:lnTo>
                  <a:pt x="998" y="1332"/>
                </a:lnTo>
                <a:lnTo>
                  <a:pt x="991" y="1323"/>
                </a:lnTo>
                <a:lnTo>
                  <a:pt x="985" y="1313"/>
                </a:lnTo>
                <a:lnTo>
                  <a:pt x="978" y="1304"/>
                </a:lnTo>
                <a:lnTo>
                  <a:pt x="973" y="1294"/>
                </a:lnTo>
                <a:lnTo>
                  <a:pt x="968" y="1284"/>
                </a:lnTo>
                <a:lnTo>
                  <a:pt x="963" y="1274"/>
                </a:lnTo>
                <a:lnTo>
                  <a:pt x="959" y="1262"/>
                </a:lnTo>
                <a:lnTo>
                  <a:pt x="954" y="1252"/>
                </a:lnTo>
                <a:lnTo>
                  <a:pt x="951" y="1240"/>
                </a:lnTo>
                <a:lnTo>
                  <a:pt x="949" y="1229"/>
                </a:lnTo>
                <a:lnTo>
                  <a:pt x="947" y="1217"/>
                </a:lnTo>
                <a:lnTo>
                  <a:pt x="945" y="1205"/>
                </a:lnTo>
                <a:lnTo>
                  <a:pt x="944" y="1193"/>
                </a:lnTo>
                <a:lnTo>
                  <a:pt x="944" y="1181"/>
                </a:lnTo>
                <a:lnTo>
                  <a:pt x="944" y="1170"/>
                </a:lnTo>
                <a:lnTo>
                  <a:pt x="945" y="1157"/>
                </a:lnTo>
                <a:lnTo>
                  <a:pt x="947" y="1146"/>
                </a:lnTo>
                <a:lnTo>
                  <a:pt x="949" y="1133"/>
                </a:lnTo>
                <a:lnTo>
                  <a:pt x="951" y="1123"/>
                </a:lnTo>
                <a:lnTo>
                  <a:pt x="954" y="1111"/>
                </a:lnTo>
                <a:lnTo>
                  <a:pt x="959" y="1100"/>
                </a:lnTo>
                <a:lnTo>
                  <a:pt x="963" y="1089"/>
                </a:lnTo>
                <a:lnTo>
                  <a:pt x="968" y="1079"/>
                </a:lnTo>
                <a:lnTo>
                  <a:pt x="973" y="1068"/>
                </a:lnTo>
                <a:lnTo>
                  <a:pt x="978" y="1058"/>
                </a:lnTo>
                <a:lnTo>
                  <a:pt x="985" y="1049"/>
                </a:lnTo>
                <a:lnTo>
                  <a:pt x="991" y="1039"/>
                </a:lnTo>
                <a:lnTo>
                  <a:pt x="998" y="1031"/>
                </a:lnTo>
                <a:lnTo>
                  <a:pt x="1005" y="1023"/>
                </a:lnTo>
                <a:lnTo>
                  <a:pt x="1014" y="1014"/>
                </a:lnTo>
                <a:lnTo>
                  <a:pt x="1022" y="1006"/>
                </a:lnTo>
                <a:lnTo>
                  <a:pt x="1030" y="999"/>
                </a:lnTo>
                <a:lnTo>
                  <a:pt x="1039" y="991"/>
                </a:lnTo>
                <a:lnTo>
                  <a:pt x="1048" y="985"/>
                </a:lnTo>
                <a:lnTo>
                  <a:pt x="1058" y="979"/>
                </a:lnTo>
                <a:lnTo>
                  <a:pt x="1068" y="974"/>
                </a:lnTo>
                <a:lnTo>
                  <a:pt x="1078" y="969"/>
                </a:lnTo>
                <a:lnTo>
                  <a:pt x="1089" y="963"/>
                </a:lnTo>
                <a:lnTo>
                  <a:pt x="1099" y="959"/>
                </a:lnTo>
                <a:lnTo>
                  <a:pt x="1111" y="955"/>
                </a:lnTo>
                <a:lnTo>
                  <a:pt x="1121" y="952"/>
                </a:lnTo>
                <a:lnTo>
                  <a:pt x="1133" y="950"/>
                </a:lnTo>
                <a:lnTo>
                  <a:pt x="1145" y="948"/>
                </a:lnTo>
                <a:lnTo>
                  <a:pt x="1156" y="946"/>
                </a:lnTo>
                <a:lnTo>
                  <a:pt x="1169" y="945"/>
                </a:lnTo>
                <a:lnTo>
                  <a:pt x="1180" y="945"/>
                </a:lnTo>
                <a:lnTo>
                  <a:pt x="1193" y="945"/>
                </a:lnTo>
                <a:lnTo>
                  <a:pt x="1204" y="946"/>
                </a:lnTo>
                <a:lnTo>
                  <a:pt x="1217" y="948"/>
                </a:lnTo>
                <a:lnTo>
                  <a:pt x="1228" y="950"/>
                </a:lnTo>
                <a:lnTo>
                  <a:pt x="1240" y="952"/>
                </a:lnTo>
                <a:lnTo>
                  <a:pt x="1251" y="955"/>
                </a:lnTo>
                <a:lnTo>
                  <a:pt x="1262" y="959"/>
                </a:lnTo>
                <a:lnTo>
                  <a:pt x="1273" y="963"/>
                </a:lnTo>
                <a:lnTo>
                  <a:pt x="1284" y="969"/>
                </a:lnTo>
                <a:lnTo>
                  <a:pt x="1294" y="974"/>
                </a:lnTo>
                <a:lnTo>
                  <a:pt x="1303" y="979"/>
                </a:lnTo>
                <a:lnTo>
                  <a:pt x="1313" y="985"/>
                </a:lnTo>
                <a:lnTo>
                  <a:pt x="1322" y="991"/>
                </a:lnTo>
                <a:lnTo>
                  <a:pt x="1331" y="999"/>
                </a:lnTo>
                <a:lnTo>
                  <a:pt x="1340" y="1006"/>
                </a:lnTo>
                <a:lnTo>
                  <a:pt x="1348" y="1014"/>
                </a:lnTo>
                <a:lnTo>
                  <a:pt x="1355" y="1023"/>
                </a:lnTo>
                <a:lnTo>
                  <a:pt x="1364" y="1031"/>
                </a:lnTo>
                <a:lnTo>
                  <a:pt x="1370" y="1039"/>
                </a:lnTo>
                <a:lnTo>
                  <a:pt x="1377" y="1049"/>
                </a:lnTo>
                <a:lnTo>
                  <a:pt x="1382" y="1058"/>
                </a:lnTo>
                <a:lnTo>
                  <a:pt x="1389" y="1068"/>
                </a:lnTo>
                <a:lnTo>
                  <a:pt x="1394" y="1079"/>
                </a:lnTo>
                <a:lnTo>
                  <a:pt x="1399" y="1089"/>
                </a:lnTo>
                <a:lnTo>
                  <a:pt x="1403" y="1100"/>
                </a:lnTo>
                <a:lnTo>
                  <a:pt x="1406" y="1111"/>
                </a:lnTo>
                <a:lnTo>
                  <a:pt x="1409" y="1123"/>
                </a:lnTo>
                <a:lnTo>
                  <a:pt x="1413" y="1133"/>
                </a:lnTo>
                <a:lnTo>
                  <a:pt x="1415" y="1146"/>
                </a:lnTo>
                <a:lnTo>
                  <a:pt x="1416" y="1157"/>
                </a:lnTo>
                <a:lnTo>
                  <a:pt x="1417" y="1170"/>
                </a:lnTo>
                <a:lnTo>
                  <a:pt x="1417" y="1181"/>
                </a:lnTo>
                <a:lnTo>
                  <a:pt x="1417" y="1193"/>
                </a:lnTo>
                <a:lnTo>
                  <a:pt x="1416" y="1205"/>
                </a:lnTo>
                <a:lnTo>
                  <a:pt x="1415" y="1217"/>
                </a:lnTo>
                <a:lnTo>
                  <a:pt x="1413" y="1229"/>
                </a:lnTo>
                <a:lnTo>
                  <a:pt x="1409" y="1240"/>
                </a:lnTo>
                <a:lnTo>
                  <a:pt x="1406" y="1252"/>
                </a:lnTo>
                <a:lnTo>
                  <a:pt x="1403" y="1262"/>
                </a:lnTo>
                <a:lnTo>
                  <a:pt x="1399" y="1274"/>
                </a:lnTo>
                <a:lnTo>
                  <a:pt x="1394" y="1284"/>
                </a:lnTo>
                <a:lnTo>
                  <a:pt x="1389" y="1294"/>
                </a:lnTo>
                <a:lnTo>
                  <a:pt x="1382" y="1304"/>
                </a:lnTo>
                <a:lnTo>
                  <a:pt x="1377" y="1313"/>
                </a:lnTo>
                <a:lnTo>
                  <a:pt x="1370" y="1323"/>
                </a:lnTo>
                <a:lnTo>
                  <a:pt x="1364" y="1332"/>
                </a:lnTo>
                <a:lnTo>
                  <a:pt x="1355" y="1340"/>
                </a:lnTo>
                <a:lnTo>
                  <a:pt x="1348" y="1349"/>
                </a:lnTo>
                <a:lnTo>
                  <a:pt x="1340" y="1356"/>
                </a:lnTo>
                <a:lnTo>
                  <a:pt x="1331" y="1364"/>
                </a:lnTo>
                <a:lnTo>
                  <a:pt x="1322" y="1371"/>
                </a:lnTo>
                <a:lnTo>
                  <a:pt x="1313" y="1378"/>
                </a:lnTo>
                <a:lnTo>
                  <a:pt x="1303" y="1384"/>
                </a:lnTo>
                <a:lnTo>
                  <a:pt x="1294" y="1389"/>
                </a:lnTo>
                <a:lnTo>
                  <a:pt x="1284" y="1394"/>
                </a:lnTo>
                <a:lnTo>
                  <a:pt x="1273" y="1400"/>
                </a:lnTo>
                <a:lnTo>
                  <a:pt x="1262" y="1404"/>
                </a:lnTo>
                <a:lnTo>
                  <a:pt x="1251" y="1407"/>
                </a:lnTo>
                <a:lnTo>
                  <a:pt x="1240" y="1410"/>
                </a:lnTo>
                <a:lnTo>
                  <a:pt x="1228" y="1413"/>
                </a:lnTo>
                <a:lnTo>
                  <a:pt x="1217" y="1415"/>
                </a:lnTo>
                <a:lnTo>
                  <a:pt x="1204" y="1416"/>
                </a:lnTo>
                <a:lnTo>
                  <a:pt x="1193" y="1417"/>
                </a:lnTo>
                <a:lnTo>
                  <a:pt x="1180" y="1417"/>
                </a:lnTo>
                <a:close/>
                <a:moveTo>
                  <a:pt x="1180" y="816"/>
                </a:moveTo>
                <a:lnTo>
                  <a:pt x="1162" y="817"/>
                </a:lnTo>
                <a:lnTo>
                  <a:pt x="1143" y="819"/>
                </a:lnTo>
                <a:lnTo>
                  <a:pt x="1135" y="820"/>
                </a:lnTo>
                <a:lnTo>
                  <a:pt x="1125" y="821"/>
                </a:lnTo>
                <a:lnTo>
                  <a:pt x="1108" y="824"/>
                </a:lnTo>
                <a:lnTo>
                  <a:pt x="1090" y="828"/>
                </a:lnTo>
                <a:lnTo>
                  <a:pt x="1072" y="833"/>
                </a:lnTo>
                <a:lnTo>
                  <a:pt x="1055" y="839"/>
                </a:lnTo>
                <a:lnTo>
                  <a:pt x="1039" y="846"/>
                </a:lnTo>
                <a:lnTo>
                  <a:pt x="1023" y="853"/>
                </a:lnTo>
                <a:lnTo>
                  <a:pt x="1007" y="861"/>
                </a:lnTo>
                <a:lnTo>
                  <a:pt x="992" y="870"/>
                </a:lnTo>
                <a:lnTo>
                  <a:pt x="977" y="879"/>
                </a:lnTo>
                <a:lnTo>
                  <a:pt x="963" y="889"/>
                </a:lnTo>
                <a:lnTo>
                  <a:pt x="956" y="895"/>
                </a:lnTo>
                <a:lnTo>
                  <a:pt x="949" y="900"/>
                </a:lnTo>
                <a:lnTo>
                  <a:pt x="936" y="911"/>
                </a:lnTo>
                <a:lnTo>
                  <a:pt x="923" y="924"/>
                </a:lnTo>
                <a:lnTo>
                  <a:pt x="911" y="936"/>
                </a:lnTo>
                <a:lnTo>
                  <a:pt x="899" y="950"/>
                </a:lnTo>
                <a:lnTo>
                  <a:pt x="889" y="963"/>
                </a:lnTo>
                <a:lnTo>
                  <a:pt x="878" y="978"/>
                </a:lnTo>
                <a:lnTo>
                  <a:pt x="869" y="992"/>
                </a:lnTo>
                <a:lnTo>
                  <a:pt x="861" y="1007"/>
                </a:lnTo>
                <a:lnTo>
                  <a:pt x="852" y="1024"/>
                </a:lnTo>
                <a:lnTo>
                  <a:pt x="845" y="1039"/>
                </a:lnTo>
                <a:lnTo>
                  <a:pt x="839" y="1056"/>
                </a:lnTo>
                <a:lnTo>
                  <a:pt x="833" y="1073"/>
                </a:lnTo>
                <a:lnTo>
                  <a:pt x="827" y="1090"/>
                </a:lnTo>
                <a:lnTo>
                  <a:pt x="823" y="1108"/>
                </a:lnTo>
                <a:lnTo>
                  <a:pt x="820" y="1126"/>
                </a:lnTo>
                <a:lnTo>
                  <a:pt x="818" y="1143"/>
                </a:lnTo>
                <a:lnTo>
                  <a:pt x="817" y="1162"/>
                </a:lnTo>
                <a:lnTo>
                  <a:pt x="816" y="1181"/>
                </a:lnTo>
                <a:lnTo>
                  <a:pt x="817" y="1200"/>
                </a:lnTo>
                <a:lnTo>
                  <a:pt x="818" y="1218"/>
                </a:lnTo>
                <a:lnTo>
                  <a:pt x="819" y="1228"/>
                </a:lnTo>
                <a:lnTo>
                  <a:pt x="820" y="1237"/>
                </a:lnTo>
                <a:lnTo>
                  <a:pt x="823" y="1255"/>
                </a:lnTo>
                <a:lnTo>
                  <a:pt x="827" y="1273"/>
                </a:lnTo>
                <a:lnTo>
                  <a:pt x="833" y="1289"/>
                </a:lnTo>
                <a:lnTo>
                  <a:pt x="839" y="1307"/>
                </a:lnTo>
                <a:lnTo>
                  <a:pt x="845" y="1323"/>
                </a:lnTo>
                <a:lnTo>
                  <a:pt x="852" y="1339"/>
                </a:lnTo>
                <a:lnTo>
                  <a:pt x="861" y="1355"/>
                </a:lnTo>
                <a:lnTo>
                  <a:pt x="869" y="1371"/>
                </a:lnTo>
                <a:lnTo>
                  <a:pt x="878" y="1385"/>
                </a:lnTo>
                <a:lnTo>
                  <a:pt x="889" y="1400"/>
                </a:lnTo>
                <a:lnTo>
                  <a:pt x="894" y="1406"/>
                </a:lnTo>
                <a:lnTo>
                  <a:pt x="899" y="1413"/>
                </a:lnTo>
                <a:lnTo>
                  <a:pt x="911" y="1427"/>
                </a:lnTo>
                <a:lnTo>
                  <a:pt x="923" y="1439"/>
                </a:lnTo>
                <a:lnTo>
                  <a:pt x="936" y="1451"/>
                </a:lnTo>
                <a:lnTo>
                  <a:pt x="949" y="1462"/>
                </a:lnTo>
                <a:lnTo>
                  <a:pt x="963" y="1474"/>
                </a:lnTo>
                <a:lnTo>
                  <a:pt x="977" y="1483"/>
                </a:lnTo>
                <a:lnTo>
                  <a:pt x="992" y="1493"/>
                </a:lnTo>
                <a:lnTo>
                  <a:pt x="1007" y="1502"/>
                </a:lnTo>
                <a:lnTo>
                  <a:pt x="1023" y="1510"/>
                </a:lnTo>
                <a:lnTo>
                  <a:pt x="1039" y="1517"/>
                </a:lnTo>
                <a:lnTo>
                  <a:pt x="1055" y="1524"/>
                </a:lnTo>
                <a:lnTo>
                  <a:pt x="1072" y="1529"/>
                </a:lnTo>
                <a:lnTo>
                  <a:pt x="1090" y="1534"/>
                </a:lnTo>
                <a:lnTo>
                  <a:pt x="1108" y="1538"/>
                </a:lnTo>
                <a:lnTo>
                  <a:pt x="1125" y="1541"/>
                </a:lnTo>
                <a:lnTo>
                  <a:pt x="1143" y="1543"/>
                </a:lnTo>
                <a:lnTo>
                  <a:pt x="1162" y="1545"/>
                </a:lnTo>
                <a:lnTo>
                  <a:pt x="1180" y="1545"/>
                </a:lnTo>
                <a:lnTo>
                  <a:pt x="1199" y="1545"/>
                </a:lnTo>
                <a:lnTo>
                  <a:pt x="1218" y="1543"/>
                </a:lnTo>
                <a:lnTo>
                  <a:pt x="1227" y="1542"/>
                </a:lnTo>
                <a:lnTo>
                  <a:pt x="1237" y="1541"/>
                </a:lnTo>
                <a:lnTo>
                  <a:pt x="1254" y="1538"/>
                </a:lnTo>
                <a:lnTo>
                  <a:pt x="1272" y="1534"/>
                </a:lnTo>
                <a:lnTo>
                  <a:pt x="1289" y="1529"/>
                </a:lnTo>
                <a:lnTo>
                  <a:pt x="1306" y="1524"/>
                </a:lnTo>
                <a:lnTo>
                  <a:pt x="1322" y="1517"/>
                </a:lnTo>
                <a:lnTo>
                  <a:pt x="1339" y="1510"/>
                </a:lnTo>
                <a:lnTo>
                  <a:pt x="1354" y="1502"/>
                </a:lnTo>
                <a:lnTo>
                  <a:pt x="1370" y="1493"/>
                </a:lnTo>
                <a:lnTo>
                  <a:pt x="1385" y="1483"/>
                </a:lnTo>
                <a:lnTo>
                  <a:pt x="1399" y="1474"/>
                </a:lnTo>
                <a:lnTo>
                  <a:pt x="1405" y="1468"/>
                </a:lnTo>
                <a:lnTo>
                  <a:pt x="1413" y="1462"/>
                </a:lnTo>
                <a:lnTo>
                  <a:pt x="1426" y="1451"/>
                </a:lnTo>
                <a:lnTo>
                  <a:pt x="1439" y="1439"/>
                </a:lnTo>
                <a:lnTo>
                  <a:pt x="1450" y="1427"/>
                </a:lnTo>
                <a:lnTo>
                  <a:pt x="1462" y="1413"/>
                </a:lnTo>
                <a:lnTo>
                  <a:pt x="1473" y="1400"/>
                </a:lnTo>
                <a:lnTo>
                  <a:pt x="1482" y="1385"/>
                </a:lnTo>
                <a:lnTo>
                  <a:pt x="1492" y="1371"/>
                </a:lnTo>
                <a:lnTo>
                  <a:pt x="1501" y="1355"/>
                </a:lnTo>
                <a:lnTo>
                  <a:pt x="1509" y="1339"/>
                </a:lnTo>
                <a:lnTo>
                  <a:pt x="1517" y="1323"/>
                </a:lnTo>
                <a:lnTo>
                  <a:pt x="1523" y="1307"/>
                </a:lnTo>
                <a:lnTo>
                  <a:pt x="1528" y="1289"/>
                </a:lnTo>
                <a:lnTo>
                  <a:pt x="1533" y="1273"/>
                </a:lnTo>
                <a:lnTo>
                  <a:pt x="1538" y="1255"/>
                </a:lnTo>
                <a:lnTo>
                  <a:pt x="1541" y="1237"/>
                </a:lnTo>
                <a:lnTo>
                  <a:pt x="1543" y="1218"/>
                </a:lnTo>
                <a:lnTo>
                  <a:pt x="1545" y="1200"/>
                </a:lnTo>
                <a:lnTo>
                  <a:pt x="1545" y="1181"/>
                </a:lnTo>
                <a:lnTo>
                  <a:pt x="1545" y="1162"/>
                </a:lnTo>
                <a:lnTo>
                  <a:pt x="1543" y="1143"/>
                </a:lnTo>
                <a:lnTo>
                  <a:pt x="1542" y="1135"/>
                </a:lnTo>
                <a:lnTo>
                  <a:pt x="1541" y="1126"/>
                </a:lnTo>
                <a:lnTo>
                  <a:pt x="1538" y="1108"/>
                </a:lnTo>
                <a:lnTo>
                  <a:pt x="1533" y="1090"/>
                </a:lnTo>
                <a:lnTo>
                  <a:pt x="1528" y="1073"/>
                </a:lnTo>
                <a:lnTo>
                  <a:pt x="1523" y="1056"/>
                </a:lnTo>
                <a:lnTo>
                  <a:pt x="1517" y="1039"/>
                </a:lnTo>
                <a:lnTo>
                  <a:pt x="1509" y="1024"/>
                </a:lnTo>
                <a:lnTo>
                  <a:pt x="1501" y="1007"/>
                </a:lnTo>
                <a:lnTo>
                  <a:pt x="1492" y="992"/>
                </a:lnTo>
                <a:lnTo>
                  <a:pt x="1482" y="978"/>
                </a:lnTo>
                <a:lnTo>
                  <a:pt x="1473" y="963"/>
                </a:lnTo>
                <a:lnTo>
                  <a:pt x="1468" y="956"/>
                </a:lnTo>
                <a:lnTo>
                  <a:pt x="1462" y="950"/>
                </a:lnTo>
                <a:lnTo>
                  <a:pt x="1450" y="936"/>
                </a:lnTo>
                <a:lnTo>
                  <a:pt x="1439" y="924"/>
                </a:lnTo>
                <a:lnTo>
                  <a:pt x="1426" y="911"/>
                </a:lnTo>
                <a:lnTo>
                  <a:pt x="1413" y="900"/>
                </a:lnTo>
                <a:lnTo>
                  <a:pt x="1399" y="889"/>
                </a:lnTo>
                <a:lnTo>
                  <a:pt x="1385" y="879"/>
                </a:lnTo>
                <a:lnTo>
                  <a:pt x="1370" y="870"/>
                </a:lnTo>
                <a:lnTo>
                  <a:pt x="1354" y="861"/>
                </a:lnTo>
                <a:lnTo>
                  <a:pt x="1339" y="853"/>
                </a:lnTo>
                <a:lnTo>
                  <a:pt x="1322" y="846"/>
                </a:lnTo>
                <a:lnTo>
                  <a:pt x="1306" y="839"/>
                </a:lnTo>
                <a:lnTo>
                  <a:pt x="1289" y="833"/>
                </a:lnTo>
                <a:lnTo>
                  <a:pt x="1272" y="828"/>
                </a:lnTo>
                <a:lnTo>
                  <a:pt x="1254" y="824"/>
                </a:lnTo>
                <a:lnTo>
                  <a:pt x="1237" y="821"/>
                </a:lnTo>
                <a:lnTo>
                  <a:pt x="1218" y="819"/>
                </a:lnTo>
                <a:lnTo>
                  <a:pt x="1199" y="817"/>
                </a:lnTo>
                <a:lnTo>
                  <a:pt x="1180" y="816"/>
                </a:lnTo>
                <a:close/>
                <a:moveTo>
                  <a:pt x="1180" y="472"/>
                </a:moveTo>
                <a:lnTo>
                  <a:pt x="1064" y="472"/>
                </a:lnTo>
                <a:lnTo>
                  <a:pt x="1023" y="472"/>
                </a:lnTo>
                <a:lnTo>
                  <a:pt x="991" y="473"/>
                </a:lnTo>
                <a:lnTo>
                  <a:pt x="939" y="474"/>
                </a:lnTo>
                <a:lnTo>
                  <a:pt x="888" y="476"/>
                </a:lnTo>
                <a:lnTo>
                  <a:pt x="861" y="478"/>
                </a:lnTo>
                <a:lnTo>
                  <a:pt x="836" y="480"/>
                </a:lnTo>
                <a:lnTo>
                  <a:pt x="813" y="483"/>
                </a:lnTo>
                <a:lnTo>
                  <a:pt x="791" y="487"/>
                </a:lnTo>
                <a:lnTo>
                  <a:pt x="770" y="492"/>
                </a:lnTo>
                <a:lnTo>
                  <a:pt x="751" y="497"/>
                </a:lnTo>
                <a:lnTo>
                  <a:pt x="733" y="503"/>
                </a:lnTo>
                <a:lnTo>
                  <a:pt x="716" y="509"/>
                </a:lnTo>
                <a:lnTo>
                  <a:pt x="698" y="515"/>
                </a:lnTo>
                <a:lnTo>
                  <a:pt x="682" y="524"/>
                </a:lnTo>
                <a:lnTo>
                  <a:pt x="674" y="528"/>
                </a:lnTo>
                <a:lnTo>
                  <a:pt x="666" y="532"/>
                </a:lnTo>
                <a:lnTo>
                  <a:pt x="650" y="541"/>
                </a:lnTo>
                <a:lnTo>
                  <a:pt x="635" y="552"/>
                </a:lnTo>
                <a:lnTo>
                  <a:pt x="620" y="563"/>
                </a:lnTo>
                <a:lnTo>
                  <a:pt x="605" y="577"/>
                </a:lnTo>
                <a:lnTo>
                  <a:pt x="590" y="590"/>
                </a:lnTo>
                <a:lnTo>
                  <a:pt x="577" y="605"/>
                </a:lnTo>
                <a:lnTo>
                  <a:pt x="563" y="621"/>
                </a:lnTo>
                <a:lnTo>
                  <a:pt x="558" y="628"/>
                </a:lnTo>
                <a:lnTo>
                  <a:pt x="552" y="635"/>
                </a:lnTo>
                <a:lnTo>
                  <a:pt x="541" y="651"/>
                </a:lnTo>
                <a:lnTo>
                  <a:pt x="532" y="666"/>
                </a:lnTo>
                <a:lnTo>
                  <a:pt x="528" y="675"/>
                </a:lnTo>
                <a:lnTo>
                  <a:pt x="523" y="683"/>
                </a:lnTo>
                <a:lnTo>
                  <a:pt x="515" y="699"/>
                </a:lnTo>
                <a:lnTo>
                  <a:pt x="509" y="716"/>
                </a:lnTo>
                <a:lnTo>
                  <a:pt x="503" y="734"/>
                </a:lnTo>
                <a:lnTo>
                  <a:pt x="496" y="752"/>
                </a:lnTo>
                <a:lnTo>
                  <a:pt x="491" y="771"/>
                </a:lnTo>
                <a:lnTo>
                  <a:pt x="487" y="791"/>
                </a:lnTo>
                <a:lnTo>
                  <a:pt x="483" y="813"/>
                </a:lnTo>
                <a:lnTo>
                  <a:pt x="481" y="825"/>
                </a:lnTo>
                <a:lnTo>
                  <a:pt x="480" y="836"/>
                </a:lnTo>
                <a:lnTo>
                  <a:pt x="479" y="849"/>
                </a:lnTo>
                <a:lnTo>
                  <a:pt x="478" y="861"/>
                </a:lnTo>
                <a:lnTo>
                  <a:pt x="477" y="875"/>
                </a:lnTo>
                <a:lnTo>
                  <a:pt x="476" y="888"/>
                </a:lnTo>
                <a:lnTo>
                  <a:pt x="473" y="939"/>
                </a:lnTo>
                <a:lnTo>
                  <a:pt x="472" y="991"/>
                </a:lnTo>
                <a:lnTo>
                  <a:pt x="471" y="1065"/>
                </a:lnTo>
                <a:lnTo>
                  <a:pt x="471" y="1181"/>
                </a:lnTo>
                <a:lnTo>
                  <a:pt x="471" y="1298"/>
                </a:lnTo>
                <a:lnTo>
                  <a:pt x="471" y="1338"/>
                </a:lnTo>
                <a:lnTo>
                  <a:pt x="472" y="1372"/>
                </a:lnTo>
                <a:lnTo>
                  <a:pt x="473" y="1424"/>
                </a:lnTo>
                <a:lnTo>
                  <a:pt x="476" y="1474"/>
                </a:lnTo>
                <a:lnTo>
                  <a:pt x="478" y="1501"/>
                </a:lnTo>
                <a:lnTo>
                  <a:pt x="480" y="1527"/>
                </a:lnTo>
                <a:lnTo>
                  <a:pt x="483" y="1550"/>
                </a:lnTo>
                <a:lnTo>
                  <a:pt x="487" y="1572"/>
                </a:lnTo>
                <a:lnTo>
                  <a:pt x="491" y="1591"/>
                </a:lnTo>
                <a:lnTo>
                  <a:pt x="496" y="1611"/>
                </a:lnTo>
                <a:lnTo>
                  <a:pt x="503" y="1629"/>
                </a:lnTo>
                <a:lnTo>
                  <a:pt x="509" y="1647"/>
                </a:lnTo>
                <a:lnTo>
                  <a:pt x="515" y="1663"/>
                </a:lnTo>
                <a:lnTo>
                  <a:pt x="523" y="1680"/>
                </a:lnTo>
                <a:lnTo>
                  <a:pt x="528" y="1688"/>
                </a:lnTo>
                <a:lnTo>
                  <a:pt x="532" y="1695"/>
                </a:lnTo>
                <a:lnTo>
                  <a:pt x="541" y="1712"/>
                </a:lnTo>
                <a:lnTo>
                  <a:pt x="552" y="1727"/>
                </a:lnTo>
                <a:lnTo>
                  <a:pt x="563" y="1742"/>
                </a:lnTo>
                <a:lnTo>
                  <a:pt x="577" y="1757"/>
                </a:lnTo>
                <a:lnTo>
                  <a:pt x="590" y="1771"/>
                </a:lnTo>
                <a:lnTo>
                  <a:pt x="605" y="1786"/>
                </a:lnTo>
                <a:lnTo>
                  <a:pt x="620" y="1799"/>
                </a:lnTo>
                <a:lnTo>
                  <a:pt x="628" y="1805"/>
                </a:lnTo>
                <a:lnTo>
                  <a:pt x="635" y="1810"/>
                </a:lnTo>
                <a:lnTo>
                  <a:pt x="650" y="1820"/>
                </a:lnTo>
                <a:lnTo>
                  <a:pt x="666" y="1830"/>
                </a:lnTo>
                <a:lnTo>
                  <a:pt x="674" y="1835"/>
                </a:lnTo>
                <a:lnTo>
                  <a:pt x="682" y="1839"/>
                </a:lnTo>
                <a:lnTo>
                  <a:pt x="698" y="1846"/>
                </a:lnTo>
                <a:lnTo>
                  <a:pt x="716" y="1854"/>
                </a:lnTo>
                <a:lnTo>
                  <a:pt x="733" y="1860"/>
                </a:lnTo>
                <a:lnTo>
                  <a:pt x="751" y="1865"/>
                </a:lnTo>
                <a:lnTo>
                  <a:pt x="770" y="1870"/>
                </a:lnTo>
                <a:lnTo>
                  <a:pt x="791" y="1876"/>
                </a:lnTo>
                <a:lnTo>
                  <a:pt x="813" y="1880"/>
                </a:lnTo>
                <a:lnTo>
                  <a:pt x="824" y="1881"/>
                </a:lnTo>
                <a:lnTo>
                  <a:pt x="836" y="1883"/>
                </a:lnTo>
                <a:lnTo>
                  <a:pt x="848" y="1884"/>
                </a:lnTo>
                <a:lnTo>
                  <a:pt x="861" y="1885"/>
                </a:lnTo>
                <a:lnTo>
                  <a:pt x="874" y="1886"/>
                </a:lnTo>
                <a:lnTo>
                  <a:pt x="888" y="1887"/>
                </a:lnTo>
                <a:lnTo>
                  <a:pt x="939" y="1889"/>
                </a:lnTo>
                <a:lnTo>
                  <a:pt x="991" y="1890"/>
                </a:lnTo>
                <a:lnTo>
                  <a:pt x="1064" y="1890"/>
                </a:lnTo>
                <a:lnTo>
                  <a:pt x="1180" y="1891"/>
                </a:lnTo>
                <a:lnTo>
                  <a:pt x="1297" y="1890"/>
                </a:lnTo>
                <a:lnTo>
                  <a:pt x="1338" y="1890"/>
                </a:lnTo>
                <a:lnTo>
                  <a:pt x="1371" y="1890"/>
                </a:lnTo>
                <a:lnTo>
                  <a:pt x="1423" y="1889"/>
                </a:lnTo>
                <a:lnTo>
                  <a:pt x="1473" y="1887"/>
                </a:lnTo>
                <a:lnTo>
                  <a:pt x="1500" y="1885"/>
                </a:lnTo>
                <a:lnTo>
                  <a:pt x="1526" y="1883"/>
                </a:lnTo>
                <a:lnTo>
                  <a:pt x="1549" y="1880"/>
                </a:lnTo>
                <a:lnTo>
                  <a:pt x="1571" y="1876"/>
                </a:lnTo>
                <a:lnTo>
                  <a:pt x="1591" y="1870"/>
                </a:lnTo>
                <a:lnTo>
                  <a:pt x="1610" y="1865"/>
                </a:lnTo>
                <a:lnTo>
                  <a:pt x="1628" y="1860"/>
                </a:lnTo>
                <a:lnTo>
                  <a:pt x="1646" y="1854"/>
                </a:lnTo>
                <a:lnTo>
                  <a:pt x="1663" y="1846"/>
                </a:lnTo>
                <a:lnTo>
                  <a:pt x="1679" y="1839"/>
                </a:lnTo>
                <a:lnTo>
                  <a:pt x="1687" y="1835"/>
                </a:lnTo>
                <a:lnTo>
                  <a:pt x="1695" y="1830"/>
                </a:lnTo>
                <a:lnTo>
                  <a:pt x="1711" y="1820"/>
                </a:lnTo>
                <a:lnTo>
                  <a:pt x="1726" y="1810"/>
                </a:lnTo>
                <a:lnTo>
                  <a:pt x="1742" y="1799"/>
                </a:lnTo>
                <a:lnTo>
                  <a:pt x="1756" y="1786"/>
                </a:lnTo>
                <a:lnTo>
                  <a:pt x="1771" y="1771"/>
                </a:lnTo>
                <a:lnTo>
                  <a:pt x="1785" y="1757"/>
                </a:lnTo>
                <a:lnTo>
                  <a:pt x="1798" y="1742"/>
                </a:lnTo>
                <a:lnTo>
                  <a:pt x="1804" y="1735"/>
                </a:lnTo>
                <a:lnTo>
                  <a:pt x="1809" y="1727"/>
                </a:lnTo>
                <a:lnTo>
                  <a:pt x="1820" y="1712"/>
                </a:lnTo>
                <a:lnTo>
                  <a:pt x="1829" y="1695"/>
                </a:lnTo>
                <a:lnTo>
                  <a:pt x="1834" y="1688"/>
                </a:lnTo>
                <a:lnTo>
                  <a:pt x="1838" y="1680"/>
                </a:lnTo>
                <a:lnTo>
                  <a:pt x="1846" y="1663"/>
                </a:lnTo>
                <a:lnTo>
                  <a:pt x="1853" y="1647"/>
                </a:lnTo>
                <a:lnTo>
                  <a:pt x="1859" y="1629"/>
                </a:lnTo>
                <a:lnTo>
                  <a:pt x="1865" y="1611"/>
                </a:lnTo>
                <a:lnTo>
                  <a:pt x="1870" y="1591"/>
                </a:lnTo>
                <a:lnTo>
                  <a:pt x="1875" y="1572"/>
                </a:lnTo>
                <a:lnTo>
                  <a:pt x="1879" y="1550"/>
                </a:lnTo>
                <a:lnTo>
                  <a:pt x="1880" y="1538"/>
                </a:lnTo>
                <a:lnTo>
                  <a:pt x="1882" y="1527"/>
                </a:lnTo>
                <a:lnTo>
                  <a:pt x="1883" y="1514"/>
                </a:lnTo>
                <a:lnTo>
                  <a:pt x="1884" y="1501"/>
                </a:lnTo>
                <a:lnTo>
                  <a:pt x="1885" y="1488"/>
                </a:lnTo>
                <a:lnTo>
                  <a:pt x="1886" y="1474"/>
                </a:lnTo>
                <a:lnTo>
                  <a:pt x="1888" y="1424"/>
                </a:lnTo>
                <a:lnTo>
                  <a:pt x="1889" y="1372"/>
                </a:lnTo>
                <a:lnTo>
                  <a:pt x="1889" y="1298"/>
                </a:lnTo>
                <a:lnTo>
                  <a:pt x="1891" y="1181"/>
                </a:lnTo>
                <a:lnTo>
                  <a:pt x="1889" y="1065"/>
                </a:lnTo>
                <a:lnTo>
                  <a:pt x="1889" y="1024"/>
                </a:lnTo>
                <a:lnTo>
                  <a:pt x="1889" y="991"/>
                </a:lnTo>
                <a:lnTo>
                  <a:pt x="1888" y="939"/>
                </a:lnTo>
                <a:lnTo>
                  <a:pt x="1886" y="888"/>
                </a:lnTo>
                <a:lnTo>
                  <a:pt x="1884" y="861"/>
                </a:lnTo>
                <a:lnTo>
                  <a:pt x="1882" y="836"/>
                </a:lnTo>
                <a:lnTo>
                  <a:pt x="1879" y="813"/>
                </a:lnTo>
                <a:lnTo>
                  <a:pt x="1875" y="791"/>
                </a:lnTo>
                <a:lnTo>
                  <a:pt x="1870" y="771"/>
                </a:lnTo>
                <a:lnTo>
                  <a:pt x="1865" y="752"/>
                </a:lnTo>
                <a:lnTo>
                  <a:pt x="1859" y="734"/>
                </a:lnTo>
                <a:lnTo>
                  <a:pt x="1853" y="716"/>
                </a:lnTo>
                <a:lnTo>
                  <a:pt x="1846" y="699"/>
                </a:lnTo>
                <a:lnTo>
                  <a:pt x="1838" y="683"/>
                </a:lnTo>
                <a:lnTo>
                  <a:pt x="1834" y="675"/>
                </a:lnTo>
                <a:lnTo>
                  <a:pt x="1829" y="666"/>
                </a:lnTo>
                <a:lnTo>
                  <a:pt x="1820" y="651"/>
                </a:lnTo>
                <a:lnTo>
                  <a:pt x="1809" y="635"/>
                </a:lnTo>
                <a:lnTo>
                  <a:pt x="1798" y="621"/>
                </a:lnTo>
                <a:lnTo>
                  <a:pt x="1785" y="605"/>
                </a:lnTo>
                <a:lnTo>
                  <a:pt x="1771" y="590"/>
                </a:lnTo>
                <a:lnTo>
                  <a:pt x="1756" y="577"/>
                </a:lnTo>
                <a:lnTo>
                  <a:pt x="1742" y="563"/>
                </a:lnTo>
                <a:lnTo>
                  <a:pt x="1734" y="558"/>
                </a:lnTo>
                <a:lnTo>
                  <a:pt x="1726" y="552"/>
                </a:lnTo>
                <a:lnTo>
                  <a:pt x="1711" y="541"/>
                </a:lnTo>
                <a:lnTo>
                  <a:pt x="1695" y="532"/>
                </a:lnTo>
                <a:lnTo>
                  <a:pt x="1687" y="528"/>
                </a:lnTo>
                <a:lnTo>
                  <a:pt x="1679" y="524"/>
                </a:lnTo>
                <a:lnTo>
                  <a:pt x="1663" y="515"/>
                </a:lnTo>
                <a:lnTo>
                  <a:pt x="1646" y="509"/>
                </a:lnTo>
                <a:lnTo>
                  <a:pt x="1628" y="503"/>
                </a:lnTo>
                <a:lnTo>
                  <a:pt x="1610" y="497"/>
                </a:lnTo>
                <a:lnTo>
                  <a:pt x="1591" y="492"/>
                </a:lnTo>
                <a:lnTo>
                  <a:pt x="1571" y="487"/>
                </a:lnTo>
                <a:lnTo>
                  <a:pt x="1549" y="483"/>
                </a:lnTo>
                <a:lnTo>
                  <a:pt x="1538" y="481"/>
                </a:lnTo>
                <a:lnTo>
                  <a:pt x="1526" y="480"/>
                </a:lnTo>
                <a:lnTo>
                  <a:pt x="1514" y="479"/>
                </a:lnTo>
                <a:lnTo>
                  <a:pt x="1500" y="478"/>
                </a:lnTo>
                <a:lnTo>
                  <a:pt x="1488" y="477"/>
                </a:lnTo>
                <a:lnTo>
                  <a:pt x="1473" y="476"/>
                </a:lnTo>
                <a:lnTo>
                  <a:pt x="1423" y="474"/>
                </a:lnTo>
                <a:lnTo>
                  <a:pt x="1371" y="473"/>
                </a:lnTo>
                <a:lnTo>
                  <a:pt x="1297" y="472"/>
                </a:lnTo>
                <a:lnTo>
                  <a:pt x="1180" y="472"/>
                </a:lnTo>
                <a:close/>
                <a:moveTo>
                  <a:pt x="1180" y="600"/>
                </a:moveTo>
                <a:lnTo>
                  <a:pt x="1295" y="600"/>
                </a:lnTo>
                <a:lnTo>
                  <a:pt x="1367" y="600"/>
                </a:lnTo>
                <a:lnTo>
                  <a:pt x="1418" y="602"/>
                </a:lnTo>
                <a:lnTo>
                  <a:pt x="1468" y="604"/>
                </a:lnTo>
                <a:lnTo>
                  <a:pt x="1492" y="605"/>
                </a:lnTo>
                <a:lnTo>
                  <a:pt x="1503" y="606"/>
                </a:lnTo>
                <a:lnTo>
                  <a:pt x="1514" y="607"/>
                </a:lnTo>
                <a:lnTo>
                  <a:pt x="1532" y="610"/>
                </a:lnTo>
                <a:lnTo>
                  <a:pt x="1550" y="613"/>
                </a:lnTo>
                <a:lnTo>
                  <a:pt x="1565" y="616"/>
                </a:lnTo>
                <a:lnTo>
                  <a:pt x="1578" y="621"/>
                </a:lnTo>
                <a:lnTo>
                  <a:pt x="1590" y="625"/>
                </a:lnTo>
                <a:lnTo>
                  <a:pt x="1599" y="628"/>
                </a:lnTo>
                <a:lnTo>
                  <a:pt x="1611" y="633"/>
                </a:lnTo>
                <a:lnTo>
                  <a:pt x="1622" y="638"/>
                </a:lnTo>
                <a:lnTo>
                  <a:pt x="1633" y="644"/>
                </a:lnTo>
                <a:lnTo>
                  <a:pt x="1643" y="650"/>
                </a:lnTo>
                <a:lnTo>
                  <a:pt x="1653" y="657"/>
                </a:lnTo>
                <a:lnTo>
                  <a:pt x="1663" y="664"/>
                </a:lnTo>
                <a:lnTo>
                  <a:pt x="1672" y="673"/>
                </a:lnTo>
                <a:lnTo>
                  <a:pt x="1680" y="681"/>
                </a:lnTo>
                <a:lnTo>
                  <a:pt x="1690" y="690"/>
                </a:lnTo>
                <a:lnTo>
                  <a:pt x="1698" y="700"/>
                </a:lnTo>
                <a:lnTo>
                  <a:pt x="1705" y="709"/>
                </a:lnTo>
                <a:lnTo>
                  <a:pt x="1711" y="719"/>
                </a:lnTo>
                <a:lnTo>
                  <a:pt x="1718" y="729"/>
                </a:lnTo>
                <a:lnTo>
                  <a:pt x="1724" y="739"/>
                </a:lnTo>
                <a:lnTo>
                  <a:pt x="1729" y="751"/>
                </a:lnTo>
                <a:lnTo>
                  <a:pt x="1733" y="762"/>
                </a:lnTo>
                <a:lnTo>
                  <a:pt x="1742" y="784"/>
                </a:lnTo>
                <a:lnTo>
                  <a:pt x="1745" y="797"/>
                </a:lnTo>
                <a:lnTo>
                  <a:pt x="1749" y="812"/>
                </a:lnTo>
                <a:lnTo>
                  <a:pt x="1752" y="829"/>
                </a:lnTo>
                <a:lnTo>
                  <a:pt x="1754" y="849"/>
                </a:lnTo>
                <a:lnTo>
                  <a:pt x="1756" y="870"/>
                </a:lnTo>
                <a:lnTo>
                  <a:pt x="1758" y="895"/>
                </a:lnTo>
                <a:lnTo>
                  <a:pt x="1760" y="945"/>
                </a:lnTo>
                <a:lnTo>
                  <a:pt x="1761" y="995"/>
                </a:lnTo>
                <a:lnTo>
                  <a:pt x="1762" y="1067"/>
                </a:lnTo>
                <a:lnTo>
                  <a:pt x="1762" y="1181"/>
                </a:lnTo>
                <a:lnTo>
                  <a:pt x="1762" y="1296"/>
                </a:lnTo>
                <a:lnTo>
                  <a:pt x="1761" y="1367"/>
                </a:lnTo>
                <a:lnTo>
                  <a:pt x="1760" y="1418"/>
                </a:lnTo>
                <a:lnTo>
                  <a:pt x="1758" y="1468"/>
                </a:lnTo>
                <a:lnTo>
                  <a:pt x="1756" y="1492"/>
                </a:lnTo>
                <a:lnTo>
                  <a:pt x="1755" y="1504"/>
                </a:lnTo>
                <a:lnTo>
                  <a:pt x="1754" y="1514"/>
                </a:lnTo>
                <a:lnTo>
                  <a:pt x="1752" y="1533"/>
                </a:lnTo>
                <a:lnTo>
                  <a:pt x="1749" y="1551"/>
                </a:lnTo>
                <a:lnTo>
                  <a:pt x="1745" y="1565"/>
                </a:lnTo>
                <a:lnTo>
                  <a:pt x="1742" y="1579"/>
                </a:lnTo>
                <a:lnTo>
                  <a:pt x="1737" y="1590"/>
                </a:lnTo>
                <a:lnTo>
                  <a:pt x="1733" y="1600"/>
                </a:lnTo>
                <a:lnTo>
                  <a:pt x="1729" y="1612"/>
                </a:lnTo>
                <a:lnTo>
                  <a:pt x="1724" y="1623"/>
                </a:lnTo>
                <a:lnTo>
                  <a:pt x="1718" y="1634"/>
                </a:lnTo>
                <a:lnTo>
                  <a:pt x="1711" y="1643"/>
                </a:lnTo>
                <a:lnTo>
                  <a:pt x="1705" y="1654"/>
                </a:lnTo>
                <a:lnTo>
                  <a:pt x="1698" y="1663"/>
                </a:lnTo>
                <a:lnTo>
                  <a:pt x="1690" y="1673"/>
                </a:lnTo>
                <a:lnTo>
                  <a:pt x="1680" y="1681"/>
                </a:lnTo>
                <a:lnTo>
                  <a:pt x="1672" y="1690"/>
                </a:lnTo>
                <a:lnTo>
                  <a:pt x="1663" y="1699"/>
                </a:lnTo>
                <a:lnTo>
                  <a:pt x="1653" y="1706"/>
                </a:lnTo>
                <a:lnTo>
                  <a:pt x="1643" y="1712"/>
                </a:lnTo>
                <a:lnTo>
                  <a:pt x="1633" y="1718"/>
                </a:lnTo>
                <a:lnTo>
                  <a:pt x="1622" y="1725"/>
                </a:lnTo>
                <a:lnTo>
                  <a:pt x="1611" y="1730"/>
                </a:lnTo>
                <a:lnTo>
                  <a:pt x="1599" y="1734"/>
                </a:lnTo>
                <a:lnTo>
                  <a:pt x="1578" y="1742"/>
                </a:lnTo>
                <a:lnTo>
                  <a:pt x="1565" y="1745"/>
                </a:lnTo>
                <a:lnTo>
                  <a:pt x="1550" y="1750"/>
                </a:lnTo>
                <a:lnTo>
                  <a:pt x="1532" y="1753"/>
                </a:lnTo>
                <a:lnTo>
                  <a:pt x="1514" y="1755"/>
                </a:lnTo>
                <a:lnTo>
                  <a:pt x="1492" y="1757"/>
                </a:lnTo>
                <a:lnTo>
                  <a:pt x="1468" y="1759"/>
                </a:lnTo>
                <a:lnTo>
                  <a:pt x="1418" y="1761"/>
                </a:lnTo>
                <a:lnTo>
                  <a:pt x="1367" y="1762"/>
                </a:lnTo>
                <a:lnTo>
                  <a:pt x="1295" y="1763"/>
                </a:lnTo>
                <a:lnTo>
                  <a:pt x="1180" y="1763"/>
                </a:lnTo>
                <a:lnTo>
                  <a:pt x="1067" y="1763"/>
                </a:lnTo>
                <a:lnTo>
                  <a:pt x="994" y="1762"/>
                </a:lnTo>
                <a:lnTo>
                  <a:pt x="944" y="1761"/>
                </a:lnTo>
                <a:lnTo>
                  <a:pt x="894" y="1759"/>
                </a:lnTo>
                <a:lnTo>
                  <a:pt x="869" y="1757"/>
                </a:lnTo>
                <a:lnTo>
                  <a:pt x="859" y="1756"/>
                </a:lnTo>
                <a:lnTo>
                  <a:pt x="847" y="1755"/>
                </a:lnTo>
                <a:lnTo>
                  <a:pt x="828" y="1753"/>
                </a:lnTo>
                <a:lnTo>
                  <a:pt x="812" y="1750"/>
                </a:lnTo>
                <a:lnTo>
                  <a:pt x="796" y="1745"/>
                </a:lnTo>
                <a:lnTo>
                  <a:pt x="784" y="1742"/>
                </a:lnTo>
                <a:lnTo>
                  <a:pt x="772" y="1738"/>
                </a:lnTo>
                <a:lnTo>
                  <a:pt x="762" y="1734"/>
                </a:lnTo>
                <a:lnTo>
                  <a:pt x="750" y="1730"/>
                </a:lnTo>
                <a:lnTo>
                  <a:pt x="739" y="1725"/>
                </a:lnTo>
                <a:lnTo>
                  <a:pt x="729" y="1718"/>
                </a:lnTo>
                <a:lnTo>
                  <a:pt x="718" y="1712"/>
                </a:lnTo>
                <a:lnTo>
                  <a:pt x="709" y="1706"/>
                </a:lnTo>
                <a:lnTo>
                  <a:pt x="699" y="1699"/>
                </a:lnTo>
                <a:lnTo>
                  <a:pt x="690" y="1690"/>
                </a:lnTo>
                <a:lnTo>
                  <a:pt x="681" y="1681"/>
                </a:lnTo>
                <a:lnTo>
                  <a:pt x="671" y="1673"/>
                </a:lnTo>
                <a:lnTo>
                  <a:pt x="664" y="1663"/>
                </a:lnTo>
                <a:lnTo>
                  <a:pt x="657" y="1654"/>
                </a:lnTo>
                <a:lnTo>
                  <a:pt x="649" y="1643"/>
                </a:lnTo>
                <a:lnTo>
                  <a:pt x="643" y="1634"/>
                </a:lnTo>
                <a:lnTo>
                  <a:pt x="638" y="1623"/>
                </a:lnTo>
                <a:lnTo>
                  <a:pt x="633" y="1612"/>
                </a:lnTo>
                <a:lnTo>
                  <a:pt x="628" y="1600"/>
                </a:lnTo>
                <a:lnTo>
                  <a:pt x="620" y="1579"/>
                </a:lnTo>
                <a:lnTo>
                  <a:pt x="616" y="1565"/>
                </a:lnTo>
                <a:lnTo>
                  <a:pt x="613" y="1551"/>
                </a:lnTo>
                <a:lnTo>
                  <a:pt x="610" y="1534"/>
                </a:lnTo>
                <a:lnTo>
                  <a:pt x="607" y="1514"/>
                </a:lnTo>
                <a:lnTo>
                  <a:pt x="605" y="1492"/>
                </a:lnTo>
                <a:lnTo>
                  <a:pt x="604" y="1468"/>
                </a:lnTo>
                <a:lnTo>
                  <a:pt x="602" y="1418"/>
                </a:lnTo>
                <a:lnTo>
                  <a:pt x="599" y="1367"/>
                </a:lnTo>
                <a:lnTo>
                  <a:pt x="599" y="1296"/>
                </a:lnTo>
                <a:lnTo>
                  <a:pt x="599" y="1181"/>
                </a:lnTo>
                <a:lnTo>
                  <a:pt x="599" y="1067"/>
                </a:lnTo>
                <a:lnTo>
                  <a:pt x="599" y="995"/>
                </a:lnTo>
                <a:lnTo>
                  <a:pt x="602" y="945"/>
                </a:lnTo>
                <a:lnTo>
                  <a:pt x="604" y="895"/>
                </a:lnTo>
                <a:lnTo>
                  <a:pt x="605" y="870"/>
                </a:lnTo>
                <a:lnTo>
                  <a:pt x="606" y="859"/>
                </a:lnTo>
                <a:lnTo>
                  <a:pt x="607" y="849"/>
                </a:lnTo>
                <a:lnTo>
                  <a:pt x="610" y="829"/>
                </a:lnTo>
                <a:lnTo>
                  <a:pt x="613" y="812"/>
                </a:lnTo>
                <a:lnTo>
                  <a:pt x="616" y="797"/>
                </a:lnTo>
                <a:lnTo>
                  <a:pt x="620" y="784"/>
                </a:lnTo>
                <a:lnTo>
                  <a:pt x="623" y="773"/>
                </a:lnTo>
                <a:lnTo>
                  <a:pt x="628" y="762"/>
                </a:lnTo>
                <a:lnTo>
                  <a:pt x="633" y="751"/>
                </a:lnTo>
                <a:lnTo>
                  <a:pt x="638" y="739"/>
                </a:lnTo>
                <a:lnTo>
                  <a:pt x="643" y="729"/>
                </a:lnTo>
                <a:lnTo>
                  <a:pt x="649" y="719"/>
                </a:lnTo>
                <a:lnTo>
                  <a:pt x="657" y="709"/>
                </a:lnTo>
                <a:lnTo>
                  <a:pt x="664" y="700"/>
                </a:lnTo>
                <a:lnTo>
                  <a:pt x="671" y="690"/>
                </a:lnTo>
                <a:lnTo>
                  <a:pt x="681" y="681"/>
                </a:lnTo>
                <a:lnTo>
                  <a:pt x="690" y="673"/>
                </a:lnTo>
                <a:lnTo>
                  <a:pt x="699" y="664"/>
                </a:lnTo>
                <a:lnTo>
                  <a:pt x="709" y="657"/>
                </a:lnTo>
                <a:lnTo>
                  <a:pt x="718" y="650"/>
                </a:lnTo>
                <a:lnTo>
                  <a:pt x="729" y="644"/>
                </a:lnTo>
                <a:lnTo>
                  <a:pt x="739" y="638"/>
                </a:lnTo>
                <a:lnTo>
                  <a:pt x="750" y="633"/>
                </a:lnTo>
                <a:lnTo>
                  <a:pt x="762" y="628"/>
                </a:lnTo>
                <a:lnTo>
                  <a:pt x="784" y="621"/>
                </a:lnTo>
                <a:lnTo>
                  <a:pt x="796" y="616"/>
                </a:lnTo>
                <a:lnTo>
                  <a:pt x="812" y="613"/>
                </a:lnTo>
                <a:lnTo>
                  <a:pt x="828" y="610"/>
                </a:lnTo>
                <a:lnTo>
                  <a:pt x="847" y="607"/>
                </a:lnTo>
                <a:lnTo>
                  <a:pt x="869" y="605"/>
                </a:lnTo>
                <a:lnTo>
                  <a:pt x="894" y="604"/>
                </a:lnTo>
                <a:lnTo>
                  <a:pt x="944" y="602"/>
                </a:lnTo>
                <a:lnTo>
                  <a:pt x="994" y="600"/>
                </a:lnTo>
                <a:lnTo>
                  <a:pt x="1067" y="600"/>
                </a:lnTo>
                <a:lnTo>
                  <a:pt x="1180" y="600"/>
                </a:lnTo>
                <a:close/>
                <a:moveTo>
                  <a:pt x="0" y="1181"/>
                </a:moveTo>
                <a:lnTo>
                  <a:pt x="1" y="1151"/>
                </a:lnTo>
                <a:lnTo>
                  <a:pt x="2" y="1121"/>
                </a:lnTo>
                <a:lnTo>
                  <a:pt x="4" y="1090"/>
                </a:lnTo>
                <a:lnTo>
                  <a:pt x="6" y="1060"/>
                </a:lnTo>
                <a:lnTo>
                  <a:pt x="9" y="1031"/>
                </a:lnTo>
                <a:lnTo>
                  <a:pt x="13" y="1002"/>
                </a:lnTo>
                <a:lnTo>
                  <a:pt x="18" y="973"/>
                </a:lnTo>
                <a:lnTo>
                  <a:pt x="24" y="944"/>
                </a:lnTo>
                <a:lnTo>
                  <a:pt x="30" y="914"/>
                </a:lnTo>
                <a:lnTo>
                  <a:pt x="37" y="886"/>
                </a:lnTo>
                <a:lnTo>
                  <a:pt x="44" y="858"/>
                </a:lnTo>
                <a:lnTo>
                  <a:pt x="53" y="830"/>
                </a:lnTo>
                <a:lnTo>
                  <a:pt x="62" y="803"/>
                </a:lnTo>
                <a:lnTo>
                  <a:pt x="72" y="775"/>
                </a:lnTo>
                <a:lnTo>
                  <a:pt x="82" y="749"/>
                </a:lnTo>
                <a:lnTo>
                  <a:pt x="92" y="722"/>
                </a:lnTo>
                <a:lnTo>
                  <a:pt x="105" y="696"/>
                </a:lnTo>
                <a:lnTo>
                  <a:pt x="116" y="670"/>
                </a:lnTo>
                <a:lnTo>
                  <a:pt x="129" y="644"/>
                </a:lnTo>
                <a:lnTo>
                  <a:pt x="142" y="619"/>
                </a:lnTo>
                <a:lnTo>
                  <a:pt x="157" y="594"/>
                </a:lnTo>
                <a:lnTo>
                  <a:pt x="171" y="569"/>
                </a:lnTo>
                <a:lnTo>
                  <a:pt x="186" y="545"/>
                </a:lnTo>
                <a:lnTo>
                  <a:pt x="202" y="521"/>
                </a:lnTo>
                <a:lnTo>
                  <a:pt x="218" y="498"/>
                </a:lnTo>
                <a:lnTo>
                  <a:pt x="235" y="475"/>
                </a:lnTo>
                <a:lnTo>
                  <a:pt x="252" y="452"/>
                </a:lnTo>
                <a:lnTo>
                  <a:pt x="269" y="430"/>
                </a:lnTo>
                <a:lnTo>
                  <a:pt x="288" y="408"/>
                </a:lnTo>
                <a:lnTo>
                  <a:pt x="307" y="387"/>
                </a:lnTo>
                <a:lnTo>
                  <a:pt x="326" y="367"/>
                </a:lnTo>
                <a:lnTo>
                  <a:pt x="345" y="347"/>
                </a:lnTo>
                <a:lnTo>
                  <a:pt x="366" y="326"/>
                </a:lnTo>
                <a:lnTo>
                  <a:pt x="387" y="307"/>
                </a:lnTo>
                <a:lnTo>
                  <a:pt x="408" y="288"/>
                </a:lnTo>
                <a:lnTo>
                  <a:pt x="430" y="270"/>
                </a:lnTo>
                <a:lnTo>
                  <a:pt x="452" y="252"/>
                </a:lnTo>
                <a:lnTo>
                  <a:pt x="474" y="235"/>
                </a:lnTo>
                <a:lnTo>
                  <a:pt x="497" y="219"/>
                </a:lnTo>
                <a:lnTo>
                  <a:pt x="520" y="202"/>
                </a:lnTo>
                <a:lnTo>
                  <a:pt x="544" y="186"/>
                </a:lnTo>
                <a:lnTo>
                  <a:pt x="568" y="172"/>
                </a:lnTo>
                <a:lnTo>
                  <a:pt x="593" y="157"/>
                </a:lnTo>
                <a:lnTo>
                  <a:pt x="618" y="143"/>
                </a:lnTo>
                <a:lnTo>
                  <a:pt x="643" y="129"/>
                </a:lnTo>
                <a:lnTo>
                  <a:pt x="669" y="117"/>
                </a:lnTo>
                <a:lnTo>
                  <a:pt x="695" y="105"/>
                </a:lnTo>
                <a:lnTo>
                  <a:pt x="721" y="94"/>
                </a:lnTo>
                <a:lnTo>
                  <a:pt x="747" y="82"/>
                </a:lnTo>
                <a:lnTo>
                  <a:pt x="774" y="72"/>
                </a:lnTo>
                <a:lnTo>
                  <a:pt x="802" y="62"/>
                </a:lnTo>
                <a:lnTo>
                  <a:pt x="830" y="53"/>
                </a:lnTo>
                <a:lnTo>
                  <a:pt x="858" y="45"/>
                </a:lnTo>
                <a:lnTo>
                  <a:pt x="886" y="37"/>
                </a:lnTo>
                <a:lnTo>
                  <a:pt x="914" y="30"/>
                </a:lnTo>
                <a:lnTo>
                  <a:pt x="943" y="24"/>
                </a:lnTo>
                <a:lnTo>
                  <a:pt x="972" y="19"/>
                </a:lnTo>
                <a:lnTo>
                  <a:pt x="1001" y="13"/>
                </a:lnTo>
                <a:lnTo>
                  <a:pt x="1030" y="10"/>
                </a:lnTo>
                <a:lnTo>
                  <a:pt x="1060" y="6"/>
                </a:lnTo>
                <a:lnTo>
                  <a:pt x="1090" y="4"/>
                </a:lnTo>
                <a:lnTo>
                  <a:pt x="1120" y="2"/>
                </a:lnTo>
                <a:lnTo>
                  <a:pt x="1150" y="1"/>
                </a:lnTo>
                <a:lnTo>
                  <a:pt x="1180" y="0"/>
                </a:lnTo>
                <a:lnTo>
                  <a:pt x="1212" y="1"/>
                </a:lnTo>
                <a:lnTo>
                  <a:pt x="1242" y="2"/>
                </a:lnTo>
                <a:lnTo>
                  <a:pt x="1271" y="4"/>
                </a:lnTo>
                <a:lnTo>
                  <a:pt x="1301" y="6"/>
                </a:lnTo>
                <a:lnTo>
                  <a:pt x="1331" y="10"/>
                </a:lnTo>
                <a:lnTo>
                  <a:pt x="1361" y="13"/>
                </a:lnTo>
                <a:lnTo>
                  <a:pt x="1390" y="19"/>
                </a:lnTo>
                <a:lnTo>
                  <a:pt x="1419" y="24"/>
                </a:lnTo>
                <a:lnTo>
                  <a:pt x="1447" y="30"/>
                </a:lnTo>
                <a:lnTo>
                  <a:pt x="1476" y="37"/>
                </a:lnTo>
                <a:lnTo>
                  <a:pt x="1504" y="45"/>
                </a:lnTo>
                <a:lnTo>
                  <a:pt x="1531" y="53"/>
                </a:lnTo>
                <a:lnTo>
                  <a:pt x="1559" y="62"/>
                </a:lnTo>
                <a:lnTo>
                  <a:pt x="1586" y="72"/>
                </a:lnTo>
                <a:lnTo>
                  <a:pt x="1614" y="82"/>
                </a:lnTo>
                <a:lnTo>
                  <a:pt x="1641" y="94"/>
                </a:lnTo>
                <a:lnTo>
                  <a:pt x="1667" y="105"/>
                </a:lnTo>
                <a:lnTo>
                  <a:pt x="1693" y="117"/>
                </a:lnTo>
                <a:lnTo>
                  <a:pt x="1718" y="129"/>
                </a:lnTo>
                <a:lnTo>
                  <a:pt x="1744" y="143"/>
                </a:lnTo>
                <a:lnTo>
                  <a:pt x="1769" y="157"/>
                </a:lnTo>
                <a:lnTo>
                  <a:pt x="1793" y="172"/>
                </a:lnTo>
                <a:lnTo>
                  <a:pt x="1817" y="186"/>
                </a:lnTo>
                <a:lnTo>
                  <a:pt x="1841" y="202"/>
                </a:lnTo>
                <a:lnTo>
                  <a:pt x="1865" y="219"/>
                </a:lnTo>
                <a:lnTo>
                  <a:pt x="1887" y="235"/>
                </a:lnTo>
                <a:lnTo>
                  <a:pt x="1909" y="252"/>
                </a:lnTo>
                <a:lnTo>
                  <a:pt x="1931" y="270"/>
                </a:lnTo>
                <a:lnTo>
                  <a:pt x="1953" y="288"/>
                </a:lnTo>
                <a:lnTo>
                  <a:pt x="1975" y="307"/>
                </a:lnTo>
                <a:lnTo>
                  <a:pt x="1996" y="326"/>
                </a:lnTo>
                <a:lnTo>
                  <a:pt x="2015" y="347"/>
                </a:lnTo>
                <a:lnTo>
                  <a:pt x="2035" y="367"/>
                </a:lnTo>
                <a:lnTo>
                  <a:pt x="2055" y="387"/>
                </a:lnTo>
                <a:lnTo>
                  <a:pt x="2074" y="408"/>
                </a:lnTo>
                <a:lnTo>
                  <a:pt x="2091" y="430"/>
                </a:lnTo>
                <a:lnTo>
                  <a:pt x="2109" y="452"/>
                </a:lnTo>
                <a:lnTo>
                  <a:pt x="2127" y="475"/>
                </a:lnTo>
                <a:lnTo>
                  <a:pt x="2144" y="498"/>
                </a:lnTo>
                <a:lnTo>
                  <a:pt x="2159" y="521"/>
                </a:lnTo>
                <a:lnTo>
                  <a:pt x="2175" y="545"/>
                </a:lnTo>
                <a:lnTo>
                  <a:pt x="2190" y="569"/>
                </a:lnTo>
                <a:lnTo>
                  <a:pt x="2205" y="594"/>
                </a:lnTo>
                <a:lnTo>
                  <a:pt x="2219" y="619"/>
                </a:lnTo>
                <a:lnTo>
                  <a:pt x="2232" y="644"/>
                </a:lnTo>
                <a:lnTo>
                  <a:pt x="2245" y="670"/>
                </a:lnTo>
                <a:lnTo>
                  <a:pt x="2257" y="696"/>
                </a:lnTo>
                <a:lnTo>
                  <a:pt x="2268" y="722"/>
                </a:lnTo>
                <a:lnTo>
                  <a:pt x="2279" y="749"/>
                </a:lnTo>
                <a:lnTo>
                  <a:pt x="2289" y="775"/>
                </a:lnTo>
                <a:lnTo>
                  <a:pt x="2300" y="803"/>
                </a:lnTo>
                <a:lnTo>
                  <a:pt x="2308" y="830"/>
                </a:lnTo>
                <a:lnTo>
                  <a:pt x="2316" y="858"/>
                </a:lnTo>
                <a:lnTo>
                  <a:pt x="2324" y="886"/>
                </a:lnTo>
                <a:lnTo>
                  <a:pt x="2331" y="914"/>
                </a:lnTo>
                <a:lnTo>
                  <a:pt x="2337" y="944"/>
                </a:lnTo>
                <a:lnTo>
                  <a:pt x="2342" y="973"/>
                </a:lnTo>
                <a:lnTo>
                  <a:pt x="2348" y="1002"/>
                </a:lnTo>
                <a:lnTo>
                  <a:pt x="2352" y="1031"/>
                </a:lnTo>
                <a:lnTo>
                  <a:pt x="2355" y="1060"/>
                </a:lnTo>
                <a:lnTo>
                  <a:pt x="2358" y="1090"/>
                </a:lnTo>
                <a:lnTo>
                  <a:pt x="2360" y="1121"/>
                </a:lnTo>
                <a:lnTo>
                  <a:pt x="2361" y="1151"/>
                </a:lnTo>
                <a:lnTo>
                  <a:pt x="2361" y="1181"/>
                </a:lnTo>
                <a:lnTo>
                  <a:pt x="2361" y="1212"/>
                </a:lnTo>
                <a:lnTo>
                  <a:pt x="2360" y="1242"/>
                </a:lnTo>
                <a:lnTo>
                  <a:pt x="2358" y="1273"/>
                </a:lnTo>
                <a:lnTo>
                  <a:pt x="2355" y="1302"/>
                </a:lnTo>
                <a:lnTo>
                  <a:pt x="2352" y="1332"/>
                </a:lnTo>
                <a:lnTo>
                  <a:pt x="2348" y="1361"/>
                </a:lnTo>
                <a:lnTo>
                  <a:pt x="2342" y="1390"/>
                </a:lnTo>
                <a:lnTo>
                  <a:pt x="2337" y="1419"/>
                </a:lnTo>
                <a:lnTo>
                  <a:pt x="2331" y="1448"/>
                </a:lnTo>
                <a:lnTo>
                  <a:pt x="2324" y="1477"/>
                </a:lnTo>
                <a:lnTo>
                  <a:pt x="2316" y="1505"/>
                </a:lnTo>
                <a:lnTo>
                  <a:pt x="2308" y="1532"/>
                </a:lnTo>
                <a:lnTo>
                  <a:pt x="2300" y="1560"/>
                </a:lnTo>
                <a:lnTo>
                  <a:pt x="2289" y="1587"/>
                </a:lnTo>
                <a:lnTo>
                  <a:pt x="2279" y="1614"/>
                </a:lnTo>
                <a:lnTo>
                  <a:pt x="2268" y="1641"/>
                </a:lnTo>
                <a:lnTo>
                  <a:pt x="2257" y="1667"/>
                </a:lnTo>
                <a:lnTo>
                  <a:pt x="2245" y="1693"/>
                </a:lnTo>
                <a:lnTo>
                  <a:pt x="2232" y="1718"/>
                </a:lnTo>
                <a:lnTo>
                  <a:pt x="2219" y="1744"/>
                </a:lnTo>
                <a:lnTo>
                  <a:pt x="2205" y="1769"/>
                </a:lnTo>
                <a:lnTo>
                  <a:pt x="2190" y="1793"/>
                </a:lnTo>
                <a:lnTo>
                  <a:pt x="2175" y="1817"/>
                </a:lnTo>
                <a:lnTo>
                  <a:pt x="2159" y="1841"/>
                </a:lnTo>
                <a:lnTo>
                  <a:pt x="2144" y="1865"/>
                </a:lnTo>
                <a:lnTo>
                  <a:pt x="2127" y="1888"/>
                </a:lnTo>
                <a:lnTo>
                  <a:pt x="2109" y="1910"/>
                </a:lnTo>
                <a:lnTo>
                  <a:pt x="2091" y="1933"/>
                </a:lnTo>
                <a:lnTo>
                  <a:pt x="2074" y="1954"/>
                </a:lnTo>
                <a:lnTo>
                  <a:pt x="2055" y="1976"/>
                </a:lnTo>
                <a:lnTo>
                  <a:pt x="2035" y="1996"/>
                </a:lnTo>
                <a:lnTo>
                  <a:pt x="2015" y="2016"/>
                </a:lnTo>
                <a:lnTo>
                  <a:pt x="1996" y="2036"/>
                </a:lnTo>
                <a:lnTo>
                  <a:pt x="1975" y="2056"/>
                </a:lnTo>
                <a:lnTo>
                  <a:pt x="1953" y="2075"/>
                </a:lnTo>
                <a:lnTo>
                  <a:pt x="1931" y="2092"/>
                </a:lnTo>
                <a:lnTo>
                  <a:pt x="1909" y="2110"/>
                </a:lnTo>
                <a:lnTo>
                  <a:pt x="1887" y="2128"/>
                </a:lnTo>
                <a:lnTo>
                  <a:pt x="1865" y="2144"/>
                </a:lnTo>
                <a:lnTo>
                  <a:pt x="1841" y="2160"/>
                </a:lnTo>
                <a:lnTo>
                  <a:pt x="1817" y="2176"/>
                </a:lnTo>
                <a:lnTo>
                  <a:pt x="1793" y="2191"/>
                </a:lnTo>
                <a:lnTo>
                  <a:pt x="1769" y="2206"/>
                </a:lnTo>
                <a:lnTo>
                  <a:pt x="1744" y="2219"/>
                </a:lnTo>
                <a:lnTo>
                  <a:pt x="1718" y="2233"/>
                </a:lnTo>
                <a:lnTo>
                  <a:pt x="1693" y="2245"/>
                </a:lnTo>
                <a:lnTo>
                  <a:pt x="1667" y="2258"/>
                </a:lnTo>
                <a:lnTo>
                  <a:pt x="1641" y="2269"/>
                </a:lnTo>
                <a:lnTo>
                  <a:pt x="1614" y="2280"/>
                </a:lnTo>
                <a:lnTo>
                  <a:pt x="1586" y="2290"/>
                </a:lnTo>
                <a:lnTo>
                  <a:pt x="1559" y="2301"/>
                </a:lnTo>
                <a:lnTo>
                  <a:pt x="1531" y="2309"/>
                </a:lnTo>
                <a:lnTo>
                  <a:pt x="1504" y="2317"/>
                </a:lnTo>
                <a:lnTo>
                  <a:pt x="1476" y="2325"/>
                </a:lnTo>
                <a:lnTo>
                  <a:pt x="1447" y="2332"/>
                </a:lnTo>
                <a:lnTo>
                  <a:pt x="1419" y="2338"/>
                </a:lnTo>
                <a:lnTo>
                  <a:pt x="1390" y="2343"/>
                </a:lnTo>
                <a:lnTo>
                  <a:pt x="1361" y="2348"/>
                </a:lnTo>
                <a:lnTo>
                  <a:pt x="1331" y="2353"/>
                </a:lnTo>
                <a:lnTo>
                  <a:pt x="1301" y="2356"/>
                </a:lnTo>
                <a:lnTo>
                  <a:pt x="1271" y="2359"/>
                </a:lnTo>
                <a:lnTo>
                  <a:pt x="1242" y="2361"/>
                </a:lnTo>
                <a:lnTo>
                  <a:pt x="1212" y="2362"/>
                </a:lnTo>
                <a:lnTo>
                  <a:pt x="1180" y="2362"/>
                </a:lnTo>
                <a:lnTo>
                  <a:pt x="1150" y="2362"/>
                </a:lnTo>
                <a:lnTo>
                  <a:pt x="1120" y="2361"/>
                </a:lnTo>
                <a:lnTo>
                  <a:pt x="1090" y="2359"/>
                </a:lnTo>
                <a:lnTo>
                  <a:pt x="1060" y="2356"/>
                </a:lnTo>
                <a:lnTo>
                  <a:pt x="1030" y="2353"/>
                </a:lnTo>
                <a:lnTo>
                  <a:pt x="1001" y="2348"/>
                </a:lnTo>
                <a:lnTo>
                  <a:pt x="972" y="2343"/>
                </a:lnTo>
                <a:lnTo>
                  <a:pt x="943" y="2338"/>
                </a:lnTo>
                <a:lnTo>
                  <a:pt x="914" y="2332"/>
                </a:lnTo>
                <a:lnTo>
                  <a:pt x="886" y="2325"/>
                </a:lnTo>
                <a:lnTo>
                  <a:pt x="858" y="2317"/>
                </a:lnTo>
                <a:lnTo>
                  <a:pt x="830" y="2309"/>
                </a:lnTo>
                <a:lnTo>
                  <a:pt x="802" y="2301"/>
                </a:lnTo>
                <a:lnTo>
                  <a:pt x="774" y="2290"/>
                </a:lnTo>
                <a:lnTo>
                  <a:pt x="747" y="2280"/>
                </a:lnTo>
                <a:lnTo>
                  <a:pt x="721" y="2269"/>
                </a:lnTo>
                <a:lnTo>
                  <a:pt x="695" y="2258"/>
                </a:lnTo>
                <a:lnTo>
                  <a:pt x="669" y="2245"/>
                </a:lnTo>
                <a:lnTo>
                  <a:pt x="643" y="2233"/>
                </a:lnTo>
                <a:lnTo>
                  <a:pt x="618" y="2219"/>
                </a:lnTo>
                <a:lnTo>
                  <a:pt x="593" y="2206"/>
                </a:lnTo>
                <a:lnTo>
                  <a:pt x="568" y="2191"/>
                </a:lnTo>
                <a:lnTo>
                  <a:pt x="544" y="2176"/>
                </a:lnTo>
                <a:lnTo>
                  <a:pt x="520" y="2160"/>
                </a:lnTo>
                <a:lnTo>
                  <a:pt x="497" y="2144"/>
                </a:lnTo>
                <a:lnTo>
                  <a:pt x="474" y="2128"/>
                </a:lnTo>
                <a:lnTo>
                  <a:pt x="452" y="2110"/>
                </a:lnTo>
                <a:lnTo>
                  <a:pt x="430" y="2092"/>
                </a:lnTo>
                <a:lnTo>
                  <a:pt x="408" y="2075"/>
                </a:lnTo>
                <a:lnTo>
                  <a:pt x="387" y="2056"/>
                </a:lnTo>
                <a:lnTo>
                  <a:pt x="366" y="2036"/>
                </a:lnTo>
                <a:lnTo>
                  <a:pt x="345" y="2016"/>
                </a:lnTo>
                <a:lnTo>
                  <a:pt x="326" y="1996"/>
                </a:lnTo>
                <a:lnTo>
                  <a:pt x="307" y="1976"/>
                </a:lnTo>
                <a:lnTo>
                  <a:pt x="288" y="1954"/>
                </a:lnTo>
                <a:lnTo>
                  <a:pt x="269" y="1933"/>
                </a:lnTo>
                <a:lnTo>
                  <a:pt x="252" y="1910"/>
                </a:lnTo>
                <a:lnTo>
                  <a:pt x="235" y="1888"/>
                </a:lnTo>
                <a:lnTo>
                  <a:pt x="218" y="1865"/>
                </a:lnTo>
                <a:lnTo>
                  <a:pt x="202" y="1841"/>
                </a:lnTo>
                <a:lnTo>
                  <a:pt x="186" y="1817"/>
                </a:lnTo>
                <a:lnTo>
                  <a:pt x="171" y="1793"/>
                </a:lnTo>
                <a:lnTo>
                  <a:pt x="157" y="1769"/>
                </a:lnTo>
                <a:lnTo>
                  <a:pt x="142" y="1744"/>
                </a:lnTo>
                <a:lnTo>
                  <a:pt x="129" y="1718"/>
                </a:lnTo>
                <a:lnTo>
                  <a:pt x="116" y="1693"/>
                </a:lnTo>
                <a:lnTo>
                  <a:pt x="105" y="1667"/>
                </a:lnTo>
                <a:lnTo>
                  <a:pt x="92" y="1641"/>
                </a:lnTo>
                <a:lnTo>
                  <a:pt x="82" y="1614"/>
                </a:lnTo>
                <a:lnTo>
                  <a:pt x="72" y="1587"/>
                </a:lnTo>
                <a:lnTo>
                  <a:pt x="62" y="1560"/>
                </a:lnTo>
                <a:lnTo>
                  <a:pt x="53" y="1532"/>
                </a:lnTo>
                <a:lnTo>
                  <a:pt x="44" y="1505"/>
                </a:lnTo>
                <a:lnTo>
                  <a:pt x="37" y="1477"/>
                </a:lnTo>
                <a:lnTo>
                  <a:pt x="30" y="1448"/>
                </a:lnTo>
                <a:lnTo>
                  <a:pt x="24" y="1419"/>
                </a:lnTo>
                <a:lnTo>
                  <a:pt x="18" y="1390"/>
                </a:lnTo>
                <a:lnTo>
                  <a:pt x="13" y="1361"/>
                </a:lnTo>
                <a:lnTo>
                  <a:pt x="9" y="1332"/>
                </a:lnTo>
                <a:lnTo>
                  <a:pt x="6" y="1302"/>
                </a:lnTo>
                <a:lnTo>
                  <a:pt x="4" y="1273"/>
                </a:lnTo>
                <a:lnTo>
                  <a:pt x="2" y="1242"/>
                </a:lnTo>
                <a:lnTo>
                  <a:pt x="1" y="1212"/>
                </a:lnTo>
                <a:lnTo>
                  <a:pt x="0" y="118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i-FI"/>
          </a:p>
        </p:txBody>
      </p:sp>
      <p:sp>
        <p:nvSpPr>
          <p:cNvPr id="24" name="Freeform 23">
            <a:hlinkClick r:id="rId5" tooltip="web"/>
          </p:cNvPr>
          <p:cNvSpPr>
            <a:spLocks noChangeAspect="1" noEditPoints="1"/>
          </p:cNvSpPr>
          <p:nvPr userDrawn="1"/>
        </p:nvSpPr>
        <p:spPr bwMode="auto">
          <a:xfrm>
            <a:off x="6672104" y="5841388"/>
            <a:ext cx="360000" cy="360000"/>
          </a:xfrm>
          <a:custGeom>
            <a:avLst/>
            <a:gdLst>
              <a:gd name="T0" fmla="*/ 677 w 2270"/>
              <a:gd name="T1" fmla="*/ 1326 h 2270"/>
              <a:gd name="T2" fmla="*/ 624 w 2270"/>
              <a:gd name="T3" fmla="*/ 1311 h 2270"/>
              <a:gd name="T4" fmla="*/ 484 w 2270"/>
              <a:gd name="T5" fmla="*/ 1324 h 2270"/>
              <a:gd name="T6" fmla="*/ 400 w 2270"/>
              <a:gd name="T7" fmla="*/ 1318 h 2270"/>
              <a:gd name="T8" fmla="*/ 309 w 2270"/>
              <a:gd name="T9" fmla="*/ 950 h 2270"/>
              <a:gd name="T10" fmla="*/ 381 w 2270"/>
              <a:gd name="T11" fmla="*/ 949 h 2270"/>
              <a:gd name="T12" fmla="*/ 526 w 2270"/>
              <a:gd name="T13" fmla="*/ 950 h 2270"/>
              <a:gd name="T14" fmla="*/ 600 w 2270"/>
              <a:gd name="T15" fmla="*/ 948 h 2270"/>
              <a:gd name="T16" fmla="*/ 753 w 2270"/>
              <a:gd name="T17" fmla="*/ 949 h 2270"/>
              <a:gd name="T18" fmla="*/ 816 w 2270"/>
              <a:gd name="T19" fmla="*/ 948 h 2270"/>
              <a:gd name="T20" fmla="*/ 1873 w 2270"/>
              <a:gd name="T21" fmla="*/ 1311 h 2270"/>
              <a:gd name="T22" fmla="*/ 1794 w 2270"/>
              <a:gd name="T23" fmla="*/ 1325 h 2270"/>
              <a:gd name="T24" fmla="*/ 1704 w 2270"/>
              <a:gd name="T25" fmla="*/ 1065 h 2270"/>
              <a:gd name="T26" fmla="*/ 1607 w 2270"/>
              <a:gd name="T27" fmla="*/ 1326 h 2270"/>
              <a:gd name="T28" fmla="*/ 1539 w 2270"/>
              <a:gd name="T29" fmla="*/ 1311 h 2270"/>
              <a:gd name="T30" fmla="*/ 1457 w 2270"/>
              <a:gd name="T31" fmla="*/ 947 h 2270"/>
              <a:gd name="T32" fmla="*/ 1526 w 2270"/>
              <a:gd name="T33" fmla="*/ 952 h 2270"/>
              <a:gd name="T34" fmla="*/ 1674 w 2270"/>
              <a:gd name="T35" fmla="*/ 948 h 2270"/>
              <a:gd name="T36" fmla="*/ 1750 w 2270"/>
              <a:gd name="T37" fmla="*/ 953 h 2270"/>
              <a:gd name="T38" fmla="*/ 1901 w 2270"/>
              <a:gd name="T39" fmla="*/ 947 h 2270"/>
              <a:gd name="T40" fmla="*/ 1963 w 2270"/>
              <a:gd name="T41" fmla="*/ 951 h 2270"/>
              <a:gd name="T42" fmla="*/ 1296 w 2270"/>
              <a:gd name="T43" fmla="*/ 1318 h 2270"/>
              <a:gd name="T44" fmla="*/ 1206 w 2270"/>
              <a:gd name="T45" fmla="*/ 1322 h 2270"/>
              <a:gd name="T46" fmla="*/ 1074 w 2270"/>
              <a:gd name="T47" fmla="*/ 1310 h 2270"/>
              <a:gd name="T48" fmla="*/ 1007 w 2270"/>
              <a:gd name="T49" fmla="*/ 1326 h 2270"/>
              <a:gd name="T50" fmla="*/ 881 w 2270"/>
              <a:gd name="T51" fmla="*/ 975 h 2270"/>
              <a:gd name="T52" fmla="*/ 893 w 2270"/>
              <a:gd name="T53" fmla="*/ 946 h 2270"/>
              <a:gd name="T54" fmla="*/ 958 w 2270"/>
              <a:gd name="T55" fmla="*/ 961 h 2270"/>
              <a:gd name="T56" fmla="*/ 1108 w 2270"/>
              <a:gd name="T57" fmla="*/ 947 h 2270"/>
              <a:gd name="T58" fmla="*/ 1181 w 2270"/>
              <a:gd name="T59" fmla="*/ 963 h 2270"/>
              <a:gd name="T60" fmla="*/ 1338 w 2270"/>
              <a:gd name="T61" fmla="*/ 946 h 2270"/>
              <a:gd name="T62" fmla="*/ 1392 w 2270"/>
              <a:gd name="T63" fmla="*/ 956 h 2270"/>
              <a:gd name="T64" fmla="*/ 9 w 2270"/>
              <a:gd name="T65" fmla="*/ 991 h 2270"/>
              <a:gd name="T66" fmla="*/ 79 w 2270"/>
              <a:gd name="T67" fmla="*/ 720 h 2270"/>
              <a:gd name="T68" fmla="*/ 209 w 2270"/>
              <a:gd name="T69" fmla="*/ 478 h 2270"/>
              <a:gd name="T70" fmla="*/ 392 w 2270"/>
              <a:gd name="T71" fmla="*/ 277 h 2270"/>
              <a:gd name="T72" fmla="*/ 619 w 2270"/>
              <a:gd name="T73" fmla="*/ 124 h 2270"/>
              <a:gd name="T74" fmla="*/ 879 w 2270"/>
              <a:gd name="T75" fmla="*/ 29 h 2270"/>
              <a:gd name="T76" fmla="*/ 1164 w 2270"/>
              <a:gd name="T77" fmla="*/ 1 h 2270"/>
              <a:gd name="T78" fmla="*/ 1445 w 2270"/>
              <a:gd name="T79" fmla="*/ 43 h 2270"/>
              <a:gd name="T80" fmla="*/ 1699 w 2270"/>
              <a:gd name="T81" fmla="*/ 151 h 2270"/>
              <a:gd name="T82" fmla="*/ 1918 w 2270"/>
              <a:gd name="T83" fmla="*/ 313 h 2270"/>
              <a:gd name="T84" fmla="*/ 2091 w 2270"/>
              <a:gd name="T85" fmla="*/ 523 h 2270"/>
              <a:gd name="T86" fmla="*/ 2210 w 2270"/>
              <a:gd name="T87" fmla="*/ 772 h 2270"/>
              <a:gd name="T88" fmla="*/ 2267 w 2270"/>
              <a:gd name="T89" fmla="*/ 1048 h 2270"/>
              <a:gd name="T90" fmla="*/ 2252 w 2270"/>
              <a:gd name="T91" fmla="*/ 1336 h 2270"/>
              <a:gd name="T92" fmla="*/ 2170 w 2270"/>
              <a:gd name="T93" fmla="*/ 1602 h 2270"/>
              <a:gd name="T94" fmla="*/ 2028 w 2270"/>
              <a:gd name="T95" fmla="*/ 1836 h 2270"/>
              <a:gd name="T96" fmla="*/ 1836 w 2270"/>
              <a:gd name="T97" fmla="*/ 2028 h 2270"/>
              <a:gd name="T98" fmla="*/ 1602 w 2270"/>
              <a:gd name="T99" fmla="*/ 2170 h 2270"/>
              <a:gd name="T100" fmla="*/ 1336 w 2270"/>
              <a:gd name="T101" fmla="*/ 2252 h 2270"/>
              <a:gd name="T102" fmla="*/ 1048 w 2270"/>
              <a:gd name="T103" fmla="*/ 2267 h 2270"/>
              <a:gd name="T104" fmla="*/ 771 w 2270"/>
              <a:gd name="T105" fmla="*/ 2211 h 2270"/>
              <a:gd name="T106" fmla="*/ 523 w 2270"/>
              <a:gd name="T107" fmla="*/ 2091 h 2270"/>
              <a:gd name="T108" fmla="*/ 313 w 2270"/>
              <a:gd name="T109" fmla="*/ 1919 h 2270"/>
              <a:gd name="T110" fmla="*/ 150 w 2270"/>
              <a:gd name="T111" fmla="*/ 1700 h 2270"/>
              <a:gd name="T112" fmla="*/ 43 w 2270"/>
              <a:gd name="T113" fmla="*/ 1446 h 2270"/>
              <a:gd name="T114" fmla="*/ 0 w 2270"/>
              <a:gd name="T115" fmla="*/ 1165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0" h="2270">
                <a:moveTo>
                  <a:pt x="732" y="1304"/>
                </a:moveTo>
                <a:lnTo>
                  <a:pt x="730" y="1311"/>
                </a:lnTo>
                <a:lnTo>
                  <a:pt x="727" y="1316"/>
                </a:lnTo>
                <a:lnTo>
                  <a:pt x="725" y="1318"/>
                </a:lnTo>
                <a:lnTo>
                  <a:pt x="723" y="1319"/>
                </a:lnTo>
                <a:lnTo>
                  <a:pt x="718" y="1322"/>
                </a:lnTo>
                <a:lnTo>
                  <a:pt x="711" y="1324"/>
                </a:lnTo>
                <a:lnTo>
                  <a:pt x="702" y="1325"/>
                </a:lnTo>
                <a:lnTo>
                  <a:pt x="691" y="1326"/>
                </a:lnTo>
                <a:lnTo>
                  <a:pt x="677" y="1326"/>
                </a:lnTo>
                <a:lnTo>
                  <a:pt x="662" y="1326"/>
                </a:lnTo>
                <a:lnTo>
                  <a:pt x="651" y="1325"/>
                </a:lnTo>
                <a:lnTo>
                  <a:pt x="642" y="1324"/>
                </a:lnTo>
                <a:lnTo>
                  <a:pt x="635" y="1322"/>
                </a:lnTo>
                <a:lnTo>
                  <a:pt x="632" y="1321"/>
                </a:lnTo>
                <a:lnTo>
                  <a:pt x="630" y="1319"/>
                </a:lnTo>
                <a:lnTo>
                  <a:pt x="628" y="1318"/>
                </a:lnTo>
                <a:lnTo>
                  <a:pt x="626" y="1316"/>
                </a:lnTo>
                <a:lnTo>
                  <a:pt x="625" y="1313"/>
                </a:lnTo>
                <a:lnTo>
                  <a:pt x="624" y="1311"/>
                </a:lnTo>
                <a:lnTo>
                  <a:pt x="622" y="1304"/>
                </a:lnTo>
                <a:lnTo>
                  <a:pt x="561" y="1065"/>
                </a:lnTo>
                <a:lnTo>
                  <a:pt x="503" y="1304"/>
                </a:lnTo>
                <a:lnTo>
                  <a:pt x="501" y="1310"/>
                </a:lnTo>
                <a:lnTo>
                  <a:pt x="499" y="1315"/>
                </a:lnTo>
                <a:lnTo>
                  <a:pt x="498" y="1317"/>
                </a:lnTo>
                <a:lnTo>
                  <a:pt x="496" y="1319"/>
                </a:lnTo>
                <a:lnTo>
                  <a:pt x="493" y="1321"/>
                </a:lnTo>
                <a:lnTo>
                  <a:pt x="491" y="1322"/>
                </a:lnTo>
                <a:lnTo>
                  <a:pt x="484" y="1324"/>
                </a:lnTo>
                <a:lnTo>
                  <a:pt x="475" y="1325"/>
                </a:lnTo>
                <a:lnTo>
                  <a:pt x="464" y="1326"/>
                </a:lnTo>
                <a:lnTo>
                  <a:pt x="450" y="1326"/>
                </a:lnTo>
                <a:lnTo>
                  <a:pt x="434" y="1326"/>
                </a:lnTo>
                <a:lnTo>
                  <a:pt x="423" y="1325"/>
                </a:lnTo>
                <a:lnTo>
                  <a:pt x="414" y="1324"/>
                </a:lnTo>
                <a:lnTo>
                  <a:pt x="407" y="1322"/>
                </a:lnTo>
                <a:lnTo>
                  <a:pt x="404" y="1321"/>
                </a:lnTo>
                <a:lnTo>
                  <a:pt x="402" y="1319"/>
                </a:lnTo>
                <a:lnTo>
                  <a:pt x="400" y="1318"/>
                </a:lnTo>
                <a:lnTo>
                  <a:pt x="398" y="1316"/>
                </a:lnTo>
                <a:lnTo>
                  <a:pt x="396" y="1311"/>
                </a:lnTo>
                <a:lnTo>
                  <a:pt x="394" y="1304"/>
                </a:lnTo>
                <a:lnTo>
                  <a:pt x="308" y="975"/>
                </a:lnTo>
                <a:lnTo>
                  <a:pt x="306" y="966"/>
                </a:lnTo>
                <a:lnTo>
                  <a:pt x="305" y="959"/>
                </a:lnTo>
                <a:lnTo>
                  <a:pt x="306" y="956"/>
                </a:lnTo>
                <a:lnTo>
                  <a:pt x="306" y="953"/>
                </a:lnTo>
                <a:lnTo>
                  <a:pt x="307" y="951"/>
                </a:lnTo>
                <a:lnTo>
                  <a:pt x="309" y="950"/>
                </a:lnTo>
                <a:lnTo>
                  <a:pt x="311" y="948"/>
                </a:lnTo>
                <a:lnTo>
                  <a:pt x="314" y="947"/>
                </a:lnTo>
                <a:lnTo>
                  <a:pt x="317" y="946"/>
                </a:lnTo>
                <a:lnTo>
                  <a:pt x="321" y="946"/>
                </a:lnTo>
                <a:lnTo>
                  <a:pt x="331" y="945"/>
                </a:lnTo>
                <a:lnTo>
                  <a:pt x="344" y="945"/>
                </a:lnTo>
                <a:lnTo>
                  <a:pt x="366" y="945"/>
                </a:lnTo>
                <a:lnTo>
                  <a:pt x="373" y="946"/>
                </a:lnTo>
                <a:lnTo>
                  <a:pt x="378" y="947"/>
                </a:lnTo>
                <a:lnTo>
                  <a:pt x="381" y="949"/>
                </a:lnTo>
                <a:lnTo>
                  <a:pt x="382" y="951"/>
                </a:lnTo>
                <a:lnTo>
                  <a:pt x="383" y="952"/>
                </a:lnTo>
                <a:lnTo>
                  <a:pt x="384" y="956"/>
                </a:lnTo>
                <a:lnTo>
                  <a:pt x="385" y="961"/>
                </a:lnTo>
                <a:lnTo>
                  <a:pt x="452" y="1250"/>
                </a:lnTo>
                <a:lnTo>
                  <a:pt x="521" y="963"/>
                </a:lnTo>
                <a:lnTo>
                  <a:pt x="522" y="958"/>
                </a:lnTo>
                <a:lnTo>
                  <a:pt x="524" y="954"/>
                </a:lnTo>
                <a:lnTo>
                  <a:pt x="525" y="952"/>
                </a:lnTo>
                <a:lnTo>
                  <a:pt x="526" y="950"/>
                </a:lnTo>
                <a:lnTo>
                  <a:pt x="528" y="949"/>
                </a:lnTo>
                <a:lnTo>
                  <a:pt x="530" y="948"/>
                </a:lnTo>
                <a:lnTo>
                  <a:pt x="533" y="947"/>
                </a:lnTo>
                <a:lnTo>
                  <a:pt x="536" y="947"/>
                </a:lnTo>
                <a:lnTo>
                  <a:pt x="543" y="946"/>
                </a:lnTo>
                <a:lnTo>
                  <a:pt x="552" y="945"/>
                </a:lnTo>
                <a:lnTo>
                  <a:pt x="564" y="945"/>
                </a:lnTo>
                <a:lnTo>
                  <a:pt x="587" y="945"/>
                </a:lnTo>
                <a:lnTo>
                  <a:pt x="594" y="946"/>
                </a:lnTo>
                <a:lnTo>
                  <a:pt x="600" y="948"/>
                </a:lnTo>
                <a:lnTo>
                  <a:pt x="604" y="950"/>
                </a:lnTo>
                <a:lnTo>
                  <a:pt x="606" y="953"/>
                </a:lnTo>
                <a:lnTo>
                  <a:pt x="608" y="957"/>
                </a:lnTo>
                <a:lnTo>
                  <a:pt x="609" y="963"/>
                </a:lnTo>
                <a:lnTo>
                  <a:pt x="681" y="1250"/>
                </a:lnTo>
                <a:lnTo>
                  <a:pt x="747" y="961"/>
                </a:lnTo>
                <a:lnTo>
                  <a:pt x="748" y="957"/>
                </a:lnTo>
                <a:lnTo>
                  <a:pt x="749" y="953"/>
                </a:lnTo>
                <a:lnTo>
                  <a:pt x="751" y="950"/>
                </a:lnTo>
                <a:lnTo>
                  <a:pt x="753" y="949"/>
                </a:lnTo>
                <a:lnTo>
                  <a:pt x="755" y="948"/>
                </a:lnTo>
                <a:lnTo>
                  <a:pt x="757" y="947"/>
                </a:lnTo>
                <a:lnTo>
                  <a:pt x="760" y="947"/>
                </a:lnTo>
                <a:lnTo>
                  <a:pt x="767" y="946"/>
                </a:lnTo>
                <a:lnTo>
                  <a:pt x="776" y="945"/>
                </a:lnTo>
                <a:lnTo>
                  <a:pt x="788" y="945"/>
                </a:lnTo>
                <a:lnTo>
                  <a:pt x="799" y="945"/>
                </a:lnTo>
                <a:lnTo>
                  <a:pt x="808" y="946"/>
                </a:lnTo>
                <a:lnTo>
                  <a:pt x="814" y="947"/>
                </a:lnTo>
                <a:lnTo>
                  <a:pt x="816" y="948"/>
                </a:lnTo>
                <a:lnTo>
                  <a:pt x="818" y="950"/>
                </a:lnTo>
                <a:lnTo>
                  <a:pt x="820" y="951"/>
                </a:lnTo>
                <a:lnTo>
                  <a:pt x="821" y="953"/>
                </a:lnTo>
                <a:lnTo>
                  <a:pt x="821" y="956"/>
                </a:lnTo>
                <a:lnTo>
                  <a:pt x="821" y="959"/>
                </a:lnTo>
                <a:lnTo>
                  <a:pt x="820" y="966"/>
                </a:lnTo>
                <a:lnTo>
                  <a:pt x="818" y="976"/>
                </a:lnTo>
                <a:lnTo>
                  <a:pt x="732" y="1304"/>
                </a:lnTo>
                <a:close/>
                <a:moveTo>
                  <a:pt x="1875" y="1304"/>
                </a:moveTo>
                <a:lnTo>
                  <a:pt x="1873" y="1311"/>
                </a:lnTo>
                <a:lnTo>
                  <a:pt x="1870" y="1316"/>
                </a:lnTo>
                <a:lnTo>
                  <a:pt x="1868" y="1318"/>
                </a:lnTo>
                <a:lnTo>
                  <a:pt x="1866" y="1319"/>
                </a:lnTo>
                <a:lnTo>
                  <a:pt x="1861" y="1322"/>
                </a:lnTo>
                <a:lnTo>
                  <a:pt x="1854" y="1324"/>
                </a:lnTo>
                <a:lnTo>
                  <a:pt x="1845" y="1325"/>
                </a:lnTo>
                <a:lnTo>
                  <a:pt x="1834" y="1326"/>
                </a:lnTo>
                <a:lnTo>
                  <a:pt x="1821" y="1326"/>
                </a:lnTo>
                <a:lnTo>
                  <a:pt x="1806" y="1326"/>
                </a:lnTo>
                <a:lnTo>
                  <a:pt x="1794" y="1325"/>
                </a:lnTo>
                <a:lnTo>
                  <a:pt x="1785" y="1324"/>
                </a:lnTo>
                <a:lnTo>
                  <a:pt x="1778" y="1322"/>
                </a:lnTo>
                <a:lnTo>
                  <a:pt x="1776" y="1321"/>
                </a:lnTo>
                <a:lnTo>
                  <a:pt x="1773" y="1319"/>
                </a:lnTo>
                <a:lnTo>
                  <a:pt x="1771" y="1318"/>
                </a:lnTo>
                <a:lnTo>
                  <a:pt x="1770" y="1316"/>
                </a:lnTo>
                <a:lnTo>
                  <a:pt x="1769" y="1313"/>
                </a:lnTo>
                <a:lnTo>
                  <a:pt x="1767" y="1311"/>
                </a:lnTo>
                <a:lnTo>
                  <a:pt x="1766" y="1304"/>
                </a:lnTo>
                <a:lnTo>
                  <a:pt x="1704" y="1065"/>
                </a:lnTo>
                <a:lnTo>
                  <a:pt x="1647" y="1304"/>
                </a:lnTo>
                <a:lnTo>
                  <a:pt x="1645" y="1310"/>
                </a:lnTo>
                <a:lnTo>
                  <a:pt x="1643" y="1315"/>
                </a:lnTo>
                <a:lnTo>
                  <a:pt x="1641" y="1317"/>
                </a:lnTo>
                <a:lnTo>
                  <a:pt x="1639" y="1319"/>
                </a:lnTo>
                <a:lnTo>
                  <a:pt x="1637" y="1321"/>
                </a:lnTo>
                <a:lnTo>
                  <a:pt x="1634" y="1322"/>
                </a:lnTo>
                <a:lnTo>
                  <a:pt x="1628" y="1324"/>
                </a:lnTo>
                <a:lnTo>
                  <a:pt x="1619" y="1325"/>
                </a:lnTo>
                <a:lnTo>
                  <a:pt x="1607" y="1326"/>
                </a:lnTo>
                <a:lnTo>
                  <a:pt x="1593" y="1326"/>
                </a:lnTo>
                <a:lnTo>
                  <a:pt x="1578" y="1326"/>
                </a:lnTo>
                <a:lnTo>
                  <a:pt x="1566" y="1325"/>
                </a:lnTo>
                <a:lnTo>
                  <a:pt x="1557" y="1324"/>
                </a:lnTo>
                <a:lnTo>
                  <a:pt x="1550" y="1322"/>
                </a:lnTo>
                <a:lnTo>
                  <a:pt x="1548" y="1321"/>
                </a:lnTo>
                <a:lnTo>
                  <a:pt x="1545" y="1319"/>
                </a:lnTo>
                <a:lnTo>
                  <a:pt x="1543" y="1318"/>
                </a:lnTo>
                <a:lnTo>
                  <a:pt x="1542" y="1316"/>
                </a:lnTo>
                <a:lnTo>
                  <a:pt x="1539" y="1311"/>
                </a:lnTo>
                <a:lnTo>
                  <a:pt x="1537" y="1304"/>
                </a:lnTo>
                <a:lnTo>
                  <a:pt x="1452" y="975"/>
                </a:lnTo>
                <a:lnTo>
                  <a:pt x="1450" y="966"/>
                </a:lnTo>
                <a:lnTo>
                  <a:pt x="1449" y="959"/>
                </a:lnTo>
                <a:lnTo>
                  <a:pt x="1449" y="956"/>
                </a:lnTo>
                <a:lnTo>
                  <a:pt x="1450" y="953"/>
                </a:lnTo>
                <a:lnTo>
                  <a:pt x="1451" y="951"/>
                </a:lnTo>
                <a:lnTo>
                  <a:pt x="1452" y="950"/>
                </a:lnTo>
                <a:lnTo>
                  <a:pt x="1454" y="948"/>
                </a:lnTo>
                <a:lnTo>
                  <a:pt x="1457" y="947"/>
                </a:lnTo>
                <a:lnTo>
                  <a:pt x="1460" y="946"/>
                </a:lnTo>
                <a:lnTo>
                  <a:pt x="1464" y="946"/>
                </a:lnTo>
                <a:lnTo>
                  <a:pt x="1474" y="945"/>
                </a:lnTo>
                <a:lnTo>
                  <a:pt x="1487" y="945"/>
                </a:lnTo>
                <a:lnTo>
                  <a:pt x="1509" y="945"/>
                </a:lnTo>
                <a:lnTo>
                  <a:pt x="1516" y="946"/>
                </a:lnTo>
                <a:lnTo>
                  <a:pt x="1521" y="947"/>
                </a:lnTo>
                <a:lnTo>
                  <a:pt x="1524" y="949"/>
                </a:lnTo>
                <a:lnTo>
                  <a:pt x="1526" y="951"/>
                </a:lnTo>
                <a:lnTo>
                  <a:pt x="1526" y="952"/>
                </a:lnTo>
                <a:lnTo>
                  <a:pt x="1528" y="956"/>
                </a:lnTo>
                <a:lnTo>
                  <a:pt x="1529" y="961"/>
                </a:lnTo>
                <a:lnTo>
                  <a:pt x="1595" y="1250"/>
                </a:lnTo>
                <a:lnTo>
                  <a:pt x="1664" y="963"/>
                </a:lnTo>
                <a:lnTo>
                  <a:pt x="1665" y="958"/>
                </a:lnTo>
                <a:lnTo>
                  <a:pt x="1667" y="954"/>
                </a:lnTo>
                <a:lnTo>
                  <a:pt x="1668" y="952"/>
                </a:lnTo>
                <a:lnTo>
                  <a:pt x="1670" y="950"/>
                </a:lnTo>
                <a:lnTo>
                  <a:pt x="1671" y="949"/>
                </a:lnTo>
                <a:lnTo>
                  <a:pt x="1674" y="948"/>
                </a:lnTo>
                <a:lnTo>
                  <a:pt x="1676" y="947"/>
                </a:lnTo>
                <a:lnTo>
                  <a:pt x="1679" y="947"/>
                </a:lnTo>
                <a:lnTo>
                  <a:pt x="1686" y="946"/>
                </a:lnTo>
                <a:lnTo>
                  <a:pt x="1695" y="945"/>
                </a:lnTo>
                <a:lnTo>
                  <a:pt x="1708" y="945"/>
                </a:lnTo>
                <a:lnTo>
                  <a:pt x="1730" y="945"/>
                </a:lnTo>
                <a:lnTo>
                  <a:pt x="1738" y="946"/>
                </a:lnTo>
                <a:lnTo>
                  <a:pt x="1743" y="948"/>
                </a:lnTo>
                <a:lnTo>
                  <a:pt x="1747" y="950"/>
                </a:lnTo>
                <a:lnTo>
                  <a:pt x="1750" y="953"/>
                </a:lnTo>
                <a:lnTo>
                  <a:pt x="1751" y="957"/>
                </a:lnTo>
                <a:lnTo>
                  <a:pt x="1753" y="963"/>
                </a:lnTo>
                <a:lnTo>
                  <a:pt x="1824" y="1250"/>
                </a:lnTo>
                <a:lnTo>
                  <a:pt x="1890" y="961"/>
                </a:lnTo>
                <a:lnTo>
                  <a:pt x="1891" y="957"/>
                </a:lnTo>
                <a:lnTo>
                  <a:pt x="1893" y="953"/>
                </a:lnTo>
                <a:lnTo>
                  <a:pt x="1895" y="950"/>
                </a:lnTo>
                <a:lnTo>
                  <a:pt x="1896" y="949"/>
                </a:lnTo>
                <a:lnTo>
                  <a:pt x="1898" y="948"/>
                </a:lnTo>
                <a:lnTo>
                  <a:pt x="1901" y="947"/>
                </a:lnTo>
                <a:lnTo>
                  <a:pt x="1903" y="947"/>
                </a:lnTo>
                <a:lnTo>
                  <a:pt x="1910" y="946"/>
                </a:lnTo>
                <a:lnTo>
                  <a:pt x="1919" y="945"/>
                </a:lnTo>
                <a:lnTo>
                  <a:pt x="1931" y="945"/>
                </a:lnTo>
                <a:lnTo>
                  <a:pt x="1943" y="945"/>
                </a:lnTo>
                <a:lnTo>
                  <a:pt x="1951" y="946"/>
                </a:lnTo>
                <a:lnTo>
                  <a:pt x="1957" y="947"/>
                </a:lnTo>
                <a:lnTo>
                  <a:pt x="1960" y="948"/>
                </a:lnTo>
                <a:lnTo>
                  <a:pt x="1962" y="950"/>
                </a:lnTo>
                <a:lnTo>
                  <a:pt x="1963" y="951"/>
                </a:lnTo>
                <a:lnTo>
                  <a:pt x="1964" y="953"/>
                </a:lnTo>
                <a:lnTo>
                  <a:pt x="1964" y="956"/>
                </a:lnTo>
                <a:lnTo>
                  <a:pt x="1964" y="959"/>
                </a:lnTo>
                <a:lnTo>
                  <a:pt x="1963" y="966"/>
                </a:lnTo>
                <a:lnTo>
                  <a:pt x="1961" y="976"/>
                </a:lnTo>
                <a:lnTo>
                  <a:pt x="1875" y="1304"/>
                </a:lnTo>
                <a:close/>
                <a:moveTo>
                  <a:pt x="1303" y="1304"/>
                </a:moveTo>
                <a:lnTo>
                  <a:pt x="1301" y="1311"/>
                </a:lnTo>
                <a:lnTo>
                  <a:pt x="1298" y="1316"/>
                </a:lnTo>
                <a:lnTo>
                  <a:pt x="1296" y="1318"/>
                </a:lnTo>
                <a:lnTo>
                  <a:pt x="1294" y="1319"/>
                </a:lnTo>
                <a:lnTo>
                  <a:pt x="1289" y="1322"/>
                </a:lnTo>
                <a:lnTo>
                  <a:pt x="1282" y="1324"/>
                </a:lnTo>
                <a:lnTo>
                  <a:pt x="1273" y="1325"/>
                </a:lnTo>
                <a:lnTo>
                  <a:pt x="1262" y="1326"/>
                </a:lnTo>
                <a:lnTo>
                  <a:pt x="1249" y="1326"/>
                </a:lnTo>
                <a:lnTo>
                  <a:pt x="1234" y="1326"/>
                </a:lnTo>
                <a:lnTo>
                  <a:pt x="1222" y="1325"/>
                </a:lnTo>
                <a:lnTo>
                  <a:pt x="1213" y="1324"/>
                </a:lnTo>
                <a:lnTo>
                  <a:pt x="1206" y="1322"/>
                </a:lnTo>
                <a:lnTo>
                  <a:pt x="1203" y="1321"/>
                </a:lnTo>
                <a:lnTo>
                  <a:pt x="1201" y="1319"/>
                </a:lnTo>
                <a:lnTo>
                  <a:pt x="1199" y="1318"/>
                </a:lnTo>
                <a:lnTo>
                  <a:pt x="1198" y="1316"/>
                </a:lnTo>
                <a:lnTo>
                  <a:pt x="1196" y="1313"/>
                </a:lnTo>
                <a:lnTo>
                  <a:pt x="1195" y="1311"/>
                </a:lnTo>
                <a:lnTo>
                  <a:pt x="1194" y="1304"/>
                </a:lnTo>
                <a:lnTo>
                  <a:pt x="1133" y="1065"/>
                </a:lnTo>
                <a:lnTo>
                  <a:pt x="1075" y="1304"/>
                </a:lnTo>
                <a:lnTo>
                  <a:pt x="1074" y="1310"/>
                </a:lnTo>
                <a:lnTo>
                  <a:pt x="1071" y="1315"/>
                </a:lnTo>
                <a:lnTo>
                  <a:pt x="1070" y="1317"/>
                </a:lnTo>
                <a:lnTo>
                  <a:pt x="1068" y="1319"/>
                </a:lnTo>
                <a:lnTo>
                  <a:pt x="1066" y="1321"/>
                </a:lnTo>
                <a:lnTo>
                  <a:pt x="1063" y="1322"/>
                </a:lnTo>
                <a:lnTo>
                  <a:pt x="1056" y="1324"/>
                </a:lnTo>
                <a:lnTo>
                  <a:pt x="1048" y="1325"/>
                </a:lnTo>
                <a:lnTo>
                  <a:pt x="1036" y="1326"/>
                </a:lnTo>
                <a:lnTo>
                  <a:pt x="1022" y="1326"/>
                </a:lnTo>
                <a:lnTo>
                  <a:pt x="1007" y="1326"/>
                </a:lnTo>
                <a:lnTo>
                  <a:pt x="995" y="1325"/>
                </a:lnTo>
                <a:lnTo>
                  <a:pt x="986" y="1324"/>
                </a:lnTo>
                <a:lnTo>
                  <a:pt x="979" y="1322"/>
                </a:lnTo>
                <a:lnTo>
                  <a:pt x="976" y="1321"/>
                </a:lnTo>
                <a:lnTo>
                  <a:pt x="974" y="1319"/>
                </a:lnTo>
                <a:lnTo>
                  <a:pt x="972" y="1318"/>
                </a:lnTo>
                <a:lnTo>
                  <a:pt x="971" y="1316"/>
                </a:lnTo>
                <a:lnTo>
                  <a:pt x="968" y="1311"/>
                </a:lnTo>
                <a:lnTo>
                  <a:pt x="966" y="1304"/>
                </a:lnTo>
                <a:lnTo>
                  <a:pt x="881" y="975"/>
                </a:lnTo>
                <a:lnTo>
                  <a:pt x="879" y="966"/>
                </a:lnTo>
                <a:lnTo>
                  <a:pt x="878" y="959"/>
                </a:lnTo>
                <a:lnTo>
                  <a:pt x="878" y="956"/>
                </a:lnTo>
                <a:lnTo>
                  <a:pt x="878" y="953"/>
                </a:lnTo>
                <a:lnTo>
                  <a:pt x="879" y="951"/>
                </a:lnTo>
                <a:lnTo>
                  <a:pt x="881" y="950"/>
                </a:lnTo>
                <a:lnTo>
                  <a:pt x="883" y="948"/>
                </a:lnTo>
                <a:lnTo>
                  <a:pt x="886" y="947"/>
                </a:lnTo>
                <a:lnTo>
                  <a:pt x="889" y="946"/>
                </a:lnTo>
                <a:lnTo>
                  <a:pt x="893" y="946"/>
                </a:lnTo>
                <a:lnTo>
                  <a:pt x="903" y="945"/>
                </a:lnTo>
                <a:lnTo>
                  <a:pt x="916" y="945"/>
                </a:lnTo>
                <a:lnTo>
                  <a:pt x="938" y="945"/>
                </a:lnTo>
                <a:lnTo>
                  <a:pt x="945" y="946"/>
                </a:lnTo>
                <a:lnTo>
                  <a:pt x="950" y="947"/>
                </a:lnTo>
                <a:lnTo>
                  <a:pt x="953" y="949"/>
                </a:lnTo>
                <a:lnTo>
                  <a:pt x="954" y="951"/>
                </a:lnTo>
                <a:lnTo>
                  <a:pt x="955" y="952"/>
                </a:lnTo>
                <a:lnTo>
                  <a:pt x="957" y="956"/>
                </a:lnTo>
                <a:lnTo>
                  <a:pt x="958" y="961"/>
                </a:lnTo>
                <a:lnTo>
                  <a:pt x="1024" y="1250"/>
                </a:lnTo>
                <a:lnTo>
                  <a:pt x="1093" y="963"/>
                </a:lnTo>
                <a:lnTo>
                  <a:pt x="1094" y="958"/>
                </a:lnTo>
                <a:lnTo>
                  <a:pt x="1096" y="954"/>
                </a:lnTo>
                <a:lnTo>
                  <a:pt x="1097" y="952"/>
                </a:lnTo>
                <a:lnTo>
                  <a:pt x="1099" y="950"/>
                </a:lnTo>
                <a:lnTo>
                  <a:pt x="1100" y="949"/>
                </a:lnTo>
                <a:lnTo>
                  <a:pt x="1102" y="948"/>
                </a:lnTo>
                <a:lnTo>
                  <a:pt x="1105" y="947"/>
                </a:lnTo>
                <a:lnTo>
                  <a:pt x="1108" y="947"/>
                </a:lnTo>
                <a:lnTo>
                  <a:pt x="1115" y="946"/>
                </a:lnTo>
                <a:lnTo>
                  <a:pt x="1124" y="945"/>
                </a:lnTo>
                <a:lnTo>
                  <a:pt x="1136" y="945"/>
                </a:lnTo>
                <a:lnTo>
                  <a:pt x="1158" y="945"/>
                </a:lnTo>
                <a:lnTo>
                  <a:pt x="1165" y="946"/>
                </a:lnTo>
                <a:lnTo>
                  <a:pt x="1171" y="948"/>
                </a:lnTo>
                <a:lnTo>
                  <a:pt x="1175" y="950"/>
                </a:lnTo>
                <a:lnTo>
                  <a:pt x="1177" y="953"/>
                </a:lnTo>
                <a:lnTo>
                  <a:pt x="1179" y="957"/>
                </a:lnTo>
                <a:lnTo>
                  <a:pt x="1181" y="963"/>
                </a:lnTo>
                <a:lnTo>
                  <a:pt x="1252" y="1250"/>
                </a:lnTo>
                <a:lnTo>
                  <a:pt x="1318" y="961"/>
                </a:lnTo>
                <a:lnTo>
                  <a:pt x="1319" y="957"/>
                </a:lnTo>
                <a:lnTo>
                  <a:pt x="1320" y="953"/>
                </a:lnTo>
                <a:lnTo>
                  <a:pt x="1323" y="950"/>
                </a:lnTo>
                <a:lnTo>
                  <a:pt x="1324" y="949"/>
                </a:lnTo>
                <a:lnTo>
                  <a:pt x="1326" y="948"/>
                </a:lnTo>
                <a:lnTo>
                  <a:pt x="1328" y="947"/>
                </a:lnTo>
                <a:lnTo>
                  <a:pt x="1331" y="947"/>
                </a:lnTo>
                <a:lnTo>
                  <a:pt x="1338" y="946"/>
                </a:lnTo>
                <a:lnTo>
                  <a:pt x="1347" y="945"/>
                </a:lnTo>
                <a:lnTo>
                  <a:pt x="1359" y="945"/>
                </a:lnTo>
                <a:lnTo>
                  <a:pt x="1371" y="945"/>
                </a:lnTo>
                <a:lnTo>
                  <a:pt x="1379" y="946"/>
                </a:lnTo>
                <a:lnTo>
                  <a:pt x="1385" y="947"/>
                </a:lnTo>
                <a:lnTo>
                  <a:pt x="1388" y="948"/>
                </a:lnTo>
                <a:lnTo>
                  <a:pt x="1389" y="950"/>
                </a:lnTo>
                <a:lnTo>
                  <a:pt x="1391" y="951"/>
                </a:lnTo>
                <a:lnTo>
                  <a:pt x="1392" y="953"/>
                </a:lnTo>
                <a:lnTo>
                  <a:pt x="1392" y="956"/>
                </a:lnTo>
                <a:lnTo>
                  <a:pt x="1392" y="959"/>
                </a:lnTo>
                <a:lnTo>
                  <a:pt x="1391" y="966"/>
                </a:lnTo>
                <a:lnTo>
                  <a:pt x="1389" y="976"/>
                </a:lnTo>
                <a:lnTo>
                  <a:pt x="1303" y="1304"/>
                </a:lnTo>
                <a:close/>
                <a:moveTo>
                  <a:pt x="0" y="1135"/>
                </a:moveTo>
                <a:lnTo>
                  <a:pt x="0" y="1106"/>
                </a:lnTo>
                <a:lnTo>
                  <a:pt x="2" y="1077"/>
                </a:lnTo>
                <a:lnTo>
                  <a:pt x="3" y="1048"/>
                </a:lnTo>
                <a:lnTo>
                  <a:pt x="6" y="1019"/>
                </a:lnTo>
                <a:lnTo>
                  <a:pt x="9" y="991"/>
                </a:lnTo>
                <a:lnTo>
                  <a:pt x="13" y="963"/>
                </a:lnTo>
                <a:lnTo>
                  <a:pt x="18" y="935"/>
                </a:lnTo>
                <a:lnTo>
                  <a:pt x="23" y="907"/>
                </a:lnTo>
                <a:lnTo>
                  <a:pt x="29" y="879"/>
                </a:lnTo>
                <a:lnTo>
                  <a:pt x="36" y="852"/>
                </a:lnTo>
                <a:lnTo>
                  <a:pt x="43" y="825"/>
                </a:lnTo>
                <a:lnTo>
                  <a:pt x="51" y="798"/>
                </a:lnTo>
                <a:lnTo>
                  <a:pt x="60" y="772"/>
                </a:lnTo>
                <a:lnTo>
                  <a:pt x="69" y="745"/>
                </a:lnTo>
                <a:lnTo>
                  <a:pt x="79" y="720"/>
                </a:lnTo>
                <a:lnTo>
                  <a:pt x="89" y="694"/>
                </a:lnTo>
                <a:lnTo>
                  <a:pt x="100" y="669"/>
                </a:lnTo>
                <a:lnTo>
                  <a:pt x="112" y="644"/>
                </a:lnTo>
                <a:lnTo>
                  <a:pt x="124" y="619"/>
                </a:lnTo>
                <a:lnTo>
                  <a:pt x="137" y="595"/>
                </a:lnTo>
                <a:lnTo>
                  <a:pt x="150" y="571"/>
                </a:lnTo>
                <a:lnTo>
                  <a:pt x="164" y="546"/>
                </a:lnTo>
                <a:lnTo>
                  <a:pt x="179" y="523"/>
                </a:lnTo>
                <a:lnTo>
                  <a:pt x="194" y="500"/>
                </a:lnTo>
                <a:lnTo>
                  <a:pt x="209" y="478"/>
                </a:lnTo>
                <a:lnTo>
                  <a:pt x="225" y="456"/>
                </a:lnTo>
                <a:lnTo>
                  <a:pt x="242" y="434"/>
                </a:lnTo>
                <a:lnTo>
                  <a:pt x="259" y="413"/>
                </a:lnTo>
                <a:lnTo>
                  <a:pt x="277" y="392"/>
                </a:lnTo>
                <a:lnTo>
                  <a:pt x="295" y="372"/>
                </a:lnTo>
                <a:lnTo>
                  <a:pt x="313" y="352"/>
                </a:lnTo>
                <a:lnTo>
                  <a:pt x="332" y="333"/>
                </a:lnTo>
                <a:lnTo>
                  <a:pt x="352" y="313"/>
                </a:lnTo>
                <a:lnTo>
                  <a:pt x="372" y="295"/>
                </a:lnTo>
                <a:lnTo>
                  <a:pt x="392" y="277"/>
                </a:lnTo>
                <a:lnTo>
                  <a:pt x="413" y="259"/>
                </a:lnTo>
                <a:lnTo>
                  <a:pt x="434" y="242"/>
                </a:lnTo>
                <a:lnTo>
                  <a:pt x="456" y="226"/>
                </a:lnTo>
                <a:lnTo>
                  <a:pt x="478" y="210"/>
                </a:lnTo>
                <a:lnTo>
                  <a:pt x="500" y="194"/>
                </a:lnTo>
                <a:lnTo>
                  <a:pt x="523" y="179"/>
                </a:lnTo>
                <a:lnTo>
                  <a:pt x="546" y="165"/>
                </a:lnTo>
                <a:lnTo>
                  <a:pt x="571" y="151"/>
                </a:lnTo>
                <a:lnTo>
                  <a:pt x="595" y="137"/>
                </a:lnTo>
                <a:lnTo>
                  <a:pt x="619" y="124"/>
                </a:lnTo>
                <a:lnTo>
                  <a:pt x="643" y="112"/>
                </a:lnTo>
                <a:lnTo>
                  <a:pt x="668" y="101"/>
                </a:lnTo>
                <a:lnTo>
                  <a:pt x="694" y="90"/>
                </a:lnTo>
                <a:lnTo>
                  <a:pt x="719" y="79"/>
                </a:lnTo>
                <a:lnTo>
                  <a:pt x="745" y="69"/>
                </a:lnTo>
                <a:lnTo>
                  <a:pt x="771" y="60"/>
                </a:lnTo>
                <a:lnTo>
                  <a:pt x="798" y="51"/>
                </a:lnTo>
                <a:lnTo>
                  <a:pt x="825" y="43"/>
                </a:lnTo>
                <a:lnTo>
                  <a:pt x="852" y="36"/>
                </a:lnTo>
                <a:lnTo>
                  <a:pt x="879" y="29"/>
                </a:lnTo>
                <a:lnTo>
                  <a:pt x="906" y="23"/>
                </a:lnTo>
                <a:lnTo>
                  <a:pt x="934" y="18"/>
                </a:lnTo>
                <a:lnTo>
                  <a:pt x="962" y="13"/>
                </a:lnTo>
                <a:lnTo>
                  <a:pt x="991" y="10"/>
                </a:lnTo>
                <a:lnTo>
                  <a:pt x="1019" y="6"/>
                </a:lnTo>
                <a:lnTo>
                  <a:pt x="1048" y="4"/>
                </a:lnTo>
                <a:lnTo>
                  <a:pt x="1077" y="2"/>
                </a:lnTo>
                <a:lnTo>
                  <a:pt x="1106" y="1"/>
                </a:lnTo>
                <a:lnTo>
                  <a:pt x="1135" y="0"/>
                </a:lnTo>
                <a:lnTo>
                  <a:pt x="1164" y="1"/>
                </a:lnTo>
                <a:lnTo>
                  <a:pt x="1193" y="2"/>
                </a:lnTo>
                <a:lnTo>
                  <a:pt x="1222" y="4"/>
                </a:lnTo>
                <a:lnTo>
                  <a:pt x="1251" y="6"/>
                </a:lnTo>
                <a:lnTo>
                  <a:pt x="1279" y="10"/>
                </a:lnTo>
                <a:lnTo>
                  <a:pt x="1308" y="13"/>
                </a:lnTo>
                <a:lnTo>
                  <a:pt x="1336" y="18"/>
                </a:lnTo>
                <a:lnTo>
                  <a:pt x="1363" y="23"/>
                </a:lnTo>
                <a:lnTo>
                  <a:pt x="1391" y="29"/>
                </a:lnTo>
                <a:lnTo>
                  <a:pt x="1418" y="36"/>
                </a:lnTo>
                <a:lnTo>
                  <a:pt x="1445" y="43"/>
                </a:lnTo>
                <a:lnTo>
                  <a:pt x="1472" y="51"/>
                </a:lnTo>
                <a:lnTo>
                  <a:pt x="1499" y="60"/>
                </a:lnTo>
                <a:lnTo>
                  <a:pt x="1525" y="69"/>
                </a:lnTo>
                <a:lnTo>
                  <a:pt x="1551" y="79"/>
                </a:lnTo>
                <a:lnTo>
                  <a:pt x="1576" y="90"/>
                </a:lnTo>
                <a:lnTo>
                  <a:pt x="1602" y="101"/>
                </a:lnTo>
                <a:lnTo>
                  <a:pt x="1627" y="112"/>
                </a:lnTo>
                <a:lnTo>
                  <a:pt x="1651" y="124"/>
                </a:lnTo>
                <a:lnTo>
                  <a:pt x="1675" y="137"/>
                </a:lnTo>
                <a:lnTo>
                  <a:pt x="1699" y="151"/>
                </a:lnTo>
                <a:lnTo>
                  <a:pt x="1724" y="165"/>
                </a:lnTo>
                <a:lnTo>
                  <a:pt x="1747" y="179"/>
                </a:lnTo>
                <a:lnTo>
                  <a:pt x="1770" y="194"/>
                </a:lnTo>
                <a:lnTo>
                  <a:pt x="1792" y="210"/>
                </a:lnTo>
                <a:lnTo>
                  <a:pt x="1814" y="226"/>
                </a:lnTo>
                <a:lnTo>
                  <a:pt x="1836" y="242"/>
                </a:lnTo>
                <a:lnTo>
                  <a:pt x="1857" y="259"/>
                </a:lnTo>
                <a:lnTo>
                  <a:pt x="1878" y="277"/>
                </a:lnTo>
                <a:lnTo>
                  <a:pt x="1898" y="295"/>
                </a:lnTo>
                <a:lnTo>
                  <a:pt x="1918" y="313"/>
                </a:lnTo>
                <a:lnTo>
                  <a:pt x="1938" y="333"/>
                </a:lnTo>
                <a:lnTo>
                  <a:pt x="1957" y="352"/>
                </a:lnTo>
                <a:lnTo>
                  <a:pt x="1975" y="372"/>
                </a:lnTo>
                <a:lnTo>
                  <a:pt x="1993" y="392"/>
                </a:lnTo>
                <a:lnTo>
                  <a:pt x="2011" y="413"/>
                </a:lnTo>
                <a:lnTo>
                  <a:pt x="2028" y="434"/>
                </a:lnTo>
                <a:lnTo>
                  <a:pt x="2045" y="456"/>
                </a:lnTo>
                <a:lnTo>
                  <a:pt x="2061" y="478"/>
                </a:lnTo>
                <a:lnTo>
                  <a:pt x="2076" y="500"/>
                </a:lnTo>
                <a:lnTo>
                  <a:pt x="2091" y="523"/>
                </a:lnTo>
                <a:lnTo>
                  <a:pt x="2106" y="546"/>
                </a:lnTo>
                <a:lnTo>
                  <a:pt x="2120" y="571"/>
                </a:lnTo>
                <a:lnTo>
                  <a:pt x="2133" y="595"/>
                </a:lnTo>
                <a:lnTo>
                  <a:pt x="2146" y="619"/>
                </a:lnTo>
                <a:lnTo>
                  <a:pt x="2158" y="644"/>
                </a:lnTo>
                <a:lnTo>
                  <a:pt x="2170" y="669"/>
                </a:lnTo>
                <a:lnTo>
                  <a:pt x="2181" y="694"/>
                </a:lnTo>
                <a:lnTo>
                  <a:pt x="2191" y="720"/>
                </a:lnTo>
                <a:lnTo>
                  <a:pt x="2201" y="745"/>
                </a:lnTo>
                <a:lnTo>
                  <a:pt x="2210" y="772"/>
                </a:lnTo>
                <a:lnTo>
                  <a:pt x="2219" y="798"/>
                </a:lnTo>
                <a:lnTo>
                  <a:pt x="2227" y="825"/>
                </a:lnTo>
                <a:lnTo>
                  <a:pt x="2234" y="852"/>
                </a:lnTo>
                <a:lnTo>
                  <a:pt x="2241" y="879"/>
                </a:lnTo>
                <a:lnTo>
                  <a:pt x="2247" y="907"/>
                </a:lnTo>
                <a:lnTo>
                  <a:pt x="2252" y="935"/>
                </a:lnTo>
                <a:lnTo>
                  <a:pt x="2257" y="963"/>
                </a:lnTo>
                <a:lnTo>
                  <a:pt x="2261" y="991"/>
                </a:lnTo>
                <a:lnTo>
                  <a:pt x="2264" y="1019"/>
                </a:lnTo>
                <a:lnTo>
                  <a:pt x="2267" y="1048"/>
                </a:lnTo>
                <a:lnTo>
                  <a:pt x="2268" y="1077"/>
                </a:lnTo>
                <a:lnTo>
                  <a:pt x="2269" y="1106"/>
                </a:lnTo>
                <a:lnTo>
                  <a:pt x="2270" y="1135"/>
                </a:lnTo>
                <a:lnTo>
                  <a:pt x="2269" y="1165"/>
                </a:lnTo>
                <a:lnTo>
                  <a:pt x="2268" y="1194"/>
                </a:lnTo>
                <a:lnTo>
                  <a:pt x="2267" y="1223"/>
                </a:lnTo>
                <a:lnTo>
                  <a:pt x="2264" y="1251"/>
                </a:lnTo>
                <a:lnTo>
                  <a:pt x="2261" y="1280"/>
                </a:lnTo>
                <a:lnTo>
                  <a:pt x="2257" y="1308"/>
                </a:lnTo>
                <a:lnTo>
                  <a:pt x="2252" y="1336"/>
                </a:lnTo>
                <a:lnTo>
                  <a:pt x="2247" y="1364"/>
                </a:lnTo>
                <a:lnTo>
                  <a:pt x="2241" y="1391"/>
                </a:lnTo>
                <a:lnTo>
                  <a:pt x="2234" y="1419"/>
                </a:lnTo>
                <a:lnTo>
                  <a:pt x="2227" y="1446"/>
                </a:lnTo>
                <a:lnTo>
                  <a:pt x="2219" y="1472"/>
                </a:lnTo>
                <a:lnTo>
                  <a:pt x="2210" y="1499"/>
                </a:lnTo>
                <a:lnTo>
                  <a:pt x="2201" y="1525"/>
                </a:lnTo>
                <a:lnTo>
                  <a:pt x="2191" y="1551"/>
                </a:lnTo>
                <a:lnTo>
                  <a:pt x="2181" y="1577"/>
                </a:lnTo>
                <a:lnTo>
                  <a:pt x="2170" y="1602"/>
                </a:lnTo>
                <a:lnTo>
                  <a:pt x="2158" y="1627"/>
                </a:lnTo>
                <a:lnTo>
                  <a:pt x="2146" y="1651"/>
                </a:lnTo>
                <a:lnTo>
                  <a:pt x="2133" y="1676"/>
                </a:lnTo>
                <a:lnTo>
                  <a:pt x="2120" y="1700"/>
                </a:lnTo>
                <a:lnTo>
                  <a:pt x="2106" y="1724"/>
                </a:lnTo>
                <a:lnTo>
                  <a:pt x="2091" y="1747"/>
                </a:lnTo>
                <a:lnTo>
                  <a:pt x="2076" y="1770"/>
                </a:lnTo>
                <a:lnTo>
                  <a:pt x="2061" y="1793"/>
                </a:lnTo>
                <a:lnTo>
                  <a:pt x="2045" y="1815"/>
                </a:lnTo>
                <a:lnTo>
                  <a:pt x="2028" y="1836"/>
                </a:lnTo>
                <a:lnTo>
                  <a:pt x="2011" y="1858"/>
                </a:lnTo>
                <a:lnTo>
                  <a:pt x="1993" y="1878"/>
                </a:lnTo>
                <a:lnTo>
                  <a:pt x="1975" y="1899"/>
                </a:lnTo>
                <a:lnTo>
                  <a:pt x="1957" y="1919"/>
                </a:lnTo>
                <a:lnTo>
                  <a:pt x="1938" y="1938"/>
                </a:lnTo>
                <a:lnTo>
                  <a:pt x="1918" y="1957"/>
                </a:lnTo>
                <a:lnTo>
                  <a:pt x="1898" y="1976"/>
                </a:lnTo>
                <a:lnTo>
                  <a:pt x="1878" y="1994"/>
                </a:lnTo>
                <a:lnTo>
                  <a:pt x="1857" y="2011"/>
                </a:lnTo>
                <a:lnTo>
                  <a:pt x="1836" y="2028"/>
                </a:lnTo>
                <a:lnTo>
                  <a:pt x="1814" y="2045"/>
                </a:lnTo>
                <a:lnTo>
                  <a:pt x="1792" y="2061"/>
                </a:lnTo>
                <a:lnTo>
                  <a:pt x="1770" y="2076"/>
                </a:lnTo>
                <a:lnTo>
                  <a:pt x="1747" y="2091"/>
                </a:lnTo>
                <a:lnTo>
                  <a:pt x="1724" y="2106"/>
                </a:lnTo>
                <a:lnTo>
                  <a:pt x="1699" y="2120"/>
                </a:lnTo>
                <a:lnTo>
                  <a:pt x="1675" y="2133"/>
                </a:lnTo>
                <a:lnTo>
                  <a:pt x="1651" y="2146"/>
                </a:lnTo>
                <a:lnTo>
                  <a:pt x="1627" y="2158"/>
                </a:lnTo>
                <a:lnTo>
                  <a:pt x="1602" y="2170"/>
                </a:lnTo>
                <a:lnTo>
                  <a:pt x="1576" y="2181"/>
                </a:lnTo>
                <a:lnTo>
                  <a:pt x="1551" y="2191"/>
                </a:lnTo>
                <a:lnTo>
                  <a:pt x="1525" y="2201"/>
                </a:lnTo>
                <a:lnTo>
                  <a:pt x="1499" y="2211"/>
                </a:lnTo>
                <a:lnTo>
                  <a:pt x="1472" y="2219"/>
                </a:lnTo>
                <a:lnTo>
                  <a:pt x="1445" y="2227"/>
                </a:lnTo>
                <a:lnTo>
                  <a:pt x="1418" y="2234"/>
                </a:lnTo>
                <a:lnTo>
                  <a:pt x="1391" y="2241"/>
                </a:lnTo>
                <a:lnTo>
                  <a:pt x="1363" y="2247"/>
                </a:lnTo>
                <a:lnTo>
                  <a:pt x="1336" y="2252"/>
                </a:lnTo>
                <a:lnTo>
                  <a:pt x="1308" y="2257"/>
                </a:lnTo>
                <a:lnTo>
                  <a:pt x="1279" y="2261"/>
                </a:lnTo>
                <a:lnTo>
                  <a:pt x="1251" y="2264"/>
                </a:lnTo>
                <a:lnTo>
                  <a:pt x="1222" y="2267"/>
                </a:lnTo>
                <a:lnTo>
                  <a:pt x="1193" y="2269"/>
                </a:lnTo>
                <a:lnTo>
                  <a:pt x="1164" y="2270"/>
                </a:lnTo>
                <a:lnTo>
                  <a:pt x="1135" y="2270"/>
                </a:lnTo>
                <a:lnTo>
                  <a:pt x="1106" y="2270"/>
                </a:lnTo>
                <a:lnTo>
                  <a:pt x="1077" y="2269"/>
                </a:lnTo>
                <a:lnTo>
                  <a:pt x="1048" y="2267"/>
                </a:lnTo>
                <a:lnTo>
                  <a:pt x="1019" y="2264"/>
                </a:lnTo>
                <a:lnTo>
                  <a:pt x="991" y="2261"/>
                </a:lnTo>
                <a:lnTo>
                  <a:pt x="962" y="2257"/>
                </a:lnTo>
                <a:lnTo>
                  <a:pt x="934" y="2252"/>
                </a:lnTo>
                <a:lnTo>
                  <a:pt x="906" y="2247"/>
                </a:lnTo>
                <a:lnTo>
                  <a:pt x="879" y="2241"/>
                </a:lnTo>
                <a:lnTo>
                  <a:pt x="852" y="2234"/>
                </a:lnTo>
                <a:lnTo>
                  <a:pt x="825" y="2227"/>
                </a:lnTo>
                <a:lnTo>
                  <a:pt x="798" y="2219"/>
                </a:lnTo>
                <a:lnTo>
                  <a:pt x="771" y="2211"/>
                </a:lnTo>
                <a:lnTo>
                  <a:pt x="745" y="2201"/>
                </a:lnTo>
                <a:lnTo>
                  <a:pt x="719" y="2191"/>
                </a:lnTo>
                <a:lnTo>
                  <a:pt x="694" y="2181"/>
                </a:lnTo>
                <a:lnTo>
                  <a:pt x="668" y="2170"/>
                </a:lnTo>
                <a:lnTo>
                  <a:pt x="643" y="2158"/>
                </a:lnTo>
                <a:lnTo>
                  <a:pt x="619" y="2146"/>
                </a:lnTo>
                <a:lnTo>
                  <a:pt x="595" y="2133"/>
                </a:lnTo>
                <a:lnTo>
                  <a:pt x="571" y="2120"/>
                </a:lnTo>
                <a:lnTo>
                  <a:pt x="546" y="2106"/>
                </a:lnTo>
                <a:lnTo>
                  <a:pt x="523" y="2091"/>
                </a:lnTo>
                <a:lnTo>
                  <a:pt x="500" y="2076"/>
                </a:lnTo>
                <a:lnTo>
                  <a:pt x="478" y="2061"/>
                </a:lnTo>
                <a:lnTo>
                  <a:pt x="456" y="2045"/>
                </a:lnTo>
                <a:lnTo>
                  <a:pt x="434" y="2028"/>
                </a:lnTo>
                <a:lnTo>
                  <a:pt x="413" y="2011"/>
                </a:lnTo>
                <a:lnTo>
                  <a:pt x="392" y="1994"/>
                </a:lnTo>
                <a:lnTo>
                  <a:pt x="372" y="1976"/>
                </a:lnTo>
                <a:lnTo>
                  <a:pt x="352" y="1957"/>
                </a:lnTo>
                <a:lnTo>
                  <a:pt x="332" y="1938"/>
                </a:lnTo>
                <a:lnTo>
                  <a:pt x="313" y="1919"/>
                </a:lnTo>
                <a:lnTo>
                  <a:pt x="295" y="1899"/>
                </a:lnTo>
                <a:lnTo>
                  <a:pt x="277" y="1878"/>
                </a:lnTo>
                <a:lnTo>
                  <a:pt x="259" y="1858"/>
                </a:lnTo>
                <a:lnTo>
                  <a:pt x="242" y="1836"/>
                </a:lnTo>
                <a:lnTo>
                  <a:pt x="225" y="1815"/>
                </a:lnTo>
                <a:lnTo>
                  <a:pt x="209" y="1793"/>
                </a:lnTo>
                <a:lnTo>
                  <a:pt x="194" y="1770"/>
                </a:lnTo>
                <a:lnTo>
                  <a:pt x="179" y="1747"/>
                </a:lnTo>
                <a:lnTo>
                  <a:pt x="164" y="1724"/>
                </a:lnTo>
                <a:lnTo>
                  <a:pt x="150" y="1700"/>
                </a:lnTo>
                <a:lnTo>
                  <a:pt x="137" y="1676"/>
                </a:lnTo>
                <a:lnTo>
                  <a:pt x="124" y="1651"/>
                </a:lnTo>
                <a:lnTo>
                  <a:pt x="112" y="1627"/>
                </a:lnTo>
                <a:lnTo>
                  <a:pt x="100" y="1602"/>
                </a:lnTo>
                <a:lnTo>
                  <a:pt x="89" y="1577"/>
                </a:lnTo>
                <a:lnTo>
                  <a:pt x="79" y="1551"/>
                </a:lnTo>
                <a:lnTo>
                  <a:pt x="69" y="1525"/>
                </a:lnTo>
                <a:lnTo>
                  <a:pt x="60" y="1499"/>
                </a:lnTo>
                <a:lnTo>
                  <a:pt x="51" y="1472"/>
                </a:lnTo>
                <a:lnTo>
                  <a:pt x="43" y="1446"/>
                </a:lnTo>
                <a:lnTo>
                  <a:pt x="36" y="1419"/>
                </a:lnTo>
                <a:lnTo>
                  <a:pt x="29" y="1391"/>
                </a:lnTo>
                <a:lnTo>
                  <a:pt x="23" y="1364"/>
                </a:lnTo>
                <a:lnTo>
                  <a:pt x="18" y="1336"/>
                </a:lnTo>
                <a:lnTo>
                  <a:pt x="13" y="1308"/>
                </a:lnTo>
                <a:lnTo>
                  <a:pt x="9" y="1280"/>
                </a:lnTo>
                <a:lnTo>
                  <a:pt x="6" y="1251"/>
                </a:lnTo>
                <a:lnTo>
                  <a:pt x="3" y="1223"/>
                </a:lnTo>
                <a:lnTo>
                  <a:pt x="2" y="1194"/>
                </a:lnTo>
                <a:lnTo>
                  <a:pt x="0" y="1165"/>
                </a:lnTo>
                <a:lnTo>
                  <a:pt x="0" y="11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19" name="Graphic 18">
            <a:extLst>
              <a:ext uri="{FF2B5EF4-FFF2-40B4-BE49-F238E27FC236}">
                <a16:creationId xmlns:a16="http://schemas.microsoft.com/office/drawing/2014/main" id="{36C845D9-E49A-48D0-BD72-0A13F16D65C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945002" y="634852"/>
            <a:ext cx="2301994" cy="920798"/>
          </a:xfrm>
          <a:prstGeom prst="rect">
            <a:avLst/>
          </a:prstGeom>
        </p:spPr>
      </p:pic>
    </p:spTree>
    <p:extLst>
      <p:ext uri="{BB962C8B-B14F-4D97-AF65-F5344CB8AC3E}">
        <p14:creationId xmlns:p14="http://schemas.microsoft.com/office/powerpoint/2010/main" val="321860504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89F4C07-4757-4DEE-8D2B-3774FBB90777}" type="datetime4">
              <a:rPr lang="en-GB" smtClean="0"/>
              <a:t>16 February 2023</a:t>
            </a:fld>
            <a:endParaRPr lang="fi-FI"/>
          </a:p>
        </p:txBody>
      </p:sp>
      <p:sp>
        <p:nvSpPr>
          <p:cNvPr id="5" name="Footer Placeholder 4"/>
          <p:cNvSpPr>
            <a:spLocks noGrp="1"/>
          </p:cNvSpPr>
          <p:nvPr>
            <p:ph type="ftr" sz="quarter" idx="11"/>
          </p:nvPr>
        </p:nvSpPr>
        <p:spPr/>
        <p:txBody>
          <a:bodyPr/>
          <a:lstStyle/>
          <a:p>
            <a:r>
              <a:rPr lang="fi-FI"/>
              <a:t>CONFIDENTIAL</a:t>
            </a:r>
          </a:p>
        </p:txBody>
      </p:sp>
      <p:sp>
        <p:nvSpPr>
          <p:cNvPr id="6" name="Slide Number Placeholder 5"/>
          <p:cNvSpPr>
            <a:spLocks noGrp="1"/>
          </p:cNvSpPr>
          <p:nvPr>
            <p:ph type="sldNum" sz="quarter" idx="12"/>
          </p:nvPr>
        </p:nvSpPr>
        <p:spPr/>
        <p:txBody>
          <a:bodyPr/>
          <a:lstStyle/>
          <a:p>
            <a:fld id="{C681002B-9E36-49F2-803E-4F1D6FC85B63}" type="slidenum">
              <a:rPr lang="fi-FI" smtClean="0"/>
              <a:t>‹#›</a:t>
            </a:fld>
            <a:endParaRPr lang="fi-FI"/>
          </a:p>
        </p:txBody>
      </p:sp>
      <p:sp>
        <p:nvSpPr>
          <p:cNvPr id="33" name="Text Placeholder 2">
            <a:extLst>
              <a:ext uri="{FF2B5EF4-FFF2-40B4-BE49-F238E27FC236}">
                <a16:creationId xmlns:a16="http://schemas.microsoft.com/office/drawing/2014/main" id="{F0AC9766-35BB-4BA6-B76E-FC634D3AC7ED}"/>
              </a:ext>
            </a:extLst>
          </p:cNvPr>
          <p:cNvSpPr txBox="1">
            <a:spLocks/>
          </p:cNvSpPr>
          <p:nvPr userDrawn="1"/>
        </p:nvSpPr>
        <p:spPr>
          <a:xfrm>
            <a:off x="2423593" y="1628775"/>
            <a:ext cx="7344814" cy="4392613"/>
          </a:xfrm>
          <a:prstGeom prst="rect">
            <a:avLst/>
          </a:prstGeom>
        </p:spPr>
        <p:txBody>
          <a:bodyPr lIns="0" tIns="0" rIns="0" bIns="0" numCol="1" spcCol="288000"/>
          <a:lstStyle>
            <a:lvl1pPr marL="180975" indent="-180975" algn="l" defTabSz="720000" rtl="0" eaLnBrk="1" fontAlgn="base" hangingPunct="1">
              <a:lnSpc>
                <a:spcPct val="110000"/>
              </a:lnSpc>
              <a:spcBef>
                <a:spcPct val="10000"/>
              </a:spcBef>
              <a:spcAft>
                <a:spcPts val="600"/>
              </a:spcAft>
              <a:buClr>
                <a:schemeClr val="accent1"/>
              </a:buClr>
              <a:buSzPct val="100000"/>
              <a:buFont typeface="Arial"/>
              <a:buChar char="•"/>
              <a:defRPr sz="1500">
                <a:solidFill>
                  <a:schemeClr val="tx1">
                    <a:lumMod val="10000"/>
                  </a:schemeClr>
                </a:solidFill>
                <a:latin typeface="Arial" panose="020B0604020202020204" pitchFamily="34" charset="0"/>
                <a:ea typeface="+mn-ea"/>
                <a:cs typeface="Arial" panose="020B0604020202020204" pitchFamily="34" charset="0"/>
              </a:defRPr>
            </a:lvl1pPr>
            <a:lvl2pPr marL="534988" indent="-173038" algn="l" defTabSz="857250" rtl="0" eaLnBrk="1" fontAlgn="base" hangingPunct="1">
              <a:lnSpc>
                <a:spcPct val="110000"/>
              </a:lnSpc>
              <a:spcBef>
                <a:spcPct val="10000"/>
              </a:spcBef>
              <a:spcAft>
                <a:spcPts val="600"/>
              </a:spcAft>
              <a:buClr>
                <a:schemeClr val="accent1"/>
              </a:buClr>
              <a:buSzPct val="100000"/>
              <a:buFont typeface="Arial" panose="020B0604020202020204" pitchFamily="34" charset="0"/>
              <a:buChar char="−"/>
              <a:defRPr sz="1300">
                <a:solidFill>
                  <a:schemeClr val="tx1">
                    <a:lumMod val="10000"/>
                  </a:schemeClr>
                </a:solidFill>
                <a:latin typeface="Arial" panose="020B0604020202020204" pitchFamily="34" charset="0"/>
                <a:ea typeface="+mn-ea"/>
                <a:cs typeface="Arial" panose="020B0604020202020204" pitchFamily="34" charset="0"/>
              </a:defRPr>
            </a:lvl2pPr>
            <a:lvl3pPr marL="898525" indent="-182563" algn="l" defTabSz="857250" rtl="0" eaLnBrk="1" fontAlgn="base" hangingPunct="1">
              <a:lnSpc>
                <a:spcPct val="110000"/>
              </a:lnSpc>
              <a:spcBef>
                <a:spcPct val="10000"/>
              </a:spcBef>
              <a:spcAft>
                <a:spcPts val="600"/>
              </a:spcAft>
              <a:buClr>
                <a:schemeClr val="accent1"/>
              </a:buClr>
              <a:buSzPct val="100000"/>
              <a:buFont typeface="Arial" panose="020B0604020202020204" pitchFamily="34" charset="0"/>
              <a:buChar char="•"/>
              <a:defRPr sz="1300">
                <a:solidFill>
                  <a:schemeClr val="tx1">
                    <a:lumMod val="10000"/>
                  </a:schemeClr>
                </a:solidFill>
                <a:latin typeface="Arial" panose="020B0604020202020204" pitchFamily="34" charset="0"/>
                <a:ea typeface="+mn-ea"/>
                <a:cs typeface="Arial" panose="020B0604020202020204" pitchFamily="34" charset="0"/>
              </a:defRPr>
            </a:lvl3pPr>
            <a:lvl4pPr marL="1252538" indent="-173038" algn="l" defTabSz="857250" rtl="0" eaLnBrk="1" fontAlgn="base" hangingPunct="1">
              <a:lnSpc>
                <a:spcPct val="110000"/>
              </a:lnSpc>
              <a:spcBef>
                <a:spcPct val="10000"/>
              </a:spcBef>
              <a:spcAft>
                <a:spcPts val="600"/>
              </a:spcAft>
              <a:buClr>
                <a:schemeClr val="accent1"/>
              </a:buClr>
              <a:buSzPct val="100000"/>
              <a:buFont typeface="Arial" panose="020B0604020202020204" pitchFamily="34" charset="0"/>
              <a:buChar char="−"/>
              <a:defRPr sz="1000">
                <a:solidFill>
                  <a:schemeClr val="tx1">
                    <a:lumMod val="10000"/>
                  </a:schemeClr>
                </a:solidFill>
                <a:latin typeface="Arial" panose="020B0604020202020204" pitchFamily="34" charset="0"/>
                <a:ea typeface="+mn-ea"/>
                <a:cs typeface="Arial" panose="020B0604020202020204" pitchFamily="34" charset="0"/>
              </a:defRPr>
            </a:lvl4pPr>
            <a:lvl5pPr marL="1739900" indent="-214313" algn="l" defTabSz="857250" rtl="0" eaLnBrk="1" fontAlgn="base" hangingPunct="1">
              <a:lnSpc>
                <a:spcPct val="110000"/>
              </a:lnSpc>
              <a:spcBef>
                <a:spcPct val="10000"/>
              </a:spcBef>
              <a:spcAft>
                <a:spcPts val="600"/>
              </a:spcAft>
              <a:buClr>
                <a:schemeClr val="accent1"/>
              </a:buClr>
              <a:buSzPct val="100000"/>
              <a:defRPr sz="900">
                <a:solidFill>
                  <a:schemeClr val="tx1">
                    <a:lumMod val="10000"/>
                  </a:schemeClr>
                </a:solidFill>
                <a:latin typeface="Arial" panose="020B0604020202020204" pitchFamily="34" charset="0"/>
                <a:ea typeface="+mn-ea"/>
                <a:cs typeface="Arial" panose="020B0604020202020204" pitchFamily="34" charset="0"/>
              </a:defRPr>
            </a:lvl5pPr>
            <a:lvl6pPr marL="21971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6pPr>
            <a:lvl7pPr marL="26543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7pPr>
            <a:lvl8pPr marL="31115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8pPr>
            <a:lvl9pPr marL="35687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9pPr>
          </a:lstStyle>
          <a:p>
            <a:pPr marL="0" indent="0" algn="just">
              <a:lnSpc>
                <a:spcPct val="110000"/>
              </a:lnSpc>
              <a:spcBef>
                <a:spcPts val="400"/>
              </a:spcBef>
              <a:spcAft>
                <a:spcPts val="0"/>
              </a:spcAft>
              <a:buNone/>
            </a:pPr>
            <a:r>
              <a:rPr lang="en-US" sz="1200" spc="10" baseline="0" dirty="0">
                <a:solidFill>
                  <a:srgbClr val="404040"/>
                </a:solidFill>
                <a:latin typeface="+mn-lt"/>
              </a:rPr>
              <a:t>The report shall be provided based on the facts and instructions in the specific assignment considering</a:t>
            </a:r>
            <a:br>
              <a:rPr lang="en-US" sz="1200" spc="10" baseline="0" dirty="0">
                <a:solidFill>
                  <a:srgbClr val="404040"/>
                </a:solidFill>
                <a:latin typeface="+mn-lt"/>
              </a:rPr>
            </a:br>
            <a:r>
              <a:rPr lang="en-US" sz="1200" spc="10" baseline="0" dirty="0">
                <a:solidFill>
                  <a:srgbClr val="404040"/>
                </a:solidFill>
                <a:latin typeface="+mn-lt"/>
              </a:rPr>
              <a:t>the circumstances at the time of the assignment in accordance with the respective scope of work.</a:t>
            </a:r>
            <a:br>
              <a:rPr lang="en-US" sz="1200" spc="10" baseline="0" dirty="0">
                <a:solidFill>
                  <a:srgbClr val="404040"/>
                </a:solidFill>
                <a:latin typeface="+mn-lt"/>
              </a:rPr>
            </a:br>
            <a:r>
              <a:rPr lang="en-US" sz="1200" spc="10" baseline="0" dirty="0">
                <a:solidFill>
                  <a:srgbClr val="404040"/>
                </a:solidFill>
                <a:latin typeface="+mn-lt"/>
              </a:rPr>
              <a:t>We assume that all the information provided to us is accurate and complete and that you have verified the correctness of the dis-closed information.</a:t>
            </a:r>
          </a:p>
          <a:p>
            <a:pPr marL="0" indent="0" algn="just">
              <a:lnSpc>
                <a:spcPct val="110000"/>
              </a:lnSpc>
              <a:spcBef>
                <a:spcPts val="400"/>
              </a:spcBef>
              <a:spcAft>
                <a:spcPts val="0"/>
              </a:spcAft>
              <a:buNone/>
            </a:pPr>
            <a:r>
              <a:rPr lang="en-US" sz="1200" spc="10" baseline="0" dirty="0">
                <a:solidFill>
                  <a:srgbClr val="404040"/>
                </a:solidFill>
                <a:latin typeface="+mn-lt"/>
              </a:rPr>
              <a:t>We assume no responsibility and make no representations with respect to the accuracy or completeness of</a:t>
            </a:r>
            <a:br>
              <a:rPr lang="en-US" sz="1200" spc="10" baseline="0" dirty="0">
                <a:solidFill>
                  <a:srgbClr val="404040"/>
                </a:solidFill>
                <a:latin typeface="+mn-lt"/>
              </a:rPr>
            </a:br>
            <a:r>
              <a:rPr lang="en-US" sz="1200" spc="10" baseline="0" dirty="0">
                <a:solidFill>
                  <a:srgbClr val="404040"/>
                </a:solidFill>
                <a:latin typeface="+mn-lt"/>
              </a:rPr>
              <a:t>the information in this report unless otherwise stated. The report should not be regarded, or be relied upon,</a:t>
            </a:r>
            <a:br>
              <a:rPr lang="en-US" sz="1200" spc="10" baseline="0" dirty="0">
                <a:solidFill>
                  <a:srgbClr val="404040"/>
                </a:solidFill>
                <a:latin typeface="+mn-lt"/>
              </a:rPr>
            </a:br>
            <a:r>
              <a:rPr lang="en-US" sz="1200" spc="10" baseline="0" dirty="0">
                <a:solidFill>
                  <a:srgbClr val="404040"/>
                </a:solidFill>
                <a:latin typeface="+mn-lt"/>
              </a:rPr>
              <a:t>as a recommendation in decision making concerning any matter referred to in it. </a:t>
            </a:r>
          </a:p>
          <a:p>
            <a:pPr marL="0" indent="0" algn="just">
              <a:lnSpc>
                <a:spcPct val="110000"/>
              </a:lnSpc>
              <a:spcBef>
                <a:spcPts val="400"/>
              </a:spcBef>
              <a:spcAft>
                <a:spcPts val="0"/>
              </a:spcAft>
              <a:buNone/>
            </a:pPr>
            <a:r>
              <a:rPr lang="en-US" sz="1200" spc="10" baseline="0" dirty="0">
                <a:solidFill>
                  <a:srgbClr val="404040"/>
                </a:solidFill>
                <a:latin typeface="+mn-lt"/>
              </a:rPr>
              <a:t>It should be understood that we do not assert that we have identified all matters included in these documents that may be relevant if these documents are included as disclosures against the warranties of the future agreements. Our re-view of the documents has only been what we consider appropriate in the context of the scope of our work as set out in our offer. </a:t>
            </a:r>
          </a:p>
          <a:p>
            <a:pPr marL="0" indent="0" algn="just">
              <a:lnSpc>
                <a:spcPct val="110000"/>
              </a:lnSpc>
              <a:spcBef>
                <a:spcPts val="400"/>
              </a:spcBef>
              <a:spcAft>
                <a:spcPts val="0"/>
              </a:spcAft>
              <a:buNone/>
            </a:pPr>
            <a:r>
              <a:rPr lang="en-US" sz="1200" spc="10" baseline="0" dirty="0">
                <a:solidFill>
                  <a:srgbClr val="404040"/>
                </a:solidFill>
                <a:latin typeface="+mn-lt"/>
              </a:rPr>
              <a:t>Further, we accept no responsibility to update the report in light of subsequent events (after the date</a:t>
            </a:r>
            <a:br>
              <a:rPr lang="en-US" sz="1200" spc="10" baseline="0" dirty="0">
                <a:solidFill>
                  <a:srgbClr val="404040"/>
                </a:solidFill>
                <a:latin typeface="+mn-lt"/>
              </a:rPr>
            </a:br>
            <a:r>
              <a:rPr lang="en-US" sz="1200" spc="10" baseline="0" dirty="0">
                <a:solidFill>
                  <a:srgbClr val="404040"/>
                </a:solidFill>
                <a:latin typeface="+mn-lt"/>
              </a:rPr>
              <a:t>of this report).</a:t>
            </a:r>
          </a:p>
          <a:p>
            <a:pPr marL="0" indent="0" algn="just">
              <a:lnSpc>
                <a:spcPct val="110000"/>
              </a:lnSpc>
              <a:spcBef>
                <a:spcPts val="400"/>
              </a:spcBef>
              <a:spcAft>
                <a:spcPts val="0"/>
              </a:spcAft>
              <a:buNone/>
            </a:pPr>
            <a:r>
              <a:rPr lang="en-US" sz="1200" spc="10" baseline="0" dirty="0">
                <a:solidFill>
                  <a:srgbClr val="404040"/>
                </a:solidFill>
                <a:latin typeface="+mn-lt"/>
              </a:rPr>
              <a:t>Except as specifically set out herein, this report may not, without the prior written consent by Gaia Consulting Oy, be disclosed to any third party or used in any other context than described herein. Should any third party receive a copy of or information contained in this report, such third party shall not receive any rights against Gaia Consulting Oy.</a:t>
            </a:r>
          </a:p>
        </p:txBody>
      </p:sp>
    </p:spTree>
    <p:extLst>
      <p:ext uri="{BB962C8B-B14F-4D97-AF65-F5344CB8AC3E}">
        <p14:creationId xmlns:p14="http://schemas.microsoft.com/office/powerpoint/2010/main" val="150601521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sclaimer FI">
    <p:bg>
      <p:bgPr>
        <a:solidFill>
          <a:schemeClr val="bg2"/>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B7DA142-D7DB-45C3-A204-FED2974CEB8F}" type="datetime4">
              <a:rPr lang="en-GB" smtClean="0"/>
              <a:t>16 February 2023</a:t>
            </a:fld>
            <a:endParaRPr lang="fi-FI"/>
          </a:p>
        </p:txBody>
      </p:sp>
      <p:sp>
        <p:nvSpPr>
          <p:cNvPr id="5" name="Footer Placeholder 4"/>
          <p:cNvSpPr>
            <a:spLocks noGrp="1"/>
          </p:cNvSpPr>
          <p:nvPr>
            <p:ph type="ftr" sz="quarter" idx="11"/>
          </p:nvPr>
        </p:nvSpPr>
        <p:spPr/>
        <p:txBody>
          <a:bodyPr/>
          <a:lstStyle/>
          <a:p>
            <a:r>
              <a:rPr lang="fi-FI"/>
              <a:t>CONFIDENTIAL</a:t>
            </a:r>
          </a:p>
        </p:txBody>
      </p:sp>
      <p:sp>
        <p:nvSpPr>
          <p:cNvPr id="6" name="Slide Number Placeholder 5"/>
          <p:cNvSpPr>
            <a:spLocks noGrp="1"/>
          </p:cNvSpPr>
          <p:nvPr>
            <p:ph type="sldNum" sz="quarter" idx="12"/>
          </p:nvPr>
        </p:nvSpPr>
        <p:spPr/>
        <p:txBody>
          <a:bodyPr/>
          <a:lstStyle/>
          <a:p>
            <a:fld id="{C681002B-9E36-49F2-803E-4F1D6FC85B63}" type="slidenum">
              <a:rPr lang="fi-FI" smtClean="0"/>
              <a:t>‹#›</a:t>
            </a:fld>
            <a:endParaRPr lang="fi-FI"/>
          </a:p>
        </p:txBody>
      </p:sp>
      <p:sp>
        <p:nvSpPr>
          <p:cNvPr id="33" name="Text Placeholder 2">
            <a:extLst>
              <a:ext uri="{FF2B5EF4-FFF2-40B4-BE49-F238E27FC236}">
                <a16:creationId xmlns:a16="http://schemas.microsoft.com/office/drawing/2014/main" id="{F0AC9766-35BB-4BA6-B76E-FC634D3AC7ED}"/>
              </a:ext>
            </a:extLst>
          </p:cNvPr>
          <p:cNvSpPr txBox="1">
            <a:spLocks/>
          </p:cNvSpPr>
          <p:nvPr userDrawn="1"/>
        </p:nvSpPr>
        <p:spPr>
          <a:xfrm>
            <a:off x="2423592" y="1628775"/>
            <a:ext cx="7344816" cy="4392613"/>
          </a:xfrm>
          <a:prstGeom prst="rect">
            <a:avLst/>
          </a:prstGeom>
        </p:spPr>
        <p:txBody>
          <a:bodyPr lIns="0" tIns="0" rIns="0" bIns="0" numCol="1" spcCol="288000"/>
          <a:lstStyle>
            <a:lvl1pPr marL="180975" indent="-180975" algn="l" defTabSz="720000" rtl="0" eaLnBrk="1" fontAlgn="base" hangingPunct="1">
              <a:lnSpc>
                <a:spcPct val="110000"/>
              </a:lnSpc>
              <a:spcBef>
                <a:spcPct val="10000"/>
              </a:spcBef>
              <a:spcAft>
                <a:spcPts val="600"/>
              </a:spcAft>
              <a:buClr>
                <a:schemeClr val="accent1"/>
              </a:buClr>
              <a:buSzPct val="100000"/>
              <a:buFont typeface="Arial"/>
              <a:buChar char="•"/>
              <a:defRPr sz="1500">
                <a:solidFill>
                  <a:schemeClr val="tx1">
                    <a:lumMod val="10000"/>
                  </a:schemeClr>
                </a:solidFill>
                <a:latin typeface="Arial" panose="020B0604020202020204" pitchFamily="34" charset="0"/>
                <a:ea typeface="+mn-ea"/>
                <a:cs typeface="Arial" panose="020B0604020202020204" pitchFamily="34" charset="0"/>
              </a:defRPr>
            </a:lvl1pPr>
            <a:lvl2pPr marL="534988" indent="-173038" algn="l" defTabSz="857250" rtl="0" eaLnBrk="1" fontAlgn="base" hangingPunct="1">
              <a:lnSpc>
                <a:spcPct val="110000"/>
              </a:lnSpc>
              <a:spcBef>
                <a:spcPct val="10000"/>
              </a:spcBef>
              <a:spcAft>
                <a:spcPts val="600"/>
              </a:spcAft>
              <a:buClr>
                <a:schemeClr val="accent1"/>
              </a:buClr>
              <a:buSzPct val="100000"/>
              <a:buFont typeface="Arial" panose="020B0604020202020204" pitchFamily="34" charset="0"/>
              <a:buChar char="−"/>
              <a:defRPr sz="1300">
                <a:solidFill>
                  <a:schemeClr val="tx1">
                    <a:lumMod val="10000"/>
                  </a:schemeClr>
                </a:solidFill>
                <a:latin typeface="Arial" panose="020B0604020202020204" pitchFamily="34" charset="0"/>
                <a:ea typeface="+mn-ea"/>
                <a:cs typeface="Arial" panose="020B0604020202020204" pitchFamily="34" charset="0"/>
              </a:defRPr>
            </a:lvl2pPr>
            <a:lvl3pPr marL="898525" indent="-182563" algn="l" defTabSz="857250" rtl="0" eaLnBrk="1" fontAlgn="base" hangingPunct="1">
              <a:lnSpc>
                <a:spcPct val="110000"/>
              </a:lnSpc>
              <a:spcBef>
                <a:spcPct val="10000"/>
              </a:spcBef>
              <a:spcAft>
                <a:spcPts val="600"/>
              </a:spcAft>
              <a:buClr>
                <a:schemeClr val="accent1"/>
              </a:buClr>
              <a:buSzPct val="100000"/>
              <a:buFont typeface="Arial" panose="020B0604020202020204" pitchFamily="34" charset="0"/>
              <a:buChar char="•"/>
              <a:defRPr sz="1300">
                <a:solidFill>
                  <a:schemeClr val="tx1">
                    <a:lumMod val="10000"/>
                  </a:schemeClr>
                </a:solidFill>
                <a:latin typeface="Arial" panose="020B0604020202020204" pitchFamily="34" charset="0"/>
                <a:ea typeface="+mn-ea"/>
                <a:cs typeface="Arial" panose="020B0604020202020204" pitchFamily="34" charset="0"/>
              </a:defRPr>
            </a:lvl3pPr>
            <a:lvl4pPr marL="1252538" indent="-173038" algn="l" defTabSz="857250" rtl="0" eaLnBrk="1" fontAlgn="base" hangingPunct="1">
              <a:lnSpc>
                <a:spcPct val="110000"/>
              </a:lnSpc>
              <a:spcBef>
                <a:spcPct val="10000"/>
              </a:spcBef>
              <a:spcAft>
                <a:spcPts val="600"/>
              </a:spcAft>
              <a:buClr>
                <a:schemeClr val="accent1"/>
              </a:buClr>
              <a:buSzPct val="100000"/>
              <a:buFont typeface="Arial" panose="020B0604020202020204" pitchFamily="34" charset="0"/>
              <a:buChar char="−"/>
              <a:defRPr sz="1000">
                <a:solidFill>
                  <a:schemeClr val="tx1">
                    <a:lumMod val="10000"/>
                  </a:schemeClr>
                </a:solidFill>
                <a:latin typeface="Arial" panose="020B0604020202020204" pitchFamily="34" charset="0"/>
                <a:ea typeface="+mn-ea"/>
                <a:cs typeface="Arial" panose="020B0604020202020204" pitchFamily="34" charset="0"/>
              </a:defRPr>
            </a:lvl4pPr>
            <a:lvl5pPr marL="1739900" indent="-214313" algn="l" defTabSz="857250" rtl="0" eaLnBrk="1" fontAlgn="base" hangingPunct="1">
              <a:lnSpc>
                <a:spcPct val="110000"/>
              </a:lnSpc>
              <a:spcBef>
                <a:spcPct val="10000"/>
              </a:spcBef>
              <a:spcAft>
                <a:spcPts val="600"/>
              </a:spcAft>
              <a:buClr>
                <a:schemeClr val="accent1"/>
              </a:buClr>
              <a:buSzPct val="100000"/>
              <a:defRPr sz="900">
                <a:solidFill>
                  <a:schemeClr val="tx1">
                    <a:lumMod val="10000"/>
                  </a:schemeClr>
                </a:solidFill>
                <a:latin typeface="Arial" panose="020B0604020202020204" pitchFamily="34" charset="0"/>
                <a:ea typeface="+mn-ea"/>
                <a:cs typeface="Arial" panose="020B0604020202020204" pitchFamily="34" charset="0"/>
              </a:defRPr>
            </a:lvl5pPr>
            <a:lvl6pPr marL="21971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6pPr>
            <a:lvl7pPr marL="26543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7pPr>
            <a:lvl8pPr marL="31115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8pPr>
            <a:lvl9pPr marL="35687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9pPr>
          </a:lstStyle>
          <a:p>
            <a:pPr marL="0" indent="0" algn="just">
              <a:lnSpc>
                <a:spcPct val="110000"/>
              </a:lnSpc>
              <a:spcBef>
                <a:spcPts val="400"/>
              </a:spcBef>
              <a:spcAft>
                <a:spcPts val="0"/>
              </a:spcAft>
              <a:buNone/>
            </a:pPr>
            <a:r>
              <a:rPr lang="fi-FI" sz="1200" kern="1200" spc="10" baseline="0" dirty="0">
                <a:solidFill>
                  <a:srgbClr val="404040"/>
                </a:solidFill>
                <a:latin typeface="Arial" panose="020B0604020202020204" pitchFamily="34" charset="0"/>
                <a:ea typeface="+mn-ea"/>
                <a:cs typeface="Arial" panose="020B0604020202020204" pitchFamily="34" charset="0"/>
              </a:rPr>
              <a:t>Raporttimme perustuu kyseisen toimeksiannon suorittamisen yhteydessä saamiimme tietoihin ja ohjeisiin huomioiden toimeksiannon suorittamisen aikana vallitsevat olosuhteet. Oletamme, että kaikki meille toimitetut tiedot ovat oikeita ja virheettömiä, ja että asiakas on tarkistanut luovutettujen tietojen oikeellisuuden.</a:t>
            </a:r>
          </a:p>
          <a:p>
            <a:pPr marL="0" indent="0" algn="just">
              <a:lnSpc>
                <a:spcPct val="110000"/>
              </a:lnSpc>
              <a:spcBef>
                <a:spcPts val="400"/>
              </a:spcBef>
              <a:spcAft>
                <a:spcPts val="0"/>
              </a:spcAft>
              <a:buNone/>
            </a:pPr>
            <a:r>
              <a:rPr lang="fi-FI" sz="1200" kern="1200" spc="10" baseline="0" dirty="0">
                <a:solidFill>
                  <a:srgbClr val="404040"/>
                </a:solidFill>
                <a:latin typeface="Arial" panose="020B0604020202020204" pitchFamily="34" charset="0"/>
                <a:ea typeface="+mn-ea"/>
                <a:cs typeface="Arial" panose="020B0604020202020204" pitchFamily="34" charset="0"/>
              </a:rPr>
              <a:t>Emme ole vastuussa raportin tietojen täsmällisyydestä tai täydellisyydestä, emmekä anna niitä koskevia vakuutuksia, ellei toisin ole mainittu. Raporttia ei tule miltään osin pitää päätöksentekoa koskevana suosituksena tai kehotuksena. </a:t>
            </a:r>
          </a:p>
          <a:p>
            <a:pPr marL="0" indent="0" algn="just">
              <a:lnSpc>
                <a:spcPct val="110000"/>
              </a:lnSpc>
              <a:spcBef>
                <a:spcPts val="400"/>
              </a:spcBef>
              <a:spcAft>
                <a:spcPts val="0"/>
              </a:spcAft>
              <a:buNone/>
            </a:pPr>
            <a:r>
              <a:rPr lang="fi-FI" sz="1200" kern="1200" spc="10" baseline="0" dirty="0">
                <a:solidFill>
                  <a:srgbClr val="404040"/>
                </a:solidFill>
                <a:latin typeface="Arial" panose="020B0604020202020204" pitchFamily="34" charset="0"/>
                <a:ea typeface="+mn-ea"/>
                <a:cs typeface="Arial" panose="020B0604020202020204" pitchFamily="34" charset="0"/>
              </a:rPr>
              <a:t>Emme ota vastuuta siitä, olemmeko tunnistaneet kaikki toimitettuihin asiakirjoihin sisältyvät seikat, joilla voi olla merkitystä, mikäli näitä asiakirjoja käytetään myöhemmin tehtävien sopimusten osana. Toimitetun materiaalin ja asiakirjojen läpikäynti on toteutettu siten kuin olemme katsoneet asiassa asianmukaiseksi tarjouksessa sovitun työn laajuuden ja tarkoituksen valossa. </a:t>
            </a:r>
          </a:p>
          <a:p>
            <a:pPr marL="0" indent="0" algn="just">
              <a:lnSpc>
                <a:spcPct val="110000"/>
              </a:lnSpc>
              <a:spcBef>
                <a:spcPts val="400"/>
              </a:spcBef>
              <a:spcAft>
                <a:spcPts val="0"/>
              </a:spcAft>
              <a:buNone/>
            </a:pPr>
            <a:r>
              <a:rPr lang="fi-FI" sz="1200" kern="1200" spc="10" baseline="0" dirty="0">
                <a:solidFill>
                  <a:srgbClr val="404040"/>
                </a:solidFill>
                <a:latin typeface="Arial" panose="020B0604020202020204" pitchFamily="34" charset="0"/>
                <a:ea typeface="+mn-ea"/>
                <a:cs typeface="Arial" panose="020B0604020202020204" pitchFamily="34" charset="0"/>
              </a:rPr>
              <a:t>Emme ole vastuussa raportin päivittämisestä myöhempien tapahtumien osalta (päivämäärä raportin etusivulla).</a:t>
            </a:r>
          </a:p>
          <a:p>
            <a:pPr marL="0" indent="0" algn="just">
              <a:lnSpc>
                <a:spcPct val="110000"/>
              </a:lnSpc>
              <a:spcBef>
                <a:spcPts val="400"/>
              </a:spcBef>
              <a:spcAft>
                <a:spcPts val="0"/>
              </a:spcAft>
              <a:buNone/>
            </a:pPr>
            <a:r>
              <a:rPr lang="fi-FI" sz="1200" kern="1200" spc="10" baseline="0" dirty="0">
                <a:solidFill>
                  <a:srgbClr val="404040"/>
                </a:solidFill>
                <a:latin typeface="Arial" panose="020B0604020202020204" pitchFamily="34" charset="0"/>
                <a:ea typeface="+mn-ea"/>
                <a:cs typeface="Arial" panose="020B0604020202020204" pitchFamily="34" charset="0"/>
              </a:rPr>
              <a:t>Ellei asiasta ole nimenomaisesti muuta sovittu, tätä raporttia ei saa luovuttaa kolmansille osapuolille tai käyttää muussa kuin tässä kuvatussa tarkoituksessa ilman Gaia Consulting Oy:n kirjallista etukäteistä suostumusta. Mikäli kolmas osapuoli saa käyttöönsä raportin jäljennöksen tai raportissa ollutta tietoa, kyseisellä kolmannella osapuolella ei ole mitään oikeuksia Gaia Consulting Oy:ä kohtaan.</a:t>
            </a:r>
          </a:p>
        </p:txBody>
      </p:sp>
    </p:spTree>
    <p:extLst>
      <p:ext uri="{BB962C8B-B14F-4D97-AF65-F5344CB8AC3E}">
        <p14:creationId xmlns:p14="http://schemas.microsoft.com/office/powerpoint/2010/main" val="315103101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rms">
    <p:bg>
      <p:bgPr>
        <a:solidFill>
          <a:schemeClr val="bg2"/>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B7DA142-D7DB-45C3-A204-FED2974CEB8F}" type="datetime4">
              <a:rPr lang="en-GB" smtClean="0"/>
              <a:t>16 February 2023</a:t>
            </a:fld>
            <a:endParaRPr lang="fi-FI"/>
          </a:p>
        </p:txBody>
      </p:sp>
      <p:sp>
        <p:nvSpPr>
          <p:cNvPr id="5" name="Footer Placeholder 4"/>
          <p:cNvSpPr>
            <a:spLocks noGrp="1"/>
          </p:cNvSpPr>
          <p:nvPr>
            <p:ph type="ftr" sz="quarter" idx="11"/>
          </p:nvPr>
        </p:nvSpPr>
        <p:spPr/>
        <p:txBody>
          <a:bodyPr/>
          <a:lstStyle/>
          <a:p>
            <a:r>
              <a:rPr lang="fi-FI"/>
              <a:t>CONFIDENTIAL</a:t>
            </a:r>
          </a:p>
        </p:txBody>
      </p:sp>
      <p:sp>
        <p:nvSpPr>
          <p:cNvPr id="6" name="Slide Number Placeholder 5"/>
          <p:cNvSpPr>
            <a:spLocks noGrp="1"/>
          </p:cNvSpPr>
          <p:nvPr>
            <p:ph type="sldNum" sz="quarter" idx="12"/>
          </p:nvPr>
        </p:nvSpPr>
        <p:spPr/>
        <p:txBody>
          <a:bodyPr/>
          <a:lstStyle/>
          <a:p>
            <a:fld id="{C681002B-9E36-49F2-803E-4F1D6FC85B63}" type="slidenum">
              <a:rPr lang="fi-FI" smtClean="0"/>
              <a:t>‹#›</a:t>
            </a:fld>
            <a:endParaRPr lang="fi-FI"/>
          </a:p>
        </p:txBody>
      </p:sp>
      <p:sp>
        <p:nvSpPr>
          <p:cNvPr id="33" name="Text Placeholder 2">
            <a:extLst>
              <a:ext uri="{FF2B5EF4-FFF2-40B4-BE49-F238E27FC236}">
                <a16:creationId xmlns:a16="http://schemas.microsoft.com/office/drawing/2014/main" id="{F0AC9766-35BB-4BA6-B76E-FC634D3AC7ED}"/>
              </a:ext>
            </a:extLst>
          </p:cNvPr>
          <p:cNvSpPr txBox="1">
            <a:spLocks/>
          </p:cNvSpPr>
          <p:nvPr userDrawn="1"/>
        </p:nvSpPr>
        <p:spPr>
          <a:xfrm>
            <a:off x="2423592" y="1628775"/>
            <a:ext cx="7344816" cy="4392613"/>
          </a:xfrm>
          <a:prstGeom prst="rect">
            <a:avLst/>
          </a:prstGeom>
        </p:spPr>
        <p:txBody>
          <a:bodyPr lIns="0" tIns="0" rIns="0" bIns="0" numCol="1" spcCol="288000"/>
          <a:lstStyle>
            <a:lvl1pPr marL="180975" indent="-180975" algn="l" defTabSz="720000" rtl="0" eaLnBrk="1" fontAlgn="base" hangingPunct="1">
              <a:lnSpc>
                <a:spcPct val="110000"/>
              </a:lnSpc>
              <a:spcBef>
                <a:spcPct val="10000"/>
              </a:spcBef>
              <a:spcAft>
                <a:spcPts val="600"/>
              </a:spcAft>
              <a:buClr>
                <a:schemeClr val="accent1"/>
              </a:buClr>
              <a:buSzPct val="100000"/>
              <a:buFont typeface="Arial"/>
              <a:buChar char="•"/>
              <a:defRPr sz="1500">
                <a:solidFill>
                  <a:schemeClr val="tx1">
                    <a:lumMod val="10000"/>
                  </a:schemeClr>
                </a:solidFill>
                <a:latin typeface="Arial" panose="020B0604020202020204" pitchFamily="34" charset="0"/>
                <a:ea typeface="+mn-ea"/>
                <a:cs typeface="Arial" panose="020B0604020202020204" pitchFamily="34" charset="0"/>
              </a:defRPr>
            </a:lvl1pPr>
            <a:lvl2pPr marL="534988" indent="-173038" algn="l" defTabSz="857250" rtl="0" eaLnBrk="1" fontAlgn="base" hangingPunct="1">
              <a:lnSpc>
                <a:spcPct val="110000"/>
              </a:lnSpc>
              <a:spcBef>
                <a:spcPct val="10000"/>
              </a:spcBef>
              <a:spcAft>
                <a:spcPts val="600"/>
              </a:spcAft>
              <a:buClr>
                <a:schemeClr val="accent1"/>
              </a:buClr>
              <a:buSzPct val="100000"/>
              <a:buFont typeface="Arial" panose="020B0604020202020204" pitchFamily="34" charset="0"/>
              <a:buChar char="−"/>
              <a:defRPr sz="1300">
                <a:solidFill>
                  <a:schemeClr val="tx1">
                    <a:lumMod val="10000"/>
                  </a:schemeClr>
                </a:solidFill>
                <a:latin typeface="Arial" panose="020B0604020202020204" pitchFamily="34" charset="0"/>
                <a:ea typeface="+mn-ea"/>
                <a:cs typeface="Arial" panose="020B0604020202020204" pitchFamily="34" charset="0"/>
              </a:defRPr>
            </a:lvl2pPr>
            <a:lvl3pPr marL="898525" indent="-182563" algn="l" defTabSz="857250" rtl="0" eaLnBrk="1" fontAlgn="base" hangingPunct="1">
              <a:lnSpc>
                <a:spcPct val="110000"/>
              </a:lnSpc>
              <a:spcBef>
                <a:spcPct val="10000"/>
              </a:spcBef>
              <a:spcAft>
                <a:spcPts val="600"/>
              </a:spcAft>
              <a:buClr>
                <a:schemeClr val="accent1"/>
              </a:buClr>
              <a:buSzPct val="100000"/>
              <a:buFont typeface="Arial" panose="020B0604020202020204" pitchFamily="34" charset="0"/>
              <a:buChar char="•"/>
              <a:defRPr sz="1300">
                <a:solidFill>
                  <a:schemeClr val="tx1">
                    <a:lumMod val="10000"/>
                  </a:schemeClr>
                </a:solidFill>
                <a:latin typeface="Arial" panose="020B0604020202020204" pitchFamily="34" charset="0"/>
                <a:ea typeface="+mn-ea"/>
                <a:cs typeface="Arial" panose="020B0604020202020204" pitchFamily="34" charset="0"/>
              </a:defRPr>
            </a:lvl3pPr>
            <a:lvl4pPr marL="1252538" indent="-173038" algn="l" defTabSz="857250" rtl="0" eaLnBrk="1" fontAlgn="base" hangingPunct="1">
              <a:lnSpc>
                <a:spcPct val="110000"/>
              </a:lnSpc>
              <a:spcBef>
                <a:spcPct val="10000"/>
              </a:spcBef>
              <a:spcAft>
                <a:spcPts val="600"/>
              </a:spcAft>
              <a:buClr>
                <a:schemeClr val="accent1"/>
              </a:buClr>
              <a:buSzPct val="100000"/>
              <a:buFont typeface="Arial" panose="020B0604020202020204" pitchFamily="34" charset="0"/>
              <a:buChar char="−"/>
              <a:defRPr sz="1000">
                <a:solidFill>
                  <a:schemeClr val="tx1">
                    <a:lumMod val="10000"/>
                  </a:schemeClr>
                </a:solidFill>
                <a:latin typeface="Arial" panose="020B0604020202020204" pitchFamily="34" charset="0"/>
                <a:ea typeface="+mn-ea"/>
                <a:cs typeface="Arial" panose="020B0604020202020204" pitchFamily="34" charset="0"/>
              </a:defRPr>
            </a:lvl4pPr>
            <a:lvl5pPr marL="1739900" indent="-214313" algn="l" defTabSz="857250" rtl="0" eaLnBrk="1" fontAlgn="base" hangingPunct="1">
              <a:lnSpc>
                <a:spcPct val="110000"/>
              </a:lnSpc>
              <a:spcBef>
                <a:spcPct val="10000"/>
              </a:spcBef>
              <a:spcAft>
                <a:spcPts val="600"/>
              </a:spcAft>
              <a:buClr>
                <a:schemeClr val="accent1"/>
              </a:buClr>
              <a:buSzPct val="100000"/>
              <a:defRPr sz="900">
                <a:solidFill>
                  <a:schemeClr val="tx1">
                    <a:lumMod val="10000"/>
                  </a:schemeClr>
                </a:solidFill>
                <a:latin typeface="Arial" panose="020B0604020202020204" pitchFamily="34" charset="0"/>
                <a:ea typeface="+mn-ea"/>
                <a:cs typeface="Arial" panose="020B0604020202020204" pitchFamily="34" charset="0"/>
              </a:defRPr>
            </a:lvl5pPr>
            <a:lvl6pPr marL="21971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6pPr>
            <a:lvl7pPr marL="26543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7pPr>
            <a:lvl8pPr marL="31115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8pPr>
            <a:lvl9pPr marL="3568700" indent="-214313" algn="l" defTabSz="857250" rtl="0" eaLnBrk="1" fontAlgn="base" hangingPunct="1">
              <a:lnSpc>
                <a:spcPct val="130000"/>
              </a:lnSpc>
              <a:spcBef>
                <a:spcPct val="10000"/>
              </a:spcBef>
              <a:spcAft>
                <a:spcPct val="0"/>
              </a:spcAft>
              <a:defRPr sz="900">
                <a:solidFill>
                  <a:schemeClr val="tx1"/>
                </a:solidFill>
                <a:latin typeface="Bliss 2 ExtraLight" charset="0"/>
                <a:ea typeface="+mn-ea"/>
              </a:defRPr>
            </a:lvl9pPr>
          </a:lstStyle>
          <a:p>
            <a:pPr marL="0" indent="0" algn="just">
              <a:lnSpc>
                <a:spcPct val="110000"/>
              </a:lnSpc>
              <a:spcBef>
                <a:spcPts val="400"/>
              </a:spcBef>
              <a:spcAft>
                <a:spcPts val="0"/>
              </a:spcAft>
              <a:buNone/>
            </a:pPr>
            <a:r>
              <a:rPr lang="en-US" sz="1200" kern="1200" spc="10" baseline="0" dirty="0">
                <a:solidFill>
                  <a:srgbClr val="404040"/>
                </a:solidFill>
                <a:latin typeface="Arial" panose="020B0604020202020204" pitchFamily="34" charset="0"/>
                <a:ea typeface="+mn-ea"/>
                <a:cs typeface="Arial" panose="020B0604020202020204" pitchFamily="34" charset="0"/>
              </a:rPr>
              <a:t>The service shall be provided based on the facts and instructions in the specific assignment considering the circumstances at the time of the assignment in accordance with the respective scope of work.</a:t>
            </a:r>
            <a:br>
              <a:rPr lang="en-US" sz="1200" kern="1200" spc="10" baseline="0" dirty="0">
                <a:solidFill>
                  <a:srgbClr val="404040"/>
                </a:solidFill>
                <a:latin typeface="Arial" panose="020B0604020202020204" pitchFamily="34" charset="0"/>
                <a:ea typeface="+mn-ea"/>
                <a:cs typeface="Arial" panose="020B0604020202020204" pitchFamily="34" charset="0"/>
              </a:rPr>
            </a:br>
            <a:r>
              <a:rPr lang="en-US" sz="1200" kern="1200" spc="10" baseline="0" dirty="0">
                <a:solidFill>
                  <a:srgbClr val="404040"/>
                </a:solidFill>
                <a:latin typeface="Arial" panose="020B0604020202020204" pitchFamily="34" charset="0"/>
                <a:ea typeface="+mn-ea"/>
                <a:cs typeface="Arial" panose="020B0604020202020204" pitchFamily="34" charset="0"/>
              </a:rPr>
              <a:t>We assume that all the information provided to us is accurate and complete and that you have verified</a:t>
            </a:r>
            <a:br>
              <a:rPr lang="en-US" sz="1200" kern="1200" spc="10" baseline="0" dirty="0">
                <a:solidFill>
                  <a:srgbClr val="404040"/>
                </a:solidFill>
                <a:latin typeface="Arial" panose="020B0604020202020204" pitchFamily="34" charset="0"/>
                <a:ea typeface="+mn-ea"/>
                <a:cs typeface="Arial" panose="020B0604020202020204" pitchFamily="34" charset="0"/>
              </a:rPr>
            </a:br>
            <a:r>
              <a:rPr lang="en-US" sz="1200" kern="1200" spc="10" baseline="0" dirty="0">
                <a:solidFill>
                  <a:srgbClr val="404040"/>
                </a:solidFill>
                <a:latin typeface="Arial" panose="020B0604020202020204" pitchFamily="34" charset="0"/>
                <a:ea typeface="+mn-ea"/>
                <a:cs typeface="Arial" panose="020B0604020202020204" pitchFamily="34" charset="0"/>
              </a:rPr>
              <a:t>the correctness of the disclosed information.</a:t>
            </a:r>
          </a:p>
          <a:p>
            <a:pPr marL="0" indent="0" algn="just">
              <a:lnSpc>
                <a:spcPct val="110000"/>
              </a:lnSpc>
              <a:spcBef>
                <a:spcPts val="400"/>
              </a:spcBef>
              <a:spcAft>
                <a:spcPts val="0"/>
              </a:spcAft>
              <a:buNone/>
            </a:pPr>
            <a:r>
              <a:rPr lang="en-US" sz="1200" kern="1200" spc="10" baseline="0" dirty="0">
                <a:solidFill>
                  <a:srgbClr val="404040"/>
                </a:solidFill>
                <a:latin typeface="Arial" panose="020B0604020202020204" pitchFamily="34" charset="0"/>
                <a:ea typeface="+mn-ea"/>
                <a:cs typeface="Arial" panose="020B0604020202020204" pitchFamily="34" charset="0"/>
              </a:rPr>
              <a:t>The consultant has no liability in regard of advice or documents provided to you if they are used for any other purpose than that which they were originally prepared for. The aggregate amount of the liability to you and any third parties is the amount of the total remuneration of this agreement alone. </a:t>
            </a:r>
          </a:p>
          <a:p>
            <a:pPr marL="0" indent="0" algn="just">
              <a:lnSpc>
                <a:spcPct val="110000"/>
              </a:lnSpc>
              <a:spcBef>
                <a:spcPts val="400"/>
              </a:spcBef>
              <a:spcAft>
                <a:spcPts val="0"/>
              </a:spcAft>
              <a:buNone/>
            </a:pPr>
            <a:r>
              <a:rPr lang="en-US" sz="1200" kern="1200" spc="10" baseline="0" dirty="0">
                <a:solidFill>
                  <a:srgbClr val="404040"/>
                </a:solidFill>
                <a:latin typeface="Arial" panose="020B0604020202020204" pitchFamily="34" charset="0"/>
                <a:ea typeface="+mn-ea"/>
                <a:cs typeface="Arial" panose="020B0604020202020204" pitchFamily="34" charset="0"/>
              </a:rPr>
              <a:t>Client shall notify of any defects in the delivered work within 1 months upon receiving the work. Otherwise, the work is considered approved and correct.</a:t>
            </a:r>
          </a:p>
        </p:txBody>
      </p:sp>
    </p:spTree>
    <p:extLst>
      <p:ext uri="{BB962C8B-B14F-4D97-AF65-F5344CB8AC3E}">
        <p14:creationId xmlns:p14="http://schemas.microsoft.com/office/powerpoint/2010/main" val="138829403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Fire">
    <p:bg>
      <p:bgPr>
        <a:solidFill>
          <a:schemeClr val="accent4"/>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0" y="1988840"/>
            <a:ext cx="10200456" cy="4869160"/>
            <a:chOff x="1065835" y="779165"/>
            <a:chExt cx="10200456" cy="4869160"/>
          </a:xfrm>
          <a:solidFill>
            <a:srgbClr val="FFFFFF">
              <a:alpha val="20000"/>
            </a:srgbClr>
          </a:solidFill>
        </p:grpSpPr>
        <p:sp>
          <p:nvSpPr>
            <p:cNvPr id="13" name="Freeform 1951"/>
            <p:cNvSpPr>
              <a:spLocks noEditPoints="1"/>
            </p:cNvSpPr>
            <p:nvPr userDrawn="1"/>
          </p:nvSpPr>
          <p:spPr bwMode="auto">
            <a:xfrm>
              <a:off x="2774729" y="779165"/>
              <a:ext cx="1074738" cy="912813"/>
            </a:xfrm>
            <a:custGeom>
              <a:avLst/>
              <a:gdLst>
                <a:gd name="T0" fmla="*/ 205 w 677"/>
                <a:gd name="T1" fmla="*/ 414 h 575"/>
                <a:gd name="T2" fmla="*/ 622 w 677"/>
                <a:gd name="T3" fmla="*/ 61 h 575"/>
                <a:gd name="T4" fmla="*/ 621 w 677"/>
                <a:gd name="T5" fmla="*/ 79 h 575"/>
                <a:gd name="T6" fmla="*/ 662 w 677"/>
                <a:gd name="T7" fmla="*/ 22 h 575"/>
                <a:gd name="T8" fmla="*/ 625 w 677"/>
                <a:gd name="T9" fmla="*/ 35 h 575"/>
                <a:gd name="T10" fmla="*/ 247 w 677"/>
                <a:gd name="T11" fmla="*/ 334 h 575"/>
                <a:gd name="T12" fmla="*/ 368 w 677"/>
                <a:gd name="T13" fmla="*/ 270 h 575"/>
                <a:gd name="T14" fmla="*/ 560 w 677"/>
                <a:gd name="T15" fmla="*/ 107 h 575"/>
                <a:gd name="T16" fmla="*/ 596 w 677"/>
                <a:gd name="T17" fmla="*/ 48 h 575"/>
                <a:gd name="T18" fmla="*/ 644 w 677"/>
                <a:gd name="T19" fmla="*/ 12 h 575"/>
                <a:gd name="T20" fmla="*/ 677 w 677"/>
                <a:gd name="T21" fmla="*/ 5 h 575"/>
                <a:gd name="T22" fmla="*/ 647 w 677"/>
                <a:gd name="T23" fmla="*/ 65 h 575"/>
                <a:gd name="T24" fmla="*/ 594 w 677"/>
                <a:gd name="T25" fmla="*/ 106 h 575"/>
                <a:gd name="T26" fmla="*/ 457 w 677"/>
                <a:gd name="T27" fmla="*/ 215 h 575"/>
                <a:gd name="T28" fmla="*/ 344 w 677"/>
                <a:gd name="T29" fmla="*/ 296 h 575"/>
                <a:gd name="T30" fmla="*/ 251 w 677"/>
                <a:gd name="T31" fmla="*/ 343 h 575"/>
                <a:gd name="T32" fmla="*/ 332 w 677"/>
                <a:gd name="T33" fmla="*/ 526 h 575"/>
                <a:gd name="T34" fmla="*/ 263 w 677"/>
                <a:gd name="T35" fmla="*/ 415 h 575"/>
                <a:gd name="T36" fmla="*/ 301 w 677"/>
                <a:gd name="T37" fmla="*/ 508 h 575"/>
                <a:gd name="T38" fmla="*/ 307 w 677"/>
                <a:gd name="T39" fmla="*/ 533 h 575"/>
                <a:gd name="T40" fmla="*/ 272 w 677"/>
                <a:gd name="T41" fmla="*/ 469 h 575"/>
                <a:gd name="T42" fmla="*/ 270 w 677"/>
                <a:gd name="T43" fmla="*/ 550 h 575"/>
                <a:gd name="T44" fmla="*/ 242 w 677"/>
                <a:gd name="T45" fmla="*/ 372 h 575"/>
                <a:gd name="T46" fmla="*/ 232 w 677"/>
                <a:gd name="T47" fmla="*/ 495 h 575"/>
                <a:gd name="T48" fmla="*/ 243 w 677"/>
                <a:gd name="T49" fmla="*/ 573 h 575"/>
                <a:gd name="T50" fmla="*/ 230 w 677"/>
                <a:gd name="T51" fmla="*/ 551 h 575"/>
                <a:gd name="T52" fmla="*/ 224 w 677"/>
                <a:gd name="T53" fmla="*/ 425 h 575"/>
                <a:gd name="T54" fmla="*/ 208 w 677"/>
                <a:gd name="T55" fmla="*/ 507 h 575"/>
                <a:gd name="T56" fmla="*/ 180 w 677"/>
                <a:gd name="T57" fmla="*/ 545 h 575"/>
                <a:gd name="T58" fmla="*/ 171 w 677"/>
                <a:gd name="T59" fmla="*/ 544 h 575"/>
                <a:gd name="T60" fmla="*/ 194 w 677"/>
                <a:gd name="T61" fmla="*/ 420 h 575"/>
                <a:gd name="T62" fmla="*/ 68 w 677"/>
                <a:gd name="T63" fmla="*/ 440 h 575"/>
                <a:gd name="T64" fmla="*/ 62 w 677"/>
                <a:gd name="T65" fmla="*/ 433 h 575"/>
                <a:gd name="T66" fmla="*/ 160 w 677"/>
                <a:gd name="T67" fmla="*/ 352 h 575"/>
                <a:gd name="T68" fmla="*/ 71 w 677"/>
                <a:gd name="T69" fmla="*/ 379 h 575"/>
                <a:gd name="T70" fmla="*/ 18 w 677"/>
                <a:gd name="T71" fmla="*/ 405 h 575"/>
                <a:gd name="T72" fmla="*/ 42 w 677"/>
                <a:gd name="T73" fmla="*/ 383 h 575"/>
                <a:gd name="T74" fmla="*/ 128 w 677"/>
                <a:gd name="T75" fmla="*/ 349 h 575"/>
                <a:gd name="T76" fmla="*/ 193 w 677"/>
                <a:gd name="T77" fmla="*/ 326 h 575"/>
                <a:gd name="T78" fmla="*/ 88 w 677"/>
                <a:gd name="T79" fmla="*/ 303 h 575"/>
                <a:gd name="T80" fmla="*/ 1 w 677"/>
                <a:gd name="T81" fmla="*/ 301 h 575"/>
                <a:gd name="T82" fmla="*/ 28 w 677"/>
                <a:gd name="T83" fmla="*/ 291 h 575"/>
                <a:gd name="T84" fmla="*/ 156 w 677"/>
                <a:gd name="T85" fmla="*/ 305 h 575"/>
                <a:gd name="T86" fmla="*/ 101 w 677"/>
                <a:gd name="T87" fmla="*/ 286 h 575"/>
                <a:gd name="T88" fmla="*/ 8 w 677"/>
                <a:gd name="T89" fmla="*/ 276 h 575"/>
                <a:gd name="T90" fmla="*/ 6 w 677"/>
                <a:gd name="T91" fmla="*/ 267 h 575"/>
                <a:gd name="T92" fmla="*/ 112 w 677"/>
                <a:gd name="T93" fmla="*/ 279 h 575"/>
                <a:gd name="T94" fmla="*/ 144 w 677"/>
                <a:gd name="T95" fmla="*/ 276 h 575"/>
                <a:gd name="T96" fmla="*/ 75 w 677"/>
                <a:gd name="T97" fmla="*/ 244 h 575"/>
                <a:gd name="T98" fmla="*/ 37 w 677"/>
                <a:gd name="T99" fmla="*/ 196 h 575"/>
                <a:gd name="T100" fmla="*/ 51 w 677"/>
                <a:gd name="T101" fmla="*/ 204 h 575"/>
                <a:gd name="T102" fmla="*/ 104 w 677"/>
                <a:gd name="T103" fmla="*/ 248 h 575"/>
                <a:gd name="T104" fmla="*/ 68 w 677"/>
                <a:gd name="T105" fmla="*/ 175 h 575"/>
                <a:gd name="T106" fmla="*/ 73 w 677"/>
                <a:gd name="T107" fmla="*/ 167 h 575"/>
                <a:gd name="T108" fmla="*/ 94 w 677"/>
                <a:gd name="T109" fmla="*/ 170 h 575"/>
                <a:gd name="T110" fmla="*/ 161 w 677"/>
                <a:gd name="T111" fmla="*/ 170 h 575"/>
                <a:gd name="T112" fmla="*/ 168 w 677"/>
                <a:gd name="T113" fmla="*/ 164 h 575"/>
                <a:gd name="T114" fmla="*/ 223 w 677"/>
                <a:gd name="T115" fmla="*/ 206 h 575"/>
                <a:gd name="T116" fmla="*/ 238 w 677"/>
                <a:gd name="T117" fmla="*/ 205 h 575"/>
                <a:gd name="T118" fmla="*/ 248 w 677"/>
                <a:gd name="T119" fmla="*/ 207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7" h="575">
                  <a:moveTo>
                    <a:pt x="231" y="362"/>
                  </a:moveTo>
                  <a:lnTo>
                    <a:pt x="225" y="369"/>
                  </a:lnTo>
                  <a:lnTo>
                    <a:pt x="220" y="378"/>
                  </a:lnTo>
                  <a:lnTo>
                    <a:pt x="215" y="386"/>
                  </a:lnTo>
                  <a:lnTo>
                    <a:pt x="211" y="395"/>
                  </a:lnTo>
                  <a:lnTo>
                    <a:pt x="208" y="404"/>
                  </a:lnTo>
                  <a:lnTo>
                    <a:pt x="205" y="414"/>
                  </a:lnTo>
                  <a:lnTo>
                    <a:pt x="203" y="424"/>
                  </a:lnTo>
                  <a:lnTo>
                    <a:pt x="202" y="434"/>
                  </a:lnTo>
                  <a:lnTo>
                    <a:pt x="201" y="444"/>
                  </a:lnTo>
                  <a:lnTo>
                    <a:pt x="201" y="453"/>
                  </a:lnTo>
                  <a:lnTo>
                    <a:pt x="231" y="362"/>
                  </a:lnTo>
                  <a:close/>
                  <a:moveTo>
                    <a:pt x="662" y="22"/>
                  </a:moveTo>
                  <a:lnTo>
                    <a:pt x="622" y="61"/>
                  </a:lnTo>
                  <a:lnTo>
                    <a:pt x="602" y="81"/>
                  </a:lnTo>
                  <a:lnTo>
                    <a:pt x="582" y="100"/>
                  </a:lnTo>
                  <a:lnTo>
                    <a:pt x="589" y="97"/>
                  </a:lnTo>
                  <a:lnTo>
                    <a:pt x="597" y="94"/>
                  </a:lnTo>
                  <a:lnTo>
                    <a:pt x="605" y="90"/>
                  </a:lnTo>
                  <a:lnTo>
                    <a:pt x="613" y="84"/>
                  </a:lnTo>
                  <a:lnTo>
                    <a:pt x="621" y="79"/>
                  </a:lnTo>
                  <a:lnTo>
                    <a:pt x="628" y="72"/>
                  </a:lnTo>
                  <a:lnTo>
                    <a:pt x="635" y="65"/>
                  </a:lnTo>
                  <a:lnTo>
                    <a:pt x="641" y="57"/>
                  </a:lnTo>
                  <a:lnTo>
                    <a:pt x="647" y="49"/>
                  </a:lnTo>
                  <a:lnTo>
                    <a:pt x="653" y="40"/>
                  </a:lnTo>
                  <a:lnTo>
                    <a:pt x="658" y="31"/>
                  </a:lnTo>
                  <a:lnTo>
                    <a:pt x="662" y="22"/>
                  </a:lnTo>
                  <a:close/>
                  <a:moveTo>
                    <a:pt x="577" y="92"/>
                  </a:moveTo>
                  <a:lnTo>
                    <a:pt x="615" y="55"/>
                  </a:lnTo>
                  <a:lnTo>
                    <a:pt x="634" y="36"/>
                  </a:lnTo>
                  <a:lnTo>
                    <a:pt x="653" y="17"/>
                  </a:lnTo>
                  <a:lnTo>
                    <a:pt x="641" y="23"/>
                  </a:lnTo>
                  <a:lnTo>
                    <a:pt x="630" y="31"/>
                  </a:lnTo>
                  <a:lnTo>
                    <a:pt x="625" y="35"/>
                  </a:lnTo>
                  <a:lnTo>
                    <a:pt x="619" y="39"/>
                  </a:lnTo>
                  <a:lnTo>
                    <a:pt x="609" y="48"/>
                  </a:lnTo>
                  <a:lnTo>
                    <a:pt x="600" y="58"/>
                  </a:lnTo>
                  <a:lnTo>
                    <a:pt x="591" y="69"/>
                  </a:lnTo>
                  <a:lnTo>
                    <a:pt x="583" y="80"/>
                  </a:lnTo>
                  <a:lnTo>
                    <a:pt x="577" y="92"/>
                  </a:lnTo>
                  <a:close/>
                  <a:moveTo>
                    <a:pt x="247" y="334"/>
                  </a:moveTo>
                  <a:lnTo>
                    <a:pt x="263" y="327"/>
                  </a:lnTo>
                  <a:lnTo>
                    <a:pt x="278" y="320"/>
                  </a:lnTo>
                  <a:lnTo>
                    <a:pt x="294" y="312"/>
                  </a:lnTo>
                  <a:lnTo>
                    <a:pt x="309" y="304"/>
                  </a:lnTo>
                  <a:lnTo>
                    <a:pt x="324" y="296"/>
                  </a:lnTo>
                  <a:lnTo>
                    <a:pt x="339" y="288"/>
                  </a:lnTo>
                  <a:lnTo>
                    <a:pt x="368" y="270"/>
                  </a:lnTo>
                  <a:lnTo>
                    <a:pt x="396" y="250"/>
                  </a:lnTo>
                  <a:lnTo>
                    <a:pt x="424" y="230"/>
                  </a:lnTo>
                  <a:lnTo>
                    <a:pt x="437" y="219"/>
                  </a:lnTo>
                  <a:lnTo>
                    <a:pt x="450" y="208"/>
                  </a:lnTo>
                  <a:lnTo>
                    <a:pt x="476" y="185"/>
                  </a:lnTo>
                  <a:lnTo>
                    <a:pt x="518" y="146"/>
                  </a:lnTo>
                  <a:lnTo>
                    <a:pt x="560" y="107"/>
                  </a:lnTo>
                  <a:lnTo>
                    <a:pt x="564" y="98"/>
                  </a:lnTo>
                  <a:lnTo>
                    <a:pt x="568" y="89"/>
                  </a:lnTo>
                  <a:lnTo>
                    <a:pt x="573" y="80"/>
                  </a:lnTo>
                  <a:lnTo>
                    <a:pt x="578" y="71"/>
                  </a:lnTo>
                  <a:lnTo>
                    <a:pt x="584" y="63"/>
                  </a:lnTo>
                  <a:lnTo>
                    <a:pt x="590" y="55"/>
                  </a:lnTo>
                  <a:lnTo>
                    <a:pt x="596" y="48"/>
                  </a:lnTo>
                  <a:lnTo>
                    <a:pt x="603" y="41"/>
                  </a:lnTo>
                  <a:lnTo>
                    <a:pt x="611" y="34"/>
                  </a:lnTo>
                  <a:lnTo>
                    <a:pt x="618" y="28"/>
                  </a:lnTo>
                  <a:lnTo>
                    <a:pt x="626" y="22"/>
                  </a:lnTo>
                  <a:lnTo>
                    <a:pt x="631" y="19"/>
                  </a:lnTo>
                  <a:lnTo>
                    <a:pt x="635" y="17"/>
                  </a:lnTo>
                  <a:lnTo>
                    <a:pt x="644" y="12"/>
                  </a:lnTo>
                  <a:lnTo>
                    <a:pt x="653" y="7"/>
                  </a:lnTo>
                  <a:lnTo>
                    <a:pt x="662" y="3"/>
                  </a:lnTo>
                  <a:lnTo>
                    <a:pt x="671" y="0"/>
                  </a:lnTo>
                  <a:lnTo>
                    <a:pt x="674" y="0"/>
                  </a:lnTo>
                  <a:lnTo>
                    <a:pt x="675" y="2"/>
                  </a:lnTo>
                  <a:lnTo>
                    <a:pt x="676" y="3"/>
                  </a:lnTo>
                  <a:lnTo>
                    <a:pt x="677" y="5"/>
                  </a:lnTo>
                  <a:lnTo>
                    <a:pt x="673" y="18"/>
                  </a:lnTo>
                  <a:lnTo>
                    <a:pt x="671" y="24"/>
                  </a:lnTo>
                  <a:lnTo>
                    <a:pt x="668" y="30"/>
                  </a:lnTo>
                  <a:lnTo>
                    <a:pt x="662" y="42"/>
                  </a:lnTo>
                  <a:lnTo>
                    <a:pt x="655" y="54"/>
                  </a:lnTo>
                  <a:lnTo>
                    <a:pt x="651" y="60"/>
                  </a:lnTo>
                  <a:lnTo>
                    <a:pt x="647" y="65"/>
                  </a:lnTo>
                  <a:lnTo>
                    <a:pt x="638" y="75"/>
                  </a:lnTo>
                  <a:lnTo>
                    <a:pt x="634" y="80"/>
                  </a:lnTo>
                  <a:lnTo>
                    <a:pt x="629" y="84"/>
                  </a:lnTo>
                  <a:lnTo>
                    <a:pt x="624" y="88"/>
                  </a:lnTo>
                  <a:lnTo>
                    <a:pt x="618" y="92"/>
                  </a:lnTo>
                  <a:lnTo>
                    <a:pt x="606" y="100"/>
                  </a:lnTo>
                  <a:lnTo>
                    <a:pt x="594" y="106"/>
                  </a:lnTo>
                  <a:lnTo>
                    <a:pt x="588" y="108"/>
                  </a:lnTo>
                  <a:lnTo>
                    <a:pt x="582" y="110"/>
                  </a:lnTo>
                  <a:lnTo>
                    <a:pt x="575" y="112"/>
                  </a:lnTo>
                  <a:lnTo>
                    <a:pt x="568" y="113"/>
                  </a:lnTo>
                  <a:lnTo>
                    <a:pt x="526" y="153"/>
                  </a:lnTo>
                  <a:lnTo>
                    <a:pt x="483" y="192"/>
                  </a:lnTo>
                  <a:lnTo>
                    <a:pt x="457" y="215"/>
                  </a:lnTo>
                  <a:lnTo>
                    <a:pt x="443" y="226"/>
                  </a:lnTo>
                  <a:lnTo>
                    <a:pt x="430" y="237"/>
                  </a:lnTo>
                  <a:lnTo>
                    <a:pt x="402" y="258"/>
                  </a:lnTo>
                  <a:lnTo>
                    <a:pt x="388" y="268"/>
                  </a:lnTo>
                  <a:lnTo>
                    <a:pt x="373" y="278"/>
                  </a:lnTo>
                  <a:lnTo>
                    <a:pt x="358" y="287"/>
                  </a:lnTo>
                  <a:lnTo>
                    <a:pt x="344" y="296"/>
                  </a:lnTo>
                  <a:lnTo>
                    <a:pt x="329" y="304"/>
                  </a:lnTo>
                  <a:lnTo>
                    <a:pt x="313" y="313"/>
                  </a:lnTo>
                  <a:lnTo>
                    <a:pt x="298" y="321"/>
                  </a:lnTo>
                  <a:lnTo>
                    <a:pt x="282" y="328"/>
                  </a:lnTo>
                  <a:lnTo>
                    <a:pt x="267" y="336"/>
                  </a:lnTo>
                  <a:lnTo>
                    <a:pt x="259" y="339"/>
                  </a:lnTo>
                  <a:lnTo>
                    <a:pt x="251" y="343"/>
                  </a:lnTo>
                  <a:lnTo>
                    <a:pt x="251" y="346"/>
                  </a:lnTo>
                  <a:lnTo>
                    <a:pt x="336" y="519"/>
                  </a:lnTo>
                  <a:lnTo>
                    <a:pt x="337" y="521"/>
                  </a:lnTo>
                  <a:lnTo>
                    <a:pt x="336" y="523"/>
                  </a:lnTo>
                  <a:lnTo>
                    <a:pt x="335" y="524"/>
                  </a:lnTo>
                  <a:lnTo>
                    <a:pt x="334" y="525"/>
                  </a:lnTo>
                  <a:lnTo>
                    <a:pt x="332" y="526"/>
                  </a:lnTo>
                  <a:lnTo>
                    <a:pt x="330" y="526"/>
                  </a:lnTo>
                  <a:lnTo>
                    <a:pt x="329" y="525"/>
                  </a:lnTo>
                  <a:lnTo>
                    <a:pt x="327" y="523"/>
                  </a:lnTo>
                  <a:lnTo>
                    <a:pt x="255" y="375"/>
                  </a:lnTo>
                  <a:lnTo>
                    <a:pt x="257" y="385"/>
                  </a:lnTo>
                  <a:lnTo>
                    <a:pt x="259" y="395"/>
                  </a:lnTo>
                  <a:lnTo>
                    <a:pt x="263" y="415"/>
                  </a:lnTo>
                  <a:lnTo>
                    <a:pt x="266" y="424"/>
                  </a:lnTo>
                  <a:lnTo>
                    <a:pt x="269" y="434"/>
                  </a:lnTo>
                  <a:lnTo>
                    <a:pt x="276" y="453"/>
                  </a:lnTo>
                  <a:lnTo>
                    <a:pt x="283" y="472"/>
                  </a:lnTo>
                  <a:lnTo>
                    <a:pt x="292" y="490"/>
                  </a:lnTo>
                  <a:lnTo>
                    <a:pt x="296" y="499"/>
                  </a:lnTo>
                  <a:lnTo>
                    <a:pt x="301" y="508"/>
                  </a:lnTo>
                  <a:lnTo>
                    <a:pt x="311" y="526"/>
                  </a:lnTo>
                  <a:lnTo>
                    <a:pt x="312" y="528"/>
                  </a:lnTo>
                  <a:lnTo>
                    <a:pt x="312" y="529"/>
                  </a:lnTo>
                  <a:lnTo>
                    <a:pt x="311" y="531"/>
                  </a:lnTo>
                  <a:lnTo>
                    <a:pt x="310" y="532"/>
                  </a:lnTo>
                  <a:lnTo>
                    <a:pt x="308" y="533"/>
                  </a:lnTo>
                  <a:lnTo>
                    <a:pt x="307" y="533"/>
                  </a:lnTo>
                  <a:lnTo>
                    <a:pt x="305" y="532"/>
                  </a:lnTo>
                  <a:lnTo>
                    <a:pt x="303" y="531"/>
                  </a:lnTo>
                  <a:lnTo>
                    <a:pt x="296" y="519"/>
                  </a:lnTo>
                  <a:lnTo>
                    <a:pt x="289" y="507"/>
                  </a:lnTo>
                  <a:lnTo>
                    <a:pt x="283" y="495"/>
                  </a:lnTo>
                  <a:lnTo>
                    <a:pt x="277" y="482"/>
                  </a:lnTo>
                  <a:lnTo>
                    <a:pt x="272" y="469"/>
                  </a:lnTo>
                  <a:lnTo>
                    <a:pt x="267" y="457"/>
                  </a:lnTo>
                  <a:lnTo>
                    <a:pt x="264" y="450"/>
                  </a:lnTo>
                  <a:lnTo>
                    <a:pt x="262" y="444"/>
                  </a:lnTo>
                  <a:lnTo>
                    <a:pt x="258" y="431"/>
                  </a:lnTo>
                  <a:lnTo>
                    <a:pt x="271" y="546"/>
                  </a:lnTo>
                  <a:lnTo>
                    <a:pt x="271" y="548"/>
                  </a:lnTo>
                  <a:lnTo>
                    <a:pt x="270" y="550"/>
                  </a:lnTo>
                  <a:lnTo>
                    <a:pt x="268" y="551"/>
                  </a:lnTo>
                  <a:lnTo>
                    <a:pt x="267" y="551"/>
                  </a:lnTo>
                  <a:lnTo>
                    <a:pt x="265" y="551"/>
                  </a:lnTo>
                  <a:lnTo>
                    <a:pt x="263" y="550"/>
                  </a:lnTo>
                  <a:lnTo>
                    <a:pt x="262" y="549"/>
                  </a:lnTo>
                  <a:lnTo>
                    <a:pt x="261" y="547"/>
                  </a:lnTo>
                  <a:lnTo>
                    <a:pt x="242" y="372"/>
                  </a:lnTo>
                  <a:lnTo>
                    <a:pt x="237" y="396"/>
                  </a:lnTo>
                  <a:lnTo>
                    <a:pt x="236" y="409"/>
                  </a:lnTo>
                  <a:lnTo>
                    <a:pt x="234" y="421"/>
                  </a:lnTo>
                  <a:lnTo>
                    <a:pt x="233" y="433"/>
                  </a:lnTo>
                  <a:lnTo>
                    <a:pt x="232" y="446"/>
                  </a:lnTo>
                  <a:lnTo>
                    <a:pt x="231" y="470"/>
                  </a:lnTo>
                  <a:lnTo>
                    <a:pt x="232" y="495"/>
                  </a:lnTo>
                  <a:lnTo>
                    <a:pt x="234" y="520"/>
                  </a:lnTo>
                  <a:lnTo>
                    <a:pt x="238" y="545"/>
                  </a:lnTo>
                  <a:lnTo>
                    <a:pt x="241" y="557"/>
                  </a:lnTo>
                  <a:lnTo>
                    <a:pt x="244" y="570"/>
                  </a:lnTo>
                  <a:lnTo>
                    <a:pt x="244" y="572"/>
                  </a:lnTo>
                  <a:lnTo>
                    <a:pt x="244" y="573"/>
                  </a:lnTo>
                  <a:lnTo>
                    <a:pt x="243" y="573"/>
                  </a:lnTo>
                  <a:lnTo>
                    <a:pt x="242" y="575"/>
                  </a:lnTo>
                  <a:lnTo>
                    <a:pt x="240" y="575"/>
                  </a:lnTo>
                  <a:lnTo>
                    <a:pt x="238" y="575"/>
                  </a:lnTo>
                  <a:lnTo>
                    <a:pt x="237" y="575"/>
                  </a:lnTo>
                  <a:lnTo>
                    <a:pt x="235" y="574"/>
                  </a:lnTo>
                  <a:lnTo>
                    <a:pt x="234" y="572"/>
                  </a:lnTo>
                  <a:lnTo>
                    <a:pt x="230" y="551"/>
                  </a:lnTo>
                  <a:lnTo>
                    <a:pt x="228" y="540"/>
                  </a:lnTo>
                  <a:lnTo>
                    <a:pt x="226" y="530"/>
                  </a:lnTo>
                  <a:lnTo>
                    <a:pt x="224" y="509"/>
                  </a:lnTo>
                  <a:lnTo>
                    <a:pt x="222" y="488"/>
                  </a:lnTo>
                  <a:lnTo>
                    <a:pt x="222" y="467"/>
                  </a:lnTo>
                  <a:lnTo>
                    <a:pt x="223" y="446"/>
                  </a:lnTo>
                  <a:lnTo>
                    <a:pt x="224" y="425"/>
                  </a:lnTo>
                  <a:lnTo>
                    <a:pt x="227" y="405"/>
                  </a:lnTo>
                  <a:lnTo>
                    <a:pt x="203" y="477"/>
                  </a:lnTo>
                  <a:lnTo>
                    <a:pt x="205" y="489"/>
                  </a:lnTo>
                  <a:lnTo>
                    <a:pt x="209" y="502"/>
                  </a:lnTo>
                  <a:lnTo>
                    <a:pt x="210" y="504"/>
                  </a:lnTo>
                  <a:lnTo>
                    <a:pt x="209" y="505"/>
                  </a:lnTo>
                  <a:lnTo>
                    <a:pt x="208" y="507"/>
                  </a:lnTo>
                  <a:lnTo>
                    <a:pt x="206" y="508"/>
                  </a:lnTo>
                  <a:lnTo>
                    <a:pt x="205" y="508"/>
                  </a:lnTo>
                  <a:lnTo>
                    <a:pt x="203" y="508"/>
                  </a:lnTo>
                  <a:lnTo>
                    <a:pt x="201" y="507"/>
                  </a:lnTo>
                  <a:lnTo>
                    <a:pt x="200" y="505"/>
                  </a:lnTo>
                  <a:lnTo>
                    <a:pt x="197" y="494"/>
                  </a:lnTo>
                  <a:lnTo>
                    <a:pt x="180" y="545"/>
                  </a:lnTo>
                  <a:lnTo>
                    <a:pt x="179" y="547"/>
                  </a:lnTo>
                  <a:lnTo>
                    <a:pt x="178" y="548"/>
                  </a:lnTo>
                  <a:lnTo>
                    <a:pt x="176" y="548"/>
                  </a:lnTo>
                  <a:lnTo>
                    <a:pt x="174" y="548"/>
                  </a:lnTo>
                  <a:lnTo>
                    <a:pt x="173" y="547"/>
                  </a:lnTo>
                  <a:lnTo>
                    <a:pt x="171" y="546"/>
                  </a:lnTo>
                  <a:lnTo>
                    <a:pt x="171" y="544"/>
                  </a:lnTo>
                  <a:lnTo>
                    <a:pt x="171" y="542"/>
                  </a:lnTo>
                  <a:lnTo>
                    <a:pt x="193" y="475"/>
                  </a:lnTo>
                  <a:lnTo>
                    <a:pt x="192" y="464"/>
                  </a:lnTo>
                  <a:lnTo>
                    <a:pt x="191" y="453"/>
                  </a:lnTo>
                  <a:lnTo>
                    <a:pt x="191" y="442"/>
                  </a:lnTo>
                  <a:lnTo>
                    <a:pt x="192" y="431"/>
                  </a:lnTo>
                  <a:lnTo>
                    <a:pt x="194" y="420"/>
                  </a:lnTo>
                  <a:lnTo>
                    <a:pt x="197" y="409"/>
                  </a:lnTo>
                  <a:lnTo>
                    <a:pt x="200" y="398"/>
                  </a:lnTo>
                  <a:lnTo>
                    <a:pt x="204" y="388"/>
                  </a:lnTo>
                  <a:lnTo>
                    <a:pt x="208" y="379"/>
                  </a:lnTo>
                  <a:lnTo>
                    <a:pt x="212" y="372"/>
                  </a:lnTo>
                  <a:lnTo>
                    <a:pt x="221" y="359"/>
                  </a:lnTo>
                  <a:lnTo>
                    <a:pt x="68" y="440"/>
                  </a:lnTo>
                  <a:lnTo>
                    <a:pt x="66" y="441"/>
                  </a:lnTo>
                  <a:lnTo>
                    <a:pt x="64" y="440"/>
                  </a:lnTo>
                  <a:lnTo>
                    <a:pt x="63" y="439"/>
                  </a:lnTo>
                  <a:lnTo>
                    <a:pt x="62" y="438"/>
                  </a:lnTo>
                  <a:lnTo>
                    <a:pt x="61" y="436"/>
                  </a:lnTo>
                  <a:lnTo>
                    <a:pt x="61" y="435"/>
                  </a:lnTo>
                  <a:lnTo>
                    <a:pt x="62" y="433"/>
                  </a:lnTo>
                  <a:lnTo>
                    <a:pt x="64" y="432"/>
                  </a:lnTo>
                  <a:lnTo>
                    <a:pt x="227" y="344"/>
                  </a:lnTo>
                  <a:lnTo>
                    <a:pt x="213" y="345"/>
                  </a:lnTo>
                  <a:lnTo>
                    <a:pt x="200" y="346"/>
                  </a:lnTo>
                  <a:lnTo>
                    <a:pt x="187" y="348"/>
                  </a:lnTo>
                  <a:lnTo>
                    <a:pt x="173" y="349"/>
                  </a:lnTo>
                  <a:lnTo>
                    <a:pt x="160" y="352"/>
                  </a:lnTo>
                  <a:lnTo>
                    <a:pt x="147" y="354"/>
                  </a:lnTo>
                  <a:lnTo>
                    <a:pt x="134" y="357"/>
                  </a:lnTo>
                  <a:lnTo>
                    <a:pt x="121" y="361"/>
                  </a:lnTo>
                  <a:lnTo>
                    <a:pt x="109" y="365"/>
                  </a:lnTo>
                  <a:lnTo>
                    <a:pt x="96" y="369"/>
                  </a:lnTo>
                  <a:lnTo>
                    <a:pt x="83" y="374"/>
                  </a:lnTo>
                  <a:lnTo>
                    <a:pt x="71" y="379"/>
                  </a:lnTo>
                  <a:lnTo>
                    <a:pt x="59" y="385"/>
                  </a:lnTo>
                  <a:lnTo>
                    <a:pt x="47" y="391"/>
                  </a:lnTo>
                  <a:lnTo>
                    <a:pt x="35" y="398"/>
                  </a:lnTo>
                  <a:lnTo>
                    <a:pt x="23" y="405"/>
                  </a:lnTo>
                  <a:lnTo>
                    <a:pt x="21" y="406"/>
                  </a:lnTo>
                  <a:lnTo>
                    <a:pt x="19" y="406"/>
                  </a:lnTo>
                  <a:lnTo>
                    <a:pt x="18" y="405"/>
                  </a:lnTo>
                  <a:lnTo>
                    <a:pt x="17" y="403"/>
                  </a:lnTo>
                  <a:lnTo>
                    <a:pt x="16" y="402"/>
                  </a:lnTo>
                  <a:lnTo>
                    <a:pt x="16" y="400"/>
                  </a:lnTo>
                  <a:lnTo>
                    <a:pt x="17" y="398"/>
                  </a:lnTo>
                  <a:lnTo>
                    <a:pt x="18" y="397"/>
                  </a:lnTo>
                  <a:lnTo>
                    <a:pt x="30" y="390"/>
                  </a:lnTo>
                  <a:lnTo>
                    <a:pt x="42" y="383"/>
                  </a:lnTo>
                  <a:lnTo>
                    <a:pt x="53" y="377"/>
                  </a:lnTo>
                  <a:lnTo>
                    <a:pt x="65" y="371"/>
                  </a:lnTo>
                  <a:lnTo>
                    <a:pt x="78" y="366"/>
                  </a:lnTo>
                  <a:lnTo>
                    <a:pt x="90" y="361"/>
                  </a:lnTo>
                  <a:lnTo>
                    <a:pt x="102" y="357"/>
                  </a:lnTo>
                  <a:lnTo>
                    <a:pt x="115" y="353"/>
                  </a:lnTo>
                  <a:lnTo>
                    <a:pt x="128" y="349"/>
                  </a:lnTo>
                  <a:lnTo>
                    <a:pt x="140" y="346"/>
                  </a:lnTo>
                  <a:lnTo>
                    <a:pt x="166" y="341"/>
                  </a:lnTo>
                  <a:lnTo>
                    <a:pt x="179" y="339"/>
                  </a:lnTo>
                  <a:lnTo>
                    <a:pt x="192" y="337"/>
                  </a:lnTo>
                  <a:lnTo>
                    <a:pt x="206" y="336"/>
                  </a:lnTo>
                  <a:lnTo>
                    <a:pt x="219" y="335"/>
                  </a:lnTo>
                  <a:lnTo>
                    <a:pt x="193" y="326"/>
                  </a:lnTo>
                  <a:lnTo>
                    <a:pt x="167" y="318"/>
                  </a:lnTo>
                  <a:lnTo>
                    <a:pt x="154" y="315"/>
                  </a:lnTo>
                  <a:lnTo>
                    <a:pt x="141" y="312"/>
                  </a:lnTo>
                  <a:lnTo>
                    <a:pt x="128" y="309"/>
                  </a:lnTo>
                  <a:lnTo>
                    <a:pt x="114" y="306"/>
                  </a:lnTo>
                  <a:lnTo>
                    <a:pt x="101" y="304"/>
                  </a:lnTo>
                  <a:lnTo>
                    <a:pt x="88" y="303"/>
                  </a:lnTo>
                  <a:lnTo>
                    <a:pt x="74" y="302"/>
                  </a:lnTo>
                  <a:lnTo>
                    <a:pt x="60" y="301"/>
                  </a:lnTo>
                  <a:lnTo>
                    <a:pt x="47" y="301"/>
                  </a:lnTo>
                  <a:lnTo>
                    <a:pt x="33" y="301"/>
                  </a:lnTo>
                  <a:lnTo>
                    <a:pt x="5" y="302"/>
                  </a:lnTo>
                  <a:lnTo>
                    <a:pt x="3" y="302"/>
                  </a:lnTo>
                  <a:lnTo>
                    <a:pt x="1" y="301"/>
                  </a:lnTo>
                  <a:lnTo>
                    <a:pt x="0" y="299"/>
                  </a:lnTo>
                  <a:lnTo>
                    <a:pt x="0" y="298"/>
                  </a:lnTo>
                  <a:lnTo>
                    <a:pt x="0" y="296"/>
                  </a:lnTo>
                  <a:lnTo>
                    <a:pt x="1" y="294"/>
                  </a:lnTo>
                  <a:lnTo>
                    <a:pt x="2" y="293"/>
                  </a:lnTo>
                  <a:lnTo>
                    <a:pt x="4" y="293"/>
                  </a:lnTo>
                  <a:lnTo>
                    <a:pt x="28" y="291"/>
                  </a:lnTo>
                  <a:lnTo>
                    <a:pt x="52" y="291"/>
                  </a:lnTo>
                  <a:lnTo>
                    <a:pt x="64" y="292"/>
                  </a:lnTo>
                  <a:lnTo>
                    <a:pt x="76" y="292"/>
                  </a:lnTo>
                  <a:lnTo>
                    <a:pt x="99" y="295"/>
                  </a:lnTo>
                  <a:lnTo>
                    <a:pt x="122" y="298"/>
                  </a:lnTo>
                  <a:lnTo>
                    <a:pt x="145" y="303"/>
                  </a:lnTo>
                  <a:lnTo>
                    <a:pt x="156" y="305"/>
                  </a:lnTo>
                  <a:lnTo>
                    <a:pt x="167" y="308"/>
                  </a:lnTo>
                  <a:lnTo>
                    <a:pt x="190" y="315"/>
                  </a:lnTo>
                  <a:lnTo>
                    <a:pt x="168" y="306"/>
                  </a:lnTo>
                  <a:lnTo>
                    <a:pt x="146" y="298"/>
                  </a:lnTo>
                  <a:lnTo>
                    <a:pt x="124" y="291"/>
                  </a:lnTo>
                  <a:lnTo>
                    <a:pt x="112" y="288"/>
                  </a:lnTo>
                  <a:lnTo>
                    <a:pt x="101" y="286"/>
                  </a:lnTo>
                  <a:lnTo>
                    <a:pt x="90" y="283"/>
                  </a:lnTo>
                  <a:lnTo>
                    <a:pt x="78" y="281"/>
                  </a:lnTo>
                  <a:lnTo>
                    <a:pt x="55" y="278"/>
                  </a:lnTo>
                  <a:lnTo>
                    <a:pt x="43" y="277"/>
                  </a:lnTo>
                  <a:lnTo>
                    <a:pt x="32" y="276"/>
                  </a:lnTo>
                  <a:lnTo>
                    <a:pt x="20" y="276"/>
                  </a:lnTo>
                  <a:lnTo>
                    <a:pt x="8" y="276"/>
                  </a:lnTo>
                  <a:lnTo>
                    <a:pt x="6" y="276"/>
                  </a:lnTo>
                  <a:lnTo>
                    <a:pt x="4" y="275"/>
                  </a:lnTo>
                  <a:lnTo>
                    <a:pt x="4" y="273"/>
                  </a:lnTo>
                  <a:lnTo>
                    <a:pt x="3" y="271"/>
                  </a:lnTo>
                  <a:lnTo>
                    <a:pt x="4" y="270"/>
                  </a:lnTo>
                  <a:lnTo>
                    <a:pt x="4" y="268"/>
                  </a:lnTo>
                  <a:lnTo>
                    <a:pt x="6" y="267"/>
                  </a:lnTo>
                  <a:lnTo>
                    <a:pt x="8" y="266"/>
                  </a:lnTo>
                  <a:lnTo>
                    <a:pt x="20" y="267"/>
                  </a:lnTo>
                  <a:lnTo>
                    <a:pt x="32" y="267"/>
                  </a:lnTo>
                  <a:lnTo>
                    <a:pt x="55" y="269"/>
                  </a:lnTo>
                  <a:lnTo>
                    <a:pt x="78" y="272"/>
                  </a:lnTo>
                  <a:lnTo>
                    <a:pt x="101" y="276"/>
                  </a:lnTo>
                  <a:lnTo>
                    <a:pt x="112" y="279"/>
                  </a:lnTo>
                  <a:lnTo>
                    <a:pt x="124" y="282"/>
                  </a:lnTo>
                  <a:lnTo>
                    <a:pt x="146" y="288"/>
                  </a:lnTo>
                  <a:lnTo>
                    <a:pt x="168" y="296"/>
                  </a:lnTo>
                  <a:lnTo>
                    <a:pt x="190" y="305"/>
                  </a:lnTo>
                  <a:lnTo>
                    <a:pt x="172" y="292"/>
                  </a:lnTo>
                  <a:lnTo>
                    <a:pt x="153" y="281"/>
                  </a:lnTo>
                  <a:lnTo>
                    <a:pt x="144" y="276"/>
                  </a:lnTo>
                  <a:lnTo>
                    <a:pt x="134" y="271"/>
                  </a:lnTo>
                  <a:lnTo>
                    <a:pt x="116" y="263"/>
                  </a:lnTo>
                  <a:lnTo>
                    <a:pt x="103" y="258"/>
                  </a:lnTo>
                  <a:lnTo>
                    <a:pt x="92" y="254"/>
                  </a:lnTo>
                  <a:lnTo>
                    <a:pt x="86" y="251"/>
                  </a:lnTo>
                  <a:lnTo>
                    <a:pt x="81" y="248"/>
                  </a:lnTo>
                  <a:lnTo>
                    <a:pt x="75" y="244"/>
                  </a:lnTo>
                  <a:lnTo>
                    <a:pt x="70" y="240"/>
                  </a:lnTo>
                  <a:lnTo>
                    <a:pt x="59" y="231"/>
                  </a:lnTo>
                  <a:lnTo>
                    <a:pt x="51" y="221"/>
                  </a:lnTo>
                  <a:lnTo>
                    <a:pt x="44" y="211"/>
                  </a:lnTo>
                  <a:lnTo>
                    <a:pt x="37" y="199"/>
                  </a:lnTo>
                  <a:lnTo>
                    <a:pt x="36" y="197"/>
                  </a:lnTo>
                  <a:lnTo>
                    <a:pt x="37" y="196"/>
                  </a:lnTo>
                  <a:lnTo>
                    <a:pt x="38" y="194"/>
                  </a:lnTo>
                  <a:lnTo>
                    <a:pt x="39" y="193"/>
                  </a:lnTo>
                  <a:lnTo>
                    <a:pt x="41" y="192"/>
                  </a:lnTo>
                  <a:lnTo>
                    <a:pt x="42" y="193"/>
                  </a:lnTo>
                  <a:lnTo>
                    <a:pt x="44" y="193"/>
                  </a:lnTo>
                  <a:lnTo>
                    <a:pt x="45" y="195"/>
                  </a:lnTo>
                  <a:lnTo>
                    <a:pt x="51" y="204"/>
                  </a:lnTo>
                  <a:lnTo>
                    <a:pt x="56" y="213"/>
                  </a:lnTo>
                  <a:lnTo>
                    <a:pt x="63" y="220"/>
                  </a:lnTo>
                  <a:lnTo>
                    <a:pt x="70" y="227"/>
                  </a:lnTo>
                  <a:lnTo>
                    <a:pt x="77" y="234"/>
                  </a:lnTo>
                  <a:lnTo>
                    <a:pt x="85" y="239"/>
                  </a:lnTo>
                  <a:lnTo>
                    <a:pt x="94" y="244"/>
                  </a:lnTo>
                  <a:lnTo>
                    <a:pt x="104" y="248"/>
                  </a:lnTo>
                  <a:lnTo>
                    <a:pt x="120" y="254"/>
                  </a:lnTo>
                  <a:lnTo>
                    <a:pt x="128" y="258"/>
                  </a:lnTo>
                  <a:lnTo>
                    <a:pt x="136" y="262"/>
                  </a:lnTo>
                  <a:lnTo>
                    <a:pt x="150" y="269"/>
                  </a:lnTo>
                  <a:lnTo>
                    <a:pt x="162" y="276"/>
                  </a:lnTo>
                  <a:lnTo>
                    <a:pt x="184" y="290"/>
                  </a:lnTo>
                  <a:lnTo>
                    <a:pt x="68" y="175"/>
                  </a:lnTo>
                  <a:lnTo>
                    <a:pt x="67" y="174"/>
                  </a:lnTo>
                  <a:lnTo>
                    <a:pt x="66" y="172"/>
                  </a:lnTo>
                  <a:lnTo>
                    <a:pt x="67" y="170"/>
                  </a:lnTo>
                  <a:lnTo>
                    <a:pt x="68" y="169"/>
                  </a:lnTo>
                  <a:lnTo>
                    <a:pt x="69" y="168"/>
                  </a:lnTo>
                  <a:lnTo>
                    <a:pt x="71" y="167"/>
                  </a:lnTo>
                  <a:lnTo>
                    <a:pt x="73" y="167"/>
                  </a:lnTo>
                  <a:lnTo>
                    <a:pt x="74" y="168"/>
                  </a:lnTo>
                  <a:lnTo>
                    <a:pt x="75" y="169"/>
                  </a:lnTo>
                  <a:lnTo>
                    <a:pt x="166" y="259"/>
                  </a:lnTo>
                  <a:lnTo>
                    <a:pt x="95" y="175"/>
                  </a:lnTo>
                  <a:lnTo>
                    <a:pt x="94" y="173"/>
                  </a:lnTo>
                  <a:lnTo>
                    <a:pt x="93" y="172"/>
                  </a:lnTo>
                  <a:lnTo>
                    <a:pt x="94" y="170"/>
                  </a:lnTo>
                  <a:lnTo>
                    <a:pt x="95" y="169"/>
                  </a:lnTo>
                  <a:lnTo>
                    <a:pt x="97" y="168"/>
                  </a:lnTo>
                  <a:lnTo>
                    <a:pt x="98" y="167"/>
                  </a:lnTo>
                  <a:lnTo>
                    <a:pt x="100" y="168"/>
                  </a:lnTo>
                  <a:lnTo>
                    <a:pt x="102" y="169"/>
                  </a:lnTo>
                  <a:lnTo>
                    <a:pt x="226" y="314"/>
                  </a:lnTo>
                  <a:lnTo>
                    <a:pt x="161" y="170"/>
                  </a:lnTo>
                  <a:lnTo>
                    <a:pt x="160" y="168"/>
                  </a:lnTo>
                  <a:lnTo>
                    <a:pt x="161" y="166"/>
                  </a:lnTo>
                  <a:lnTo>
                    <a:pt x="162" y="165"/>
                  </a:lnTo>
                  <a:lnTo>
                    <a:pt x="163" y="164"/>
                  </a:lnTo>
                  <a:lnTo>
                    <a:pt x="165" y="163"/>
                  </a:lnTo>
                  <a:lnTo>
                    <a:pt x="167" y="164"/>
                  </a:lnTo>
                  <a:lnTo>
                    <a:pt x="168" y="164"/>
                  </a:lnTo>
                  <a:lnTo>
                    <a:pt x="169" y="166"/>
                  </a:lnTo>
                  <a:lnTo>
                    <a:pt x="232" y="304"/>
                  </a:lnTo>
                  <a:lnTo>
                    <a:pt x="219" y="211"/>
                  </a:lnTo>
                  <a:lnTo>
                    <a:pt x="220" y="209"/>
                  </a:lnTo>
                  <a:lnTo>
                    <a:pt x="220" y="207"/>
                  </a:lnTo>
                  <a:lnTo>
                    <a:pt x="222" y="206"/>
                  </a:lnTo>
                  <a:lnTo>
                    <a:pt x="223" y="206"/>
                  </a:lnTo>
                  <a:lnTo>
                    <a:pt x="225" y="206"/>
                  </a:lnTo>
                  <a:lnTo>
                    <a:pt x="227" y="206"/>
                  </a:lnTo>
                  <a:lnTo>
                    <a:pt x="228" y="208"/>
                  </a:lnTo>
                  <a:lnTo>
                    <a:pt x="229" y="210"/>
                  </a:lnTo>
                  <a:lnTo>
                    <a:pt x="238" y="275"/>
                  </a:lnTo>
                  <a:lnTo>
                    <a:pt x="238" y="207"/>
                  </a:lnTo>
                  <a:lnTo>
                    <a:pt x="238" y="205"/>
                  </a:lnTo>
                  <a:lnTo>
                    <a:pt x="240" y="204"/>
                  </a:lnTo>
                  <a:lnTo>
                    <a:pt x="241" y="203"/>
                  </a:lnTo>
                  <a:lnTo>
                    <a:pt x="243" y="202"/>
                  </a:lnTo>
                  <a:lnTo>
                    <a:pt x="245" y="203"/>
                  </a:lnTo>
                  <a:lnTo>
                    <a:pt x="246" y="204"/>
                  </a:lnTo>
                  <a:lnTo>
                    <a:pt x="247" y="205"/>
                  </a:lnTo>
                  <a:lnTo>
                    <a:pt x="248" y="207"/>
                  </a:lnTo>
                  <a:lnTo>
                    <a:pt x="247"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1952"/>
            <p:cNvSpPr>
              <a:spLocks noEditPoints="1"/>
            </p:cNvSpPr>
            <p:nvPr userDrawn="1"/>
          </p:nvSpPr>
          <p:spPr bwMode="auto">
            <a:xfrm>
              <a:off x="3709988" y="2746375"/>
              <a:ext cx="1168400" cy="687388"/>
            </a:xfrm>
            <a:custGeom>
              <a:avLst/>
              <a:gdLst>
                <a:gd name="T0" fmla="*/ 608 w 736"/>
                <a:gd name="T1" fmla="*/ 169 h 433"/>
                <a:gd name="T2" fmla="*/ 82 w 736"/>
                <a:gd name="T3" fmla="*/ 31 h 433"/>
                <a:gd name="T4" fmla="*/ 85 w 736"/>
                <a:gd name="T5" fmla="*/ 19 h 433"/>
                <a:gd name="T6" fmla="*/ 25 w 736"/>
                <a:gd name="T7" fmla="*/ 20 h 433"/>
                <a:gd name="T8" fmla="*/ 38 w 736"/>
                <a:gd name="T9" fmla="*/ 36 h 433"/>
                <a:gd name="T10" fmla="*/ 117 w 736"/>
                <a:gd name="T11" fmla="*/ 51 h 433"/>
                <a:gd name="T12" fmla="*/ 409 w 736"/>
                <a:gd name="T13" fmla="*/ 125 h 433"/>
                <a:gd name="T14" fmla="*/ 265 w 736"/>
                <a:gd name="T15" fmla="*/ 79 h 433"/>
                <a:gd name="T16" fmla="*/ 103 w 736"/>
                <a:gd name="T17" fmla="*/ 61 h 433"/>
                <a:gd name="T18" fmla="*/ 36 w 736"/>
                <a:gd name="T19" fmla="*/ 46 h 433"/>
                <a:gd name="T20" fmla="*/ 1 w 736"/>
                <a:gd name="T21" fmla="*/ 19 h 433"/>
                <a:gd name="T22" fmla="*/ 68 w 736"/>
                <a:gd name="T23" fmla="*/ 8 h 433"/>
                <a:gd name="T24" fmla="*/ 114 w 736"/>
                <a:gd name="T25" fmla="*/ 19 h 433"/>
                <a:gd name="T26" fmla="*/ 192 w 736"/>
                <a:gd name="T27" fmla="*/ 54 h 433"/>
                <a:gd name="T28" fmla="*/ 366 w 736"/>
                <a:gd name="T29" fmla="*/ 98 h 433"/>
                <a:gd name="T30" fmla="*/ 523 w 736"/>
                <a:gd name="T31" fmla="*/ 173 h 433"/>
                <a:gd name="T32" fmla="*/ 626 w 736"/>
                <a:gd name="T33" fmla="*/ 1 h 433"/>
                <a:gd name="T34" fmla="*/ 588 w 736"/>
                <a:gd name="T35" fmla="*/ 106 h 433"/>
                <a:gd name="T36" fmla="*/ 639 w 736"/>
                <a:gd name="T37" fmla="*/ 17 h 433"/>
                <a:gd name="T38" fmla="*/ 647 w 736"/>
                <a:gd name="T39" fmla="*/ 21 h 433"/>
                <a:gd name="T40" fmla="*/ 591 w 736"/>
                <a:gd name="T41" fmla="*/ 117 h 433"/>
                <a:gd name="T42" fmla="*/ 686 w 736"/>
                <a:gd name="T43" fmla="*/ 44 h 433"/>
                <a:gd name="T44" fmla="*/ 618 w 736"/>
                <a:gd name="T45" fmla="*/ 129 h 433"/>
                <a:gd name="T46" fmla="*/ 705 w 736"/>
                <a:gd name="T47" fmla="*/ 58 h 433"/>
                <a:gd name="T48" fmla="*/ 722 w 736"/>
                <a:gd name="T49" fmla="*/ 51 h 433"/>
                <a:gd name="T50" fmla="*/ 642 w 736"/>
                <a:gd name="T51" fmla="*/ 125 h 433"/>
                <a:gd name="T52" fmla="*/ 679 w 736"/>
                <a:gd name="T53" fmla="*/ 114 h 433"/>
                <a:gd name="T54" fmla="*/ 685 w 736"/>
                <a:gd name="T55" fmla="*/ 121 h 433"/>
                <a:gd name="T56" fmla="*/ 736 w 736"/>
                <a:gd name="T57" fmla="*/ 120 h 433"/>
                <a:gd name="T58" fmla="*/ 648 w 736"/>
                <a:gd name="T59" fmla="*/ 159 h 433"/>
                <a:gd name="T60" fmla="*/ 578 w 736"/>
                <a:gd name="T61" fmla="*/ 187 h 433"/>
                <a:gd name="T62" fmla="*/ 710 w 736"/>
                <a:gd name="T63" fmla="*/ 270 h 433"/>
                <a:gd name="T64" fmla="*/ 538 w 736"/>
                <a:gd name="T65" fmla="*/ 192 h 433"/>
                <a:gd name="T66" fmla="*/ 602 w 736"/>
                <a:gd name="T67" fmla="*/ 260 h 433"/>
                <a:gd name="T68" fmla="*/ 680 w 736"/>
                <a:gd name="T69" fmla="*/ 312 h 433"/>
                <a:gd name="T70" fmla="*/ 706 w 736"/>
                <a:gd name="T71" fmla="*/ 332 h 433"/>
                <a:gd name="T72" fmla="*/ 665 w 736"/>
                <a:gd name="T73" fmla="*/ 315 h 433"/>
                <a:gd name="T74" fmla="*/ 580 w 736"/>
                <a:gd name="T75" fmla="*/ 253 h 433"/>
                <a:gd name="T76" fmla="*/ 556 w 736"/>
                <a:gd name="T77" fmla="*/ 269 h 433"/>
                <a:gd name="T78" fmla="*/ 598 w 736"/>
                <a:gd name="T79" fmla="*/ 353 h 433"/>
                <a:gd name="T80" fmla="*/ 630 w 736"/>
                <a:gd name="T81" fmla="*/ 405 h 433"/>
                <a:gd name="T82" fmla="*/ 588 w 736"/>
                <a:gd name="T83" fmla="*/ 355 h 433"/>
                <a:gd name="T84" fmla="*/ 535 w 736"/>
                <a:gd name="T85" fmla="*/ 239 h 433"/>
                <a:gd name="T86" fmla="*/ 572 w 736"/>
                <a:gd name="T87" fmla="*/ 350 h 433"/>
                <a:gd name="T88" fmla="*/ 607 w 736"/>
                <a:gd name="T89" fmla="*/ 417 h 433"/>
                <a:gd name="T90" fmla="*/ 575 w 736"/>
                <a:gd name="T91" fmla="*/ 376 h 433"/>
                <a:gd name="T92" fmla="*/ 530 w 736"/>
                <a:gd name="T93" fmla="*/ 257 h 433"/>
                <a:gd name="T94" fmla="*/ 542 w 736"/>
                <a:gd name="T95" fmla="*/ 356 h 433"/>
                <a:gd name="T96" fmla="*/ 528 w 736"/>
                <a:gd name="T97" fmla="*/ 430 h 433"/>
                <a:gd name="T98" fmla="*/ 519 w 736"/>
                <a:gd name="T99" fmla="*/ 428 h 433"/>
                <a:gd name="T100" fmla="*/ 534 w 736"/>
                <a:gd name="T101" fmla="*/ 378 h 433"/>
                <a:gd name="T102" fmla="*/ 523 w 736"/>
                <a:gd name="T103" fmla="*/ 314 h 433"/>
                <a:gd name="T104" fmla="*/ 487 w 736"/>
                <a:gd name="T105" fmla="*/ 423 h 433"/>
                <a:gd name="T106" fmla="*/ 503 w 736"/>
                <a:gd name="T107" fmla="*/ 291 h 433"/>
                <a:gd name="T108" fmla="*/ 467 w 736"/>
                <a:gd name="T109" fmla="*/ 398 h 433"/>
                <a:gd name="T110" fmla="*/ 429 w 736"/>
                <a:gd name="T111" fmla="*/ 348 h 433"/>
                <a:gd name="T112" fmla="*/ 433 w 736"/>
                <a:gd name="T113" fmla="*/ 274 h 433"/>
                <a:gd name="T114" fmla="*/ 425 w 736"/>
                <a:gd name="T115" fmla="*/ 269 h 433"/>
                <a:gd name="T116" fmla="*/ 413 w 736"/>
                <a:gd name="T117" fmla="*/ 26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6" h="433">
                  <a:moveTo>
                    <a:pt x="550" y="179"/>
                  </a:moveTo>
                  <a:lnTo>
                    <a:pt x="560" y="179"/>
                  </a:lnTo>
                  <a:lnTo>
                    <a:pt x="570" y="178"/>
                  </a:lnTo>
                  <a:lnTo>
                    <a:pt x="579" y="177"/>
                  </a:lnTo>
                  <a:lnTo>
                    <a:pt x="589" y="175"/>
                  </a:lnTo>
                  <a:lnTo>
                    <a:pt x="598" y="173"/>
                  </a:lnTo>
                  <a:lnTo>
                    <a:pt x="608" y="169"/>
                  </a:lnTo>
                  <a:lnTo>
                    <a:pt x="617" y="165"/>
                  </a:lnTo>
                  <a:lnTo>
                    <a:pt x="626" y="161"/>
                  </a:lnTo>
                  <a:lnTo>
                    <a:pt x="635" y="156"/>
                  </a:lnTo>
                  <a:lnTo>
                    <a:pt x="642" y="151"/>
                  </a:lnTo>
                  <a:lnTo>
                    <a:pt x="550" y="179"/>
                  </a:lnTo>
                  <a:close/>
                  <a:moveTo>
                    <a:pt x="25" y="20"/>
                  </a:moveTo>
                  <a:lnTo>
                    <a:pt x="82" y="31"/>
                  </a:lnTo>
                  <a:lnTo>
                    <a:pt x="135" y="41"/>
                  </a:lnTo>
                  <a:lnTo>
                    <a:pt x="128" y="36"/>
                  </a:lnTo>
                  <a:lnTo>
                    <a:pt x="121" y="32"/>
                  </a:lnTo>
                  <a:lnTo>
                    <a:pt x="113" y="28"/>
                  </a:lnTo>
                  <a:lnTo>
                    <a:pt x="104" y="25"/>
                  </a:lnTo>
                  <a:lnTo>
                    <a:pt x="95" y="22"/>
                  </a:lnTo>
                  <a:lnTo>
                    <a:pt x="85" y="19"/>
                  </a:lnTo>
                  <a:lnTo>
                    <a:pt x="80" y="19"/>
                  </a:lnTo>
                  <a:lnTo>
                    <a:pt x="75" y="18"/>
                  </a:lnTo>
                  <a:lnTo>
                    <a:pt x="65" y="17"/>
                  </a:lnTo>
                  <a:lnTo>
                    <a:pt x="55" y="17"/>
                  </a:lnTo>
                  <a:lnTo>
                    <a:pt x="45" y="17"/>
                  </a:lnTo>
                  <a:lnTo>
                    <a:pt x="35" y="18"/>
                  </a:lnTo>
                  <a:lnTo>
                    <a:pt x="25" y="20"/>
                  </a:lnTo>
                  <a:close/>
                  <a:moveTo>
                    <a:pt x="131" y="50"/>
                  </a:moveTo>
                  <a:lnTo>
                    <a:pt x="105" y="45"/>
                  </a:lnTo>
                  <a:lnTo>
                    <a:pt x="80" y="40"/>
                  </a:lnTo>
                  <a:lnTo>
                    <a:pt x="54" y="35"/>
                  </a:lnTo>
                  <a:lnTo>
                    <a:pt x="26" y="30"/>
                  </a:lnTo>
                  <a:lnTo>
                    <a:pt x="31" y="33"/>
                  </a:lnTo>
                  <a:lnTo>
                    <a:pt x="38" y="36"/>
                  </a:lnTo>
                  <a:lnTo>
                    <a:pt x="50" y="41"/>
                  </a:lnTo>
                  <a:lnTo>
                    <a:pt x="63" y="45"/>
                  </a:lnTo>
                  <a:lnTo>
                    <a:pt x="76" y="48"/>
                  </a:lnTo>
                  <a:lnTo>
                    <a:pt x="90" y="51"/>
                  </a:lnTo>
                  <a:lnTo>
                    <a:pt x="104" y="51"/>
                  </a:lnTo>
                  <a:lnTo>
                    <a:pt x="111" y="52"/>
                  </a:lnTo>
                  <a:lnTo>
                    <a:pt x="117" y="51"/>
                  </a:lnTo>
                  <a:lnTo>
                    <a:pt x="131" y="50"/>
                  </a:lnTo>
                  <a:close/>
                  <a:moveTo>
                    <a:pt x="518" y="181"/>
                  </a:moveTo>
                  <a:lnTo>
                    <a:pt x="497" y="168"/>
                  </a:lnTo>
                  <a:lnTo>
                    <a:pt x="475" y="156"/>
                  </a:lnTo>
                  <a:lnTo>
                    <a:pt x="453" y="145"/>
                  </a:lnTo>
                  <a:lnTo>
                    <a:pt x="431" y="134"/>
                  </a:lnTo>
                  <a:lnTo>
                    <a:pt x="409" y="125"/>
                  </a:lnTo>
                  <a:lnTo>
                    <a:pt x="386" y="116"/>
                  </a:lnTo>
                  <a:lnTo>
                    <a:pt x="363" y="107"/>
                  </a:lnTo>
                  <a:lnTo>
                    <a:pt x="338" y="99"/>
                  </a:lnTo>
                  <a:lnTo>
                    <a:pt x="318" y="92"/>
                  </a:lnTo>
                  <a:lnTo>
                    <a:pt x="299" y="87"/>
                  </a:lnTo>
                  <a:lnTo>
                    <a:pt x="282" y="83"/>
                  </a:lnTo>
                  <a:lnTo>
                    <a:pt x="265" y="79"/>
                  </a:lnTo>
                  <a:lnTo>
                    <a:pt x="190" y="63"/>
                  </a:lnTo>
                  <a:lnTo>
                    <a:pt x="153" y="55"/>
                  </a:lnTo>
                  <a:lnTo>
                    <a:pt x="143" y="57"/>
                  </a:lnTo>
                  <a:lnTo>
                    <a:pt x="133" y="59"/>
                  </a:lnTo>
                  <a:lnTo>
                    <a:pt x="123" y="60"/>
                  </a:lnTo>
                  <a:lnTo>
                    <a:pt x="113" y="61"/>
                  </a:lnTo>
                  <a:lnTo>
                    <a:pt x="103" y="61"/>
                  </a:lnTo>
                  <a:lnTo>
                    <a:pt x="93" y="60"/>
                  </a:lnTo>
                  <a:lnTo>
                    <a:pt x="83" y="59"/>
                  </a:lnTo>
                  <a:lnTo>
                    <a:pt x="74" y="58"/>
                  </a:lnTo>
                  <a:lnTo>
                    <a:pt x="64" y="55"/>
                  </a:lnTo>
                  <a:lnTo>
                    <a:pt x="54" y="53"/>
                  </a:lnTo>
                  <a:lnTo>
                    <a:pt x="45" y="49"/>
                  </a:lnTo>
                  <a:lnTo>
                    <a:pt x="36" y="46"/>
                  </a:lnTo>
                  <a:lnTo>
                    <a:pt x="27" y="41"/>
                  </a:lnTo>
                  <a:lnTo>
                    <a:pt x="18" y="36"/>
                  </a:lnTo>
                  <a:lnTo>
                    <a:pt x="9" y="31"/>
                  </a:lnTo>
                  <a:lnTo>
                    <a:pt x="1" y="25"/>
                  </a:lnTo>
                  <a:lnTo>
                    <a:pt x="0" y="23"/>
                  </a:lnTo>
                  <a:lnTo>
                    <a:pt x="0" y="21"/>
                  </a:lnTo>
                  <a:lnTo>
                    <a:pt x="1" y="19"/>
                  </a:lnTo>
                  <a:lnTo>
                    <a:pt x="2" y="18"/>
                  </a:lnTo>
                  <a:lnTo>
                    <a:pt x="15" y="14"/>
                  </a:lnTo>
                  <a:lnTo>
                    <a:pt x="28" y="11"/>
                  </a:lnTo>
                  <a:lnTo>
                    <a:pt x="41" y="8"/>
                  </a:lnTo>
                  <a:lnTo>
                    <a:pt x="55" y="7"/>
                  </a:lnTo>
                  <a:lnTo>
                    <a:pt x="62" y="7"/>
                  </a:lnTo>
                  <a:lnTo>
                    <a:pt x="68" y="8"/>
                  </a:lnTo>
                  <a:lnTo>
                    <a:pt x="75" y="8"/>
                  </a:lnTo>
                  <a:lnTo>
                    <a:pt x="82" y="9"/>
                  </a:lnTo>
                  <a:lnTo>
                    <a:pt x="88" y="10"/>
                  </a:lnTo>
                  <a:lnTo>
                    <a:pt x="95" y="12"/>
                  </a:lnTo>
                  <a:lnTo>
                    <a:pt x="101" y="14"/>
                  </a:lnTo>
                  <a:lnTo>
                    <a:pt x="107" y="16"/>
                  </a:lnTo>
                  <a:lnTo>
                    <a:pt x="114" y="19"/>
                  </a:lnTo>
                  <a:lnTo>
                    <a:pt x="121" y="21"/>
                  </a:lnTo>
                  <a:lnTo>
                    <a:pt x="132" y="28"/>
                  </a:lnTo>
                  <a:lnTo>
                    <a:pt x="137" y="31"/>
                  </a:lnTo>
                  <a:lnTo>
                    <a:pt x="143" y="35"/>
                  </a:lnTo>
                  <a:lnTo>
                    <a:pt x="148" y="40"/>
                  </a:lnTo>
                  <a:lnTo>
                    <a:pt x="153" y="45"/>
                  </a:lnTo>
                  <a:lnTo>
                    <a:pt x="192" y="54"/>
                  </a:lnTo>
                  <a:lnTo>
                    <a:pt x="232" y="62"/>
                  </a:lnTo>
                  <a:lnTo>
                    <a:pt x="267" y="70"/>
                  </a:lnTo>
                  <a:lnTo>
                    <a:pt x="284" y="74"/>
                  </a:lnTo>
                  <a:lnTo>
                    <a:pt x="302" y="78"/>
                  </a:lnTo>
                  <a:lnTo>
                    <a:pt x="321" y="83"/>
                  </a:lnTo>
                  <a:lnTo>
                    <a:pt x="341" y="90"/>
                  </a:lnTo>
                  <a:lnTo>
                    <a:pt x="366" y="98"/>
                  </a:lnTo>
                  <a:lnTo>
                    <a:pt x="390" y="107"/>
                  </a:lnTo>
                  <a:lnTo>
                    <a:pt x="413" y="116"/>
                  </a:lnTo>
                  <a:lnTo>
                    <a:pt x="435" y="126"/>
                  </a:lnTo>
                  <a:lnTo>
                    <a:pt x="457" y="136"/>
                  </a:lnTo>
                  <a:lnTo>
                    <a:pt x="479" y="148"/>
                  </a:lnTo>
                  <a:lnTo>
                    <a:pt x="501" y="160"/>
                  </a:lnTo>
                  <a:lnTo>
                    <a:pt x="523" y="173"/>
                  </a:lnTo>
                  <a:lnTo>
                    <a:pt x="526" y="171"/>
                  </a:lnTo>
                  <a:lnTo>
                    <a:pt x="619" y="2"/>
                  </a:lnTo>
                  <a:lnTo>
                    <a:pt x="620" y="1"/>
                  </a:lnTo>
                  <a:lnTo>
                    <a:pt x="622" y="0"/>
                  </a:lnTo>
                  <a:lnTo>
                    <a:pt x="623" y="0"/>
                  </a:lnTo>
                  <a:lnTo>
                    <a:pt x="625" y="0"/>
                  </a:lnTo>
                  <a:lnTo>
                    <a:pt x="626" y="1"/>
                  </a:lnTo>
                  <a:lnTo>
                    <a:pt x="627" y="3"/>
                  </a:lnTo>
                  <a:lnTo>
                    <a:pt x="628" y="5"/>
                  </a:lnTo>
                  <a:lnTo>
                    <a:pt x="627" y="7"/>
                  </a:lnTo>
                  <a:lnTo>
                    <a:pt x="547" y="151"/>
                  </a:lnTo>
                  <a:lnTo>
                    <a:pt x="562" y="137"/>
                  </a:lnTo>
                  <a:lnTo>
                    <a:pt x="575" y="121"/>
                  </a:lnTo>
                  <a:lnTo>
                    <a:pt x="588" y="106"/>
                  </a:lnTo>
                  <a:lnTo>
                    <a:pt x="599" y="89"/>
                  </a:lnTo>
                  <a:lnTo>
                    <a:pt x="610" y="72"/>
                  </a:lnTo>
                  <a:lnTo>
                    <a:pt x="621" y="55"/>
                  </a:lnTo>
                  <a:lnTo>
                    <a:pt x="630" y="37"/>
                  </a:lnTo>
                  <a:lnTo>
                    <a:pt x="634" y="28"/>
                  </a:lnTo>
                  <a:lnTo>
                    <a:pt x="638" y="19"/>
                  </a:lnTo>
                  <a:lnTo>
                    <a:pt x="639" y="17"/>
                  </a:lnTo>
                  <a:lnTo>
                    <a:pt x="641" y="16"/>
                  </a:lnTo>
                  <a:lnTo>
                    <a:pt x="643" y="16"/>
                  </a:lnTo>
                  <a:lnTo>
                    <a:pt x="644" y="16"/>
                  </a:lnTo>
                  <a:lnTo>
                    <a:pt x="646" y="17"/>
                  </a:lnTo>
                  <a:lnTo>
                    <a:pt x="647" y="18"/>
                  </a:lnTo>
                  <a:lnTo>
                    <a:pt x="647" y="20"/>
                  </a:lnTo>
                  <a:lnTo>
                    <a:pt x="647" y="21"/>
                  </a:lnTo>
                  <a:lnTo>
                    <a:pt x="647" y="22"/>
                  </a:lnTo>
                  <a:lnTo>
                    <a:pt x="641" y="35"/>
                  </a:lnTo>
                  <a:lnTo>
                    <a:pt x="635" y="47"/>
                  </a:lnTo>
                  <a:lnTo>
                    <a:pt x="629" y="59"/>
                  </a:lnTo>
                  <a:lnTo>
                    <a:pt x="622" y="71"/>
                  </a:lnTo>
                  <a:lnTo>
                    <a:pt x="607" y="95"/>
                  </a:lnTo>
                  <a:lnTo>
                    <a:pt x="591" y="117"/>
                  </a:lnTo>
                  <a:lnTo>
                    <a:pt x="678" y="40"/>
                  </a:lnTo>
                  <a:lnTo>
                    <a:pt x="680" y="39"/>
                  </a:lnTo>
                  <a:lnTo>
                    <a:pt x="682" y="39"/>
                  </a:lnTo>
                  <a:lnTo>
                    <a:pt x="684" y="39"/>
                  </a:lnTo>
                  <a:lnTo>
                    <a:pt x="685" y="40"/>
                  </a:lnTo>
                  <a:lnTo>
                    <a:pt x="686" y="42"/>
                  </a:lnTo>
                  <a:lnTo>
                    <a:pt x="686" y="44"/>
                  </a:lnTo>
                  <a:lnTo>
                    <a:pt x="686" y="46"/>
                  </a:lnTo>
                  <a:lnTo>
                    <a:pt x="685" y="47"/>
                  </a:lnTo>
                  <a:lnTo>
                    <a:pt x="552" y="164"/>
                  </a:lnTo>
                  <a:lnTo>
                    <a:pt x="563" y="159"/>
                  </a:lnTo>
                  <a:lnTo>
                    <a:pt x="575" y="153"/>
                  </a:lnTo>
                  <a:lnTo>
                    <a:pt x="597" y="142"/>
                  </a:lnTo>
                  <a:lnTo>
                    <a:pt x="618" y="129"/>
                  </a:lnTo>
                  <a:lnTo>
                    <a:pt x="629" y="123"/>
                  </a:lnTo>
                  <a:lnTo>
                    <a:pt x="639" y="116"/>
                  </a:lnTo>
                  <a:lnTo>
                    <a:pt x="659" y="101"/>
                  </a:lnTo>
                  <a:lnTo>
                    <a:pt x="678" y="85"/>
                  </a:lnTo>
                  <a:lnTo>
                    <a:pt x="687" y="76"/>
                  </a:lnTo>
                  <a:lnTo>
                    <a:pt x="696" y="68"/>
                  </a:lnTo>
                  <a:lnTo>
                    <a:pt x="705" y="58"/>
                  </a:lnTo>
                  <a:lnTo>
                    <a:pt x="714" y="49"/>
                  </a:lnTo>
                  <a:lnTo>
                    <a:pt x="716" y="47"/>
                  </a:lnTo>
                  <a:lnTo>
                    <a:pt x="717" y="47"/>
                  </a:lnTo>
                  <a:lnTo>
                    <a:pt x="719" y="47"/>
                  </a:lnTo>
                  <a:lnTo>
                    <a:pt x="721" y="48"/>
                  </a:lnTo>
                  <a:lnTo>
                    <a:pt x="722" y="50"/>
                  </a:lnTo>
                  <a:lnTo>
                    <a:pt x="722" y="51"/>
                  </a:lnTo>
                  <a:lnTo>
                    <a:pt x="722" y="53"/>
                  </a:lnTo>
                  <a:lnTo>
                    <a:pt x="721" y="55"/>
                  </a:lnTo>
                  <a:lnTo>
                    <a:pt x="706" y="71"/>
                  </a:lnTo>
                  <a:lnTo>
                    <a:pt x="691" y="86"/>
                  </a:lnTo>
                  <a:lnTo>
                    <a:pt x="675" y="100"/>
                  </a:lnTo>
                  <a:lnTo>
                    <a:pt x="659" y="113"/>
                  </a:lnTo>
                  <a:lnTo>
                    <a:pt x="642" y="125"/>
                  </a:lnTo>
                  <a:lnTo>
                    <a:pt x="624" y="137"/>
                  </a:lnTo>
                  <a:lnTo>
                    <a:pt x="606" y="147"/>
                  </a:lnTo>
                  <a:lnTo>
                    <a:pt x="588" y="157"/>
                  </a:lnTo>
                  <a:lnTo>
                    <a:pt x="661" y="136"/>
                  </a:lnTo>
                  <a:lnTo>
                    <a:pt x="669" y="127"/>
                  </a:lnTo>
                  <a:lnTo>
                    <a:pt x="677" y="116"/>
                  </a:lnTo>
                  <a:lnTo>
                    <a:pt x="679" y="114"/>
                  </a:lnTo>
                  <a:lnTo>
                    <a:pt x="680" y="114"/>
                  </a:lnTo>
                  <a:lnTo>
                    <a:pt x="682" y="114"/>
                  </a:lnTo>
                  <a:lnTo>
                    <a:pt x="684" y="115"/>
                  </a:lnTo>
                  <a:lnTo>
                    <a:pt x="685" y="116"/>
                  </a:lnTo>
                  <a:lnTo>
                    <a:pt x="686" y="118"/>
                  </a:lnTo>
                  <a:lnTo>
                    <a:pt x="686" y="120"/>
                  </a:lnTo>
                  <a:lnTo>
                    <a:pt x="685" y="121"/>
                  </a:lnTo>
                  <a:lnTo>
                    <a:pt x="678" y="130"/>
                  </a:lnTo>
                  <a:lnTo>
                    <a:pt x="730" y="115"/>
                  </a:lnTo>
                  <a:lnTo>
                    <a:pt x="732" y="115"/>
                  </a:lnTo>
                  <a:lnTo>
                    <a:pt x="734" y="115"/>
                  </a:lnTo>
                  <a:lnTo>
                    <a:pt x="735" y="117"/>
                  </a:lnTo>
                  <a:lnTo>
                    <a:pt x="736" y="118"/>
                  </a:lnTo>
                  <a:lnTo>
                    <a:pt x="736" y="120"/>
                  </a:lnTo>
                  <a:lnTo>
                    <a:pt x="736" y="122"/>
                  </a:lnTo>
                  <a:lnTo>
                    <a:pt x="735" y="123"/>
                  </a:lnTo>
                  <a:lnTo>
                    <a:pt x="733" y="124"/>
                  </a:lnTo>
                  <a:lnTo>
                    <a:pt x="665" y="144"/>
                  </a:lnTo>
                  <a:lnTo>
                    <a:pt x="657" y="152"/>
                  </a:lnTo>
                  <a:lnTo>
                    <a:pt x="652" y="155"/>
                  </a:lnTo>
                  <a:lnTo>
                    <a:pt x="648" y="159"/>
                  </a:lnTo>
                  <a:lnTo>
                    <a:pt x="639" y="165"/>
                  </a:lnTo>
                  <a:lnTo>
                    <a:pt x="629" y="170"/>
                  </a:lnTo>
                  <a:lnTo>
                    <a:pt x="619" y="175"/>
                  </a:lnTo>
                  <a:lnTo>
                    <a:pt x="609" y="179"/>
                  </a:lnTo>
                  <a:lnTo>
                    <a:pt x="598" y="183"/>
                  </a:lnTo>
                  <a:lnTo>
                    <a:pt x="587" y="185"/>
                  </a:lnTo>
                  <a:lnTo>
                    <a:pt x="578" y="187"/>
                  </a:lnTo>
                  <a:lnTo>
                    <a:pt x="569" y="188"/>
                  </a:lnTo>
                  <a:lnTo>
                    <a:pt x="561" y="189"/>
                  </a:lnTo>
                  <a:lnTo>
                    <a:pt x="553" y="189"/>
                  </a:lnTo>
                  <a:lnTo>
                    <a:pt x="708" y="267"/>
                  </a:lnTo>
                  <a:lnTo>
                    <a:pt x="709" y="268"/>
                  </a:lnTo>
                  <a:lnTo>
                    <a:pt x="710" y="269"/>
                  </a:lnTo>
                  <a:lnTo>
                    <a:pt x="710" y="270"/>
                  </a:lnTo>
                  <a:lnTo>
                    <a:pt x="710" y="272"/>
                  </a:lnTo>
                  <a:lnTo>
                    <a:pt x="710" y="273"/>
                  </a:lnTo>
                  <a:lnTo>
                    <a:pt x="709" y="275"/>
                  </a:lnTo>
                  <a:lnTo>
                    <a:pt x="707" y="276"/>
                  </a:lnTo>
                  <a:lnTo>
                    <a:pt x="705" y="276"/>
                  </a:lnTo>
                  <a:lnTo>
                    <a:pt x="703" y="275"/>
                  </a:lnTo>
                  <a:lnTo>
                    <a:pt x="538" y="192"/>
                  </a:lnTo>
                  <a:lnTo>
                    <a:pt x="547" y="202"/>
                  </a:lnTo>
                  <a:lnTo>
                    <a:pt x="555" y="213"/>
                  </a:lnTo>
                  <a:lnTo>
                    <a:pt x="564" y="223"/>
                  </a:lnTo>
                  <a:lnTo>
                    <a:pt x="573" y="233"/>
                  </a:lnTo>
                  <a:lnTo>
                    <a:pt x="583" y="242"/>
                  </a:lnTo>
                  <a:lnTo>
                    <a:pt x="592" y="251"/>
                  </a:lnTo>
                  <a:lnTo>
                    <a:pt x="602" y="260"/>
                  </a:lnTo>
                  <a:lnTo>
                    <a:pt x="612" y="269"/>
                  </a:lnTo>
                  <a:lnTo>
                    <a:pt x="623" y="277"/>
                  </a:lnTo>
                  <a:lnTo>
                    <a:pt x="634" y="285"/>
                  </a:lnTo>
                  <a:lnTo>
                    <a:pt x="645" y="292"/>
                  </a:lnTo>
                  <a:lnTo>
                    <a:pt x="656" y="299"/>
                  </a:lnTo>
                  <a:lnTo>
                    <a:pt x="668" y="306"/>
                  </a:lnTo>
                  <a:lnTo>
                    <a:pt x="680" y="312"/>
                  </a:lnTo>
                  <a:lnTo>
                    <a:pt x="692" y="318"/>
                  </a:lnTo>
                  <a:lnTo>
                    <a:pt x="705" y="324"/>
                  </a:lnTo>
                  <a:lnTo>
                    <a:pt x="706" y="325"/>
                  </a:lnTo>
                  <a:lnTo>
                    <a:pt x="707" y="327"/>
                  </a:lnTo>
                  <a:lnTo>
                    <a:pt x="708" y="328"/>
                  </a:lnTo>
                  <a:lnTo>
                    <a:pt x="707" y="330"/>
                  </a:lnTo>
                  <a:lnTo>
                    <a:pt x="706" y="332"/>
                  </a:lnTo>
                  <a:lnTo>
                    <a:pt x="705" y="333"/>
                  </a:lnTo>
                  <a:lnTo>
                    <a:pt x="703" y="333"/>
                  </a:lnTo>
                  <a:lnTo>
                    <a:pt x="702" y="333"/>
                  </a:lnTo>
                  <a:lnTo>
                    <a:pt x="701" y="333"/>
                  </a:lnTo>
                  <a:lnTo>
                    <a:pt x="689" y="327"/>
                  </a:lnTo>
                  <a:lnTo>
                    <a:pt x="676" y="321"/>
                  </a:lnTo>
                  <a:lnTo>
                    <a:pt x="665" y="315"/>
                  </a:lnTo>
                  <a:lnTo>
                    <a:pt x="653" y="308"/>
                  </a:lnTo>
                  <a:lnTo>
                    <a:pt x="642" y="302"/>
                  </a:lnTo>
                  <a:lnTo>
                    <a:pt x="631" y="294"/>
                  </a:lnTo>
                  <a:lnTo>
                    <a:pt x="609" y="279"/>
                  </a:lnTo>
                  <a:lnTo>
                    <a:pt x="599" y="270"/>
                  </a:lnTo>
                  <a:lnTo>
                    <a:pt x="589" y="262"/>
                  </a:lnTo>
                  <a:lnTo>
                    <a:pt x="580" y="253"/>
                  </a:lnTo>
                  <a:lnTo>
                    <a:pt x="570" y="243"/>
                  </a:lnTo>
                  <a:lnTo>
                    <a:pt x="561" y="234"/>
                  </a:lnTo>
                  <a:lnTo>
                    <a:pt x="552" y="224"/>
                  </a:lnTo>
                  <a:lnTo>
                    <a:pt x="535" y="203"/>
                  </a:lnTo>
                  <a:lnTo>
                    <a:pt x="543" y="230"/>
                  </a:lnTo>
                  <a:lnTo>
                    <a:pt x="551" y="256"/>
                  </a:lnTo>
                  <a:lnTo>
                    <a:pt x="556" y="269"/>
                  </a:lnTo>
                  <a:lnTo>
                    <a:pt x="561" y="281"/>
                  </a:lnTo>
                  <a:lnTo>
                    <a:pt x="566" y="293"/>
                  </a:lnTo>
                  <a:lnTo>
                    <a:pt x="572" y="306"/>
                  </a:lnTo>
                  <a:lnTo>
                    <a:pt x="578" y="318"/>
                  </a:lnTo>
                  <a:lnTo>
                    <a:pt x="584" y="330"/>
                  </a:lnTo>
                  <a:lnTo>
                    <a:pt x="591" y="341"/>
                  </a:lnTo>
                  <a:lnTo>
                    <a:pt x="598" y="353"/>
                  </a:lnTo>
                  <a:lnTo>
                    <a:pt x="606" y="364"/>
                  </a:lnTo>
                  <a:lnTo>
                    <a:pt x="614" y="376"/>
                  </a:lnTo>
                  <a:lnTo>
                    <a:pt x="631" y="398"/>
                  </a:lnTo>
                  <a:lnTo>
                    <a:pt x="632" y="400"/>
                  </a:lnTo>
                  <a:lnTo>
                    <a:pt x="632" y="402"/>
                  </a:lnTo>
                  <a:lnTo>
                    <a:pt x="632" y="403"/>
                  </a:lnTo>
                  <a:lnTo>
                    <a:pt x="630" y="405"/>
                  </a:lnTo>
                  <a:lnTo>
                    <a:pt x="629" y="405"/>
                  </a:lnTo>
                  <a:lnTo>
                    <a:pt x="627" y="406"/>
                  </a:lnTo>
                  <a:lnTo>
                    <a:pt x="625" y="405"/>
                  </a:lnTo>
                  <a:lnTo>
                    <a:pt x="624" y="404"/>
                  </a:lnTo>
                  <a:lnTo>
                    <a:pt x="609" y="385"/>
                  </a:lnTo>
                  <a:lnTo>
                    <a:pt x="595" y="365"/>
                  </a:lnTo>
                  <a:lnTo>
                    <a:pt x="588" y="355"/>
                  </a:lnTo>
                  <a:lnTo>
                    <a:pt x="582" y="345"/>
                  </a:lnTo>
                  <a:lnTo>
                    <a:pt x="571" y="325"/>
                  </a:lnTo>
                  <a:lnTo>
                    <a:pt x="561" y="304"/>
                  </a:lnTo>
                  <a:lnTo>
                    <a:pt x="551" y="283"/>
                  </a:lnTo>
                  <a:lnTo>
                    <a:pt x="543" y="261"/>
                  </a:lnTo>
                  <a:lnTo>
                    <a:pt x="539" y="250"/>
                  </a:lnTo>
                  <a:lnTo>
                    <a:pt x="535" y="239"/>
                  </a:lnTo>
                  <a:lnTo>
                    <a:pt x="541" y="262"/>
                  </a:lnTo>
                  <a:lnTo>
                    <a:pt x="543" y="273"/>
                  </a:lnTo>
                  <a:lnTo>
                    <a:pt x="547" y="284"/>
                  </a:lnTo>
                  <a:lnTo>
                    <a:pt x="554" y="307"/>
                  </a:lnTo>
                  <a:lnTo>
                    <a:pt x="558" y="317"/>
                  </a:lnTo>
                  <a:lnTo>
                    <a:pt x="562" y="328"/>
                  </a:lnTo>
                  <a:lnTo>
                    <a:pt x="572" y="350"/>
                  </a:lnTo>
                  <a:lnTo>
                    <a:pt x="583" y="370"/>
                  </a:lnTo>
                  <a:lnTo>
                    <a:pt x="595" y="391"/>
                  </a:lnTo>
                  <a:lnTo>
                    <a:pt x="608" y="410"/>
                  </a:lnTo>
                  <a:lnTo>
                    <a:pt x="609" y="412"/>
                  </a:lnTo>
                  <a:lnTo>
                    <a:pt x="609" y="414"/>
                  </a:lnTo>
                  <a:lnTo>
                    <a:pt x="608" y="416"/>
                  </a:lnTo>
                  <a:lnTo>
                    <a:pt x="607" y="417"/>
                  </a:lnTo>
                  <a:lnTo>
                    <a:pt x="605" y="418"/>
                  </a:lnTo>
                  <a:lnTo>
                    <a:pt x="603" y="418"/>
                  </a:lnTo>
                  <a:lnTo>
                    <a:pt x="602" y="417"/>
                  </a:lnTo>
                  <a:lnTo>
                    <a:pt x="600" y="416"/>
                  </a:lnTo>
                  <a:lnTo>
                    <a:pt x="587" y="396"/>
                  </a:lnTo>
                  <a:lnTo>
                    <a:pt x="581" y="386"/>
                  </a:lnTo>
                  <a:lnTo>
                    <a:pt x="575" y="376"/>
                  </a:lnTo>
                  <a:lnTo>
                    <a:pt x="564" y="355"/>
                  </a:lnTo>
                  <a:lnTo>
                    <a:pt x="555" y="334"/>
                  </a:lnTo>
                  <a:lnTo>
                    <a:pt x="546" y="313"/>
                  </a:lnTo>
                  <a:lnTo>
                    <a:pt x="539" y="291"/>
                  </a:lnTo>
                  <a:lnTo>
                    <a:pt x="535" y="279"/>
                  </a:lnTo>
                  <a:lnTo>
                    <a:pt x="532" y="268"/>
                  </a:lnTo>
                  <a:lnTo>
                    <a:pt x="530" y="257"/>
                  </a:lnTo>
                  <a:lnTo>
                    <a:pt x="527" y="245"/>
                  </a:lnTo>
                  <a:lnTo>
                    <a:pt x="528" y="270"/>
                  </a:lnTo>
                  <a:lnTo>
                    <a:pt x="530" y="295"/>
                  </a:lnTo>
                  <a:lnTo>
                    <a:pt x="534" y="320"/>
                  </a:lnTo>
                  <a:lnTo>
                    <a:pt x="536" y="333"/>
                  </a:lnTo>
                  <a:lnTo>
                    <a:pt x="539" y="345"/>
                  </a:lnTo>
                  <a:lnTo>
                    <a:pt x="542" y="356"/>
                  </a:lnTo>
                  <a:lnTo>
                    <a:pt x="543" y="367"/>
                  </a:lnTo>
                  <a:lnTo>
                    <a:pt x="543" y="378"/>
                  </a:lnTo>
                  <a:lnTo>
                    <a:pt x="542" y="389"/>
                  </a:lnTo>
                  <a:lnTo>
                    <a:pt x="540" y="399"/>
                  </a:lnTo>
                  <a:lnTo>
                    <a:pt x="537" y="410"/>
                  </a:lnTo>
                  <a:lnTo>
                    <a:pt x="533" y="420"/>
                  </a:lnTo>
                  <a:lnTo>
                    <a:pt x="528" y="430"/>
                  </a:lnTo>
                  <a:lnTo>
                    <a:pt x="527" y="432"/>
                  </a:lnTo>
                  <a:lnTo>
                    <a:pt x="525" y="433"/>
                  </a:lnTo>
                  <a:lnTo>
                    <a:pt x="524" y="433"/>
                  </a:lnTo>
                  <a:lnTo>
                    <a:pt x="522" y="432"/>
                  </a:lnTo>
                  <a:lnTo>
                    <a:pt x="521" y="431"/>
                  </a:lnTo>
                  <a:lnTo>
                    <a:pt x="520" y="430"/>
                  </a:lnTo>
                  <a:lnTo>
                    <a:pt x="519" y="428"/>
                  </a:lnTo>
                  <a:lnTo>
                    <a:pt x="520" y="426"/>
                  </a:lnTo>
                  <a:lnTo>
                    <a:pt x="524" y="416"/>
                  </a:lnTo>
                  <a:lnTo>
                    <a:pt x="528" y="407"/>
                  </a:lnTo>
                  <a:lnTo>
                    <a:pt x="531" y="397"/>
                  </a:lnTo>
                  <a:lnTo>
                    <a:pt x="532" y="392"/>
                  </a:lnTo>
                  <a:lnTo>
                    <a:pt x="533" y="388"/>
                  </a:lnTo>
                  <a:lnTo>
                    <a:pt x="534" y="378"/>
                  </a:lnTo>
                  <a:lnTo>
                    <a:pt x="533" y="368"/>
                  </a:lnTo>
                  <a:lnTo>
                    <a:pt x="533" y="363"/>
                  </a:lnTo>
                  <a:lnTo>
                    <a:pt x="532" y="358"/>
                  </a:lnTo>
                  <a:lnTo>
                    <a:pt x="530" y="348"/>
                  </a:lnTo>
                  <a:lnTo>
                    <a:pt x="527" y="336"/>
                  </a:lnTo>
                  <a:lnTo>
                    <a:pt x="525" y="325"/>
                  </a:lnTo>
                  <a:lnTo>
                    <a:pt x="523" y="314"/>
                  </a:lnTo>
                  <a:lnTo>
                    <a:pt x="521" y="303"/>
                  </a:lnTo>
                  <a:lnTo>
                    <a:pt x="519" y="281"/>
                  </a:lnTo>
                  <a:lnTo>
                    <a:pt x="518" y="259"/>
                  </a:lnTo>
                  <a:lnTo>
                    <a:pt x="491" y="419"/>
                  </a:lnTo>
                  <a:lnTo>
                    <a:pt x="490" y="421"/>
                  </a:lnTo>
                  <a:lnTo>
                    <a:pt x="489" y="422"/>
                  </a:lnTo>
                  <a:lnTo>
                    <a:pt x="487" y="423"/>
                  </a:lnTo>
                  <a:lnTo>
                    <a:pt x="486" y="423"/>
                  </a:lnTo>
                  <a:lnTo>
                    <a:pt x="484" y="422"/>
                  </a:lnTo>
                  <a:lnTo>
                    <a:pt x="483" y="421"/>
                  </a:lnTo>
                  <a:lnTo>
                    <a:pt x="482" y="420"/>
                  </a:lnTo>
                  <a:lnTo>
                    <a:pt x="482" y="419"/>
                  </a:lnTo>
                  <a:lnTo>
                    <a:pt x="482" y="417"/>
                  </a:lnTo>
                  <a:lnTo>
                    <a:pt x="503" y="291"/>
                  </a:lnTo>
                  <a:lnTo>
                    <a:pt x="476" y="397"/>
                  </a:lnTo>
                  <a:lnTo>
                    <a:pt x="475" y="399"/>
                  </a:lnTo>
                  <a:lnTo>
                    <a:pt x="473" y="400"/>
                  </a:lnTo>
                  <a:lnTo>
                    <a:pt x="472" y="401"/>
                  </a:lnTo>
                  <a:lnTo>
                    <a:pt x="470" y="400"/>
                  </a:lnTo>
                  <a:lnTo>
                    <a:pt x="468" y="400"/>
                  </a:lnTo>
                  <a:lnTo>
                    <a:pt x="467" y="398"/>
                  </a:lnTo>
                  <a:lnTo>
                    <a:pt x="466" y="397"/>
                  </a:lnTo>
                  <a:lnTo>
                    <a:pt x="466" y="395"/>
                  </a:lnTo>
                  <a:lnTo>
                    <a:pt x="514" y="210"/>
                  </a:lnTo>
                  <a:lnTo>
                    <a:pt x="433" y="346"/>
                  </a:lnTo>
                  <a:lnTo>
                    <a:pt x="432" y="347"/>
                  </a:lnTo>
                  <a:lnTo>
                    <a:pt x="430" y="348"/>
                  </a:lnTo>
                  <a:lnTo>
                    <a:pt x="429" y="348"/>
                  </a:lnTo>
                  <a:lnTo>
                    <a:pt x="427" y="348"/>
                  </a:lnTo>
                  <a:lnTo>
                    <a:pt x="426" y="346"/>
                  </a:lnTo>
                  <a:lnTo>
                    <a:pt x="425" y="345"/>
                  </a:lnTo>
                  <a:lnTo>
                    <a:pt x="425" y="343"/>
                  </a:lnTo>
                  <a:lnTo>
                    <a:pt x="425" y="341"/>
                  </a:lnTo>
                  <a:lnTo>
                    <a:pt x="502" y="211"/>
                  </a:lnTo>
                  <a:lnTo>
                    <a:pt x="433" y="274"/>
                  </a:lnTo>
                  <a:lnTo>
                    <a:pt x="431" y="276"/>
                  </a:lnTo>
                  <a:lnTo>
                    <a:pt x="430" y="276"/>
                  </a:lnTo>
                  <a:lnTo>
                    <a:pt x="428" y="275"/>
                  </a:lnTo>
                  <a:lnTo>
                    <a:pt x="426" y="274"/>
                  </a:lnTo>
                  <a:lnTo>
                    <a:pt x="426" y="273"/>
                  </a:lnTo>
                  <a:lnTo>
                    <a:pt x="425" y="271"/>
                  </a:lnTo>
                  <a:lnTo>
                    <a:pt x="425" y="269"/>
                  </a:lnTo>
                  <a:lnTo>
                    <a:pt x="427" y="267"/>
                  </a:lnTo>
                  <a:lnTo>
                    <a:pt x="476" y="222"/>
                  </a:lnTo>
                  <a:lnTo>
                    <a:pt x="419" y="261"/>
                  </a:lnTo>
                  <a:lnTo>
                    <a:pt x="418" y="262"/>
                  </a:lnTo>
                  <a:lnTo>
                    <a:pt x="416" y="262"/>
                  </a:lnTo>
                  <a:lnTo>
                    <a:pt x="414" y="261"/>
                  </a:lnTo>
                  <a:lnTo>
                    <a:pt x="413" y="260"/>
                  </a:lnTo>
                  <a:lnTo>
                    <a:pt x="412" y="258"/>
                  </a:lnTo>
                  <a:lnTo>
                    <a:pt x="412" y="257"/>
                  </a:lnTo>
                  <a:lnTo>
                    <a:pt x="413" y="255"/>
                  </a:lnTo>
                  <a:lnTo>
                    <a:pt x="414" y="253"/>
                  </a:lnTo>
                  <a:lnTo>
                    <a:pt x="518"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Freeform 1953"/>
            <p:cNvSpPr>
              <a:spLocks noEditPoints="1"/>
            </p:cNvSpPr>
            <p:nvPr userDrawn="1"/>
          </p:nvSpPr>
          <p:spPr bwMode="auto">
            <a:xfrm>
              <a:off x="4569547" y="4419178"/>
              <a:ext cx="1146175" cy="752475"/>
            </a:xfrm>
            <a:custGeom>
              <a:avLst/>
              <a:gdLst>
                <a:gd name="T0" fmla="*/ 133 w 722"/>
                <a:gd name="T1" fmla="*/ 255 h 474"/>
                <a:gd name="T2" fmla="*/ 642 w 722"/>
                <a:gd name="T3" fmla="*/ 448 h 474"/>
                <a:gd name="T4" fmla="*/ 637 w 722"/>
                <a:gd name="T5" fmla="*/ 458 h 474"/>
                <a:gd name="T6" fmla="*/ 595 w 722"/>
                <a:gd name="T7" fmla="*/ 423 h 474"/>
                <a:gd name="T8" fmla="*/ 655 w 722"/>
                <a:gd name="T9" fmla="*/ 432 h 474"/>
                <a:gd name="T10" fmla="*/ 243 w 722"/>
                <a:gd name="T11" fmla="*/ 267 h 474"/>
                <a:gd name="T12" fmla="*/ 394 w 722"/>
                <a:gd name="T13" fmla="*/ 353 h 474"/>
                <a:gd name="T14" fmla="*/ 573 w 722"/>
                <a:gd name="T15" fmla="*/ 416 h 474"/>
                <a:gd name="T16" fmla="*/ 643 w 722"/>
                <a:gd name="T17" fmla="*/ 419 h 474"/>
                <a:gd name="T18" fmla="*/ 706 w 722"/>
                <a:gd name="T19" fmla="*/ 448 h 474"/>
                <a:gd name="T20" fmla="*/ 706 w 722"/>
                <a:gd name="T21" fmla="*/ 471 h 474"/>
                <a:gd name="T22" fmla="*/ 627 w 722"/>
                <a:gd name="T23" fmla="*/ 465 h 474"/>
                <a:gd name="T24" fmla="*/ 577 w 722"/>
                <a:gd name="T25" fmla="*/ 431 h 474"/>
                <a:gd name="T26" fmla="*/ 409 w 722"/>
                <a:gd name="T27" fmla="*/ 370 h 474"/>
                <a:gd name="T28" fmla="*/ 258 w 722"/>
                <a:gd name="T29" fmla="*/ 290 h 474"/>
                <a:gd name="T30" fmla="*/ 100 w 722"/>
                <a:gd name="T31" fmla="*/ 422 h 474"/>
                <a:gd name="T32" fmla="*/ 175 w 722"/>
                <a:gd name="T33" fmla="*/ 292 h 474"/>
                <a:gd name="T34" fmla="*/ 87 w 722"/>
                <a:gd name="T35" fmla="*/ 401 h 474"/>
                <a:gd name="T36" fmla="*/ 78 w 722"/>
                <a:gd name="T37" fmla="*/ 399 h 474"/>
                <a:gd name="T38" fmla="*/ 126 w 722"/>
                <a:gd name="T39" fmla="*/ 329 h 474"/>
                <a:gd name="T40" fmla="*/ 42 w 722"/>
                <a:gd name="T41" fmla="*/ 375 h 474"/>
                <a:gd name="T42" fmla="*/ 141 w 722"/>
                <a:gd name="T43" fmla="*/ 283 h 474"/>
                <a:gd name="T44" fmla="*/ 64 w 722"/>
                <a:gd name="T45" fmla="*/ 324 h 474"/>
                <a:gd name="T46" fmla="*/ 11 w 722"/>
                <a:gd name="T47" fmla="*/ 365 h 474"/>
                <a:gd name="T48" fmla="*/ 24 w 722"/>
                <a:gd name="T49" fmla="*/ 342 h 474"/>
                <a:gd name="T50" fmla="*/ 151 w 722"/>
                <a:gd name="T51" fmla="*/ 269 h 474"/>
                <a:gd name="T52" fmla="*/ 51 w 722"/>
                <a:gd name="T53" fmla="*/ 301 h 474"/>
                <a:gd name="T54" fmla="*/ 3 w 722"/>
                <a:gd name="T55" fmla="*/ 296 h 474"/>
                <a:gd name="T56" fmla="*/ 4 w 722"/>
                <a:gd name="T57" fmla="*/ 287 h 474"/>
                <a:gd name="T58" fmla="*/ 133 w 722"/>
                <a:gd name="T59" fmla="*/ 245 h 474"/>
                <a:gd name="T60" fmla="*/ 43 w 722"/>
                <a:gd name="T61" fmla="*/ 146 h 474"/>
                <a:gd name="T62" fmla="*/ 46 w 722"/>
                <a:gd name="T63" fmla="*/ 137 h 474"/>
                <a:gd name="T64" fmla="*/ 166 w 722"/>
                <a:gd name="T65" fmla="*/ 185 h 474"/>
                <a:gd name="T66" fmla="*/ 98 w 722"/>
                <a:gd name="T67" fmla="*/ 119 h 474"/>
                <a:gd name="T68" fmla="*/ 49 w 722"/>
                <a:gd name="T69" fmla="*/ 85 h 474"/>
                <a:gd name="T70" fmla="*/ 92 w 722"/>
                <a:gd name="T71" fmla="*/ 103 h 474"/>
                <a:gd name="T72" fmla="*/ 161 w 722"/>
                <a:gd name="T73" fmla="*/ 165 h 474"/>
                <a:gd name="T74" fmla="*/ 198 w 722"/>
                <a:gd name="T75" fmla="*/ 175 h 474"/>
                <a:gd name="T76" fmla="*/ 162 w 722"/>
                <a:gd name="T77" fmla="*/ 72 h 474"/>
                <a:gd name="T78" fmla="*/ 134 w 722"/>
                <a:gd name="T79" fmla="*/ 19 h 474"/>
                <a:gd name="T80" fmla="*/ 166 w 722"/>
                <a:gd name="T81" fmla="*/ 60 h 474"/>
                <a:gd name="T82" fmla="*/ 207 w 722"/>
                <a:gd name="T83" fmla="*/ 170 h 474"/>
                <a:gd name="T84" fmla="*/ 195 w 722"/>
                <a:gd name="T85" fmla="*/ 100 h 474"/>
                <a:gd name="T86" fmla="*/ 157 w 722"/>
                <a:gd name="T87" fmla="*/ 12 h 474"/>
                <a:gd name="T88" fmla="*/ 166 w 722"/>
                <a:gd name="T89" fmla="*/ 9 h 474"/>
                <a:gd name="T90" fmla="*/ 209 w 722"/>
                <a:gd name="T91" fmla="*/ 117 h 474"/>
                <a:gd name="T92" fmla="*/ 223 w 722"/>
                <a:gd name="T93" fmla="*/ 149 h 474"/>
                <a:gd name="T94" fmla="*/ 219 w 722"/>
                <a:gd name="T95" fmla="*/ 53 h 474"/>
                <a:gd name="T96" fmla="*/ 242 w 722"/>
                <a:gd name="T97" fmla="*/ 0 h 474"/>
                <a:gd name="T98" fmla="*/ 242 w 722"/>
                <a:gd name="T99" fmla="*/ 17 h 474"/>
                <a:gd name="T100" fmla="*/ 228 w 722"/>
                <a:gd name="T101" fmla="*/ 74 h 474"/>
                <a:gd name="T102" fmla="*/ 232 w 722"/>
                <a:gd name="T103" fmla="*/ 164 h 474"/>
                <a:gd name="T104" fmla="*/ 283 w 722"/>
                <a:gd name="T105" fmla="*/ 15 h 474"/>
                <a:gd name="T106" fmla="*/ 291 w 722"/>
                <a:gd name="T107" fmla="*/ 38 h 474"/>
                <a:gd name="T108" fmla="*/ 231 w 722"/>
                <a:gd name="T109" fmla="*/ 224 h 474"/>
                <a:gd name="T110" fmla="*/ 333 w 722"/>
                <a:gd name="T111" fmla="*/ 98 h 474"/>
                <a:gd name="T112" fmla="*/ 322 w 722"/>
                <a:gd name="T113" fmla="*/ 168 h 474"/>
                <a:gd name="T114" fmla="*/ 270 w 722"/>
                <a:gd name="T115" fmla="*/ 216 h 474"/>
                <a:gd name="T116" fmla="*/ 337 w 722"/>
                <a:gd name="T117" fmla="*/ 18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2" h="474">
                  <a:moveTo>
                    <a:pt x="191" y="251"/>
                  </a:moveTo>
                  <a:lnTo>
                    <a:pt x="181" y="250"/>
                  </a:lnTo>
                  <a:lnTo>
                    <a:pt x="172" y="250"/>
                  </a:lnTo>
                  <a:lnTo>
                    <a:pt x="162" y="250"/>
                  </a:lnTo>
                  <a:lnTo>
                    <a:pt x="152" y="251"/>
                  </a:lnTo>
                  <a:lnTo>
                    <a:pt x="143" y="252"/>
                  </a:lnTo>
                  <a:lnTo>
                    <a:pt x="133" y="255"/>
                  </a:lnTo>
                  <a:lnTo>
                    <a:pt x="123" y="258"/>
                  </a:lnTo>
                  <a:lnTo>
                    <a:pt x="114" y="261"/>
                  </a:lnTo>
                  <a:lnTo>
                    <a:pt x="105" y="265"/>
                  </a:lnTo>
                  <a:lnTo>
                    <a:pt x="97" y="269"/>
                  </a:lnTo>
                  <a:lnTo>
                    <a:pt x="191" y="251"/>
                  </a:lnTo>
                  <a:close/>
                  <a:moveTo>
                    <a:pt x="697" y="464"/>
                  </a:moveTo>
                  <a:lnTo>
                    <a:pt x="642" y="448"/>
                  </a:lnTo>
                  <a:lnTo>
                    <a:pt x="590" y="432"/>
                  </a:lnTo>
                  <a:lnTo>
                    <a:pt x="596" y="437"/>
                  </a:lnTo>
                  <a:lnTo>
                    <a:pt x="603" y="442"/>
                  </a:lnTo>
                  <a:lnTo>
                    <a:pt x="610" y="447"/>
                  </a:lnTo>
                  <a:lnTo>
                    <a:pt x="619" y="451"/>
                  </a:lnTo>
                  <a:lnTo>
                    <a:pt x="628" y="455"/>
                  </a:lnTo>
                  <a:lnTo>
                    <a:pt x="637" y="458"/>
                  </a:lnTo>
                  <a:lnTo>
                    <a:pt x="647" y="461"/>
                  </a:lnTo>
                  <a:lnTo>
                    <a:pt x="657" y="463"/>
                  </a:lnTo>
                  <a:lnTo>
                    <a:pt x="667" y="464"/>
                  </a:lnTo>
                  <a:lnTo>
                    <a:pt x="677" y="465"/>
                  </a:lnTo>
                  <a:lnTo>
                    <a:pt x="687" y="465"/>
                  </a:lnTo>
                  <a:lnTo>
                    <a:pt x="697" y="464"/>
                  </a:lnTo>
                  <a:close/>
                  <a:moveTo>
                    <a:pt x="595" y="423"/>
                  </a:moveTo>
                  <a:lnTo>
                    <a:pt x="620" y="431"/>
                  </a:lnTo>
                  <a:lnTo>
                    <a:pt x="644" y="438"/>
                  </a:lnTo>
                  <a:lnTo>
                    <a:pt x="697" y="454"/>
                  </a:lnTo>
                  <a:lnTo>
                    <a:pt x="686" y="447"/>
                  </a:lnTo>
                  <a:lnTo>
                    <a:pt x="674" y="440"/>
                  </a:lnTo>
                  <a:lnTo>
                    <a:pt x="662" y="435"/>
                  </a:lnTo>
                  <a:lnTo>
                    <a:pt x="655" y="432"/>
                  </a:lnTo>
                  <a:lnTo>
                    <a:pt x="649" y="430"/>
                  </a:lnTo>
                  <a:lnTo>
                    <a:pt x="635" y="427"/>
                  </a:lnTo>
                  <a:lnTo>
                    <a:pt x="622" y="424"/>
                  </a:lnTo>
                  <a:lnTo>
                    <a:pt x="608" y="423"/>
                  </a:lnTo>
                  <a:lnTo>
                    <a:pt x="595" y="423"/>
                  </a:lnTo>
                  <a:close/>
                  <a:moveTo>
                    <a:pt x="223" y="252"/>
                  </a:moveTo>
                  <a:lnTo>
                    <a:pt x="243" y="267"/>
                  </a:lnTo>
                  <a:lnTo>
                    <a:pt x="264" y="282"/>
                  </a:lnTo>
                  <a:lnTo>
                    <a:pt x="284" y="295"/>
                  </a:lnTo>
                  <a:lnTo>
                    <a:pt x="305" y="308"/>
                  </a:lnTo>
                  <a:lnTo>
                    <a:pt x="326" y="320"/>
                  </a:lnTo>
                  <a:lnTo>
                    <a:pt x="348" y="331"/>
                  </a:lnTo>
                  <a:lnTo>
                    <a:pt x="370" y="342"/>
                  </a:lnTo>
                  <a:lnTo>
                    <a:pt x="394" y="353"/>
                  </a:lnTo>
                  <a:lnTo>
                    <a:pt x="413" y="361"/>
                  </a:lnTo>
                  <a:lnTo>
                    <a:pt x="431" y="369"/>
                  </a:lnTo>
                  <a:lnTo>
                    <a:pt x="448" y="375"/>
                  </a:lnTo>
                  <a:lnTo>
                    <a:pt x="465" y="381"/>
                  </a:lnTo>
                  <a:lnTo>
                    <a:pt x="499" y="392"/>
                  </a:lnTo>
                  <a:lnTo>
                    <a:pt x="537" y="404"/>
                  </a:lnTo>
                  <a:lnTo>
                    <a:pt x="573" y="416"/>
                  </a:lnTo>
                  <a:lnTo>
                    <a:pt x="583" y="415"/>
                  </a:lnTo>
                  <a:lnTo>
                    <a:pt x="594" y="414"/>
                  </a:lnTo>
                  <a:lnTo>
                    <a:pt x="604" y="414"/>
                  </a:lnTo>
                  <a:lnTo>
                    <a:pt x="614" y="414"/>
                  </a:lnTo>
                  <a:lnTo>
                    <a:pt x="623" y="415"/>
                  </a:lnTo>
                  <a:lnTo>
                    <a:pt x="633" y="417"/>
                  </a:lnTo>
                  <a:lnTo>
                    <a:pt x="643" y="419"/>
                  </a:lnTo>
                  <a:lnTo>
                    <a:pt x="653" y="422"/>
                  </a:lnTo>
                  <a:lnTo>
                    <a:pt x="662" y="425"/>
                  </a:lnTo>
                  <a:lnTo>
                    <a:pt x="671" y="428"/>
                  </a:lnTo>
                  <a:lnTo>
                    <a:pt x="680" y="433"/>
                  </a:lnTo>
                  <a:lnTo>
                    <a:pt x="689" y="437"/>
                  </a:lnTo>
                  <a:lnTo>
                    <a:pt x="697" y="443"/>
                  </a:lnTo>
                  <a:lnTo>
                    <a:pt x="706" y="448"/>
                  </a:lnTo>
                  <a:lnTo>
                    <a:pt x="714" y="455"/>
                  </a:lnTo>
                  <a:lnTo>
                    <a:pt x="721" y="461"/>
                  </a:lnTo>
                  <a:lnTo>
                    <a:pt x="722" y="464"/>
                  </a:lnTo>
                  <a:lnTo>
                    <a:pt x="721" y="466"/>
                  </a:lnTo>
                  <a:lnTo>
                    <a:pt x="721" y="467"/>
                  </a:lnTo>
                  <a:lnTo>
                    <a:pt x="719" y="469"/>
                  </a:lnTo>
                  <a:lnTo>
                    <a:pt x="706" y="471"/>
                  </a:lnTo>
                  <a:lnTo>
                    <a:pt x="693" y="473"/>
                  </a:lnTo>
                  <a:lnTo>
                    <a:pt x="679" y="474"/>
                  </a:lnTo>
                  <a:lnTo>
                    <a:pt x="673" y="474"/>
                  </a:lnTo>
                  <a:lnTo>
                    <a:pt x="666" y="473"/>
                  </a:lnTo>
                  <a:lnTo>
                    <a:pt x="653" y="472"/>
                  </a:lnTo>
                  <a:lnTo>
                    <a:pt x="639" y="469"/>
                  </a:lnTo>
                  <a:lnTo>
                    <a:pt x="627" y="465"/>
                  </a:lnTo>
                  <a:lnTo>
                    <a:pt x="621" y="462"/>
                  </a:lnTo>
                  <a:lnTo>
                    <a:pt x="615" y="460"/>
                  </a:lnTo>
                  <a:lnTo>
                    <a:pt x="602" y="453"/>
                  </a:lnTo>
                  <a:lnTo>
                    <a:pt x="591" y="445"/>
                  </a:lnTo>
                  <a:lnTo>
                    <a:pt x="586" y="441"/>
                  </a:lnTo>
                  <a:lnTo>
                    <a:pt x="582" y="436"/>
                  </a:lnTo>
                  <a:lnTo>
                    <a:pt x="577" y="431"/>
                  </a:lnTo>
                  <a:lnTo>
                    <a:pt x="572" y="426"/>
                  </a:lnTo>
                  <a:lnTo>
                    <a:pt x="534" y="413"/>
                  </a:lnTo>
                  <a:lnTo>
                    <a:pt x="495" y="401"/>
                  </a:lnTo>
                  <a:lnTo>
                    <a:pt x="461" y="389"/>
                  </a:lnTo>
                  <a:lnTo>
                    <a:pt x="444" y="384"/>
                  </a:lnTo>
                  <a:lnTo>
                    <a:pt x="427" y="377"/>
                  </a:lnTo>
                  <a:lnTo>
                    <a:pt x="409" y="370"/>
                  </a:lnTo>
                  <a:lnTo>
                    <a:pt x="390" y="362"/>
                  </a:lnTo>
                  <a:lnTo>
                    <a:pt x="366" y="351"/>
                  </a:lnTo>
                  <a:lnTo>
                    <a:pt x="343" y="340"/>
                  </a:lnTo>
                  <a:lnTo>
                    <a:pt x="321" y="328"/>
                  </a:lnTo>
                  <a:lnTo>
                    <a:pt x="300" y="316"/>
                  </a:lnTo>
                  <a:lnTo>
                    <a:pt x="279" y="303"/>
                  </a:lnTo>
                  <a:lnTo>
                    <a:pt x="258" y="290"/>
                  </a:lnTo>
                  <a:lnTo>
                    <a:pt x="238" y="275"/>
                  </a:lnTo>
                  <a:lnTo>
                    <a:pt x="217" y="259"/>
                  </a:lnTo>
                  <a:lnTo>
                    <a:pt x="215" y="261"/>
                  </a:lnTo>
                  <a:lnTo>
                    <a:pt x="105" y="420"/>
                  </a:lnTo>
                  <a:lnTo>
                    <a:pt x="103" y="421"/>
                  </a:lnTo>
                  <a:lnTo>
                    <a:pt x="101" y="422"/>
                  </a:lnTo>
                  <a:lnTo>
                    <a:pt x="100" y="422"/>
                  </a:lnTo>
                  <a:lnTo>
                    <a:pt x="98" y="421"/>
                  </a:lnTo>
                  <a:lnTo>
                    <a:pt x="97" y="420"/>
                  </a:lnTo>
                  <a:lnTo>
                    <a:pt x="96" y="418"/>
                  </a:lnTo>
                  <a:lnTo>
                    <a:pt x="96" y="416"/>
                  </a:lnTo>
                  <a:lnTo>
                    <a:pt x="97" y="414"/>
                  </a:lnTo>
                  <a:lnTo>
                    <a:pt x="191" y="279"/>
                  </a:lnTo>
                  <a:lnTo>
                    <a:pt x="175" y="292"/>
                  </a:lnTo>
                  <a:lnTo>
                    <a:pt x="161" y="306"/>
                  </a:lnTo>
                  <a:lnTo>
                    <a:pt x="146" y="320"/>
                  </a:lnTo>
                  <a:lnTo>
                    <a:pt x="133" y="335"/>
                  </a:lnTo>
                  <a:lnTo>
                    <a:pt x="120" y="351"/>
                  </a:lnTo>
                  <a:lnTo>
                    <a:pt x="108" y="367"/>
                  </a:lnTo>
                  <a:lnTo>
                    <a:pt x="97" y="384"/>
                  </a:lnTo>
                  <a:lnTo>
                    <a:pt x="87" y="401"/>
                  </a:lnTo>
                  <a:lnTo>
                    <a:pt x="85" y="403"/>
                  </a:lnTo>
                  <a:lnTo>
                    <a:pt x="84" y="404"/>
                  </a:lnTo>
                  <a:lnTo>
                    <a:pt x="82" y="404"/>
                  </a:lnTo>
                  <a:lnTo>
                    <a:pt x="80" y="403"/>
                  </a:lnTo>
                  <a:lnTo>
                    <a:pt x="79" y="402"/>
                  </a:lnTo>
                  <a:lnTo>
                    <a:pt x="78" y="401"/>
                  </a:lnTo>
                  <a:lnTo>
                    <a:pt x="78" y="399"/>
                  </a:lnTo>
                  <a:lnTo>
                    <a:pt x="79" y="397"/>
                  </a:lnTo>
                  <a:lnTo>
                    <a:pt x="85" y="385"/>
                  </a:lnTo>
                  <a:lnTo>
                    <a:pt x="93" y="373"/>
                  </a:lnTo>
                  <a:lnTo>
                    <a:pt x="100" y="362"/>
                  </a:lnTo>
                  <a:lnTo>
                    <a:pt x="108" y="350"/>
                  </a:lnTo>
                  <a:lnTo>
                    <a:pt x="117" y="340"/>
                  </a:lnTo>
                  <a:lnTo>
                    <a:pt x="126" y="329"/>
                  </a:lnTo>
                  <a:lnTo>
                    <a:pt x="135" y="319"/>
                  </a:lnTo>
                  <a:lnTo>
                    <a:pt x="144" y="309"/>
                  </a:lnTo>
                  <a:lnTo>
                    <a:pt x="48" y="376"/>
                  </a:lnTo>
                  <a:lnTo>
                    <a:pt x="46" y="377"/>
                  </a:lnTo>
                  <a:lnTo>
                    <a:pt x="45" y="377"/>
                  </a:lnTo>
                  <a:lnTo>
                    <a:pt x="43" y="376"/>
                  </a:lnTo>
                  <a:lnTo>
                    <a:pt x="42" y="375"/>
                  </a:lnTo>
                  <a:lnTo>
                    <a:pt x="41" y="373"/>
                  </a:lnTo>
                  <a:lnTo>
                    <a:pt x="41" y="371"/>
                  </a:lnTo>
                  <a:lnTo>
                    <a:pt x="41" y="370"/>
                  </a:lnTo>
                  <a:lnTo>
                    <a:pt x="43" y="368"/>
                  </a:lnTo>
                  <a:lnTo>
                    <a:pt x="188" y="266"/>
                  </a:lnTo>
                  <a:lnTo>
                    <a:pt x="164" y="274"/>
                  </a:lnTo>
                  <a:lnTo>
                    <a:pt x="141" y="283"/>
                  </a:lnTo>
                  <a:lnTo>
                    <a:pt x="130" y="288"/>
                  </a:lnTo>
                  <a:lnTo>
                    <a:pt x="118" y="293"/>
                  </a:lnTo>
                  <a:lnTo>
                    <a:pt x="107" y="299"/>
                  </a:lnTo>
                  <a:lnTo>
                    <a:pt x="96" y="305"/>
                  </a:lnTo>
                  <a:lnTo>
                    <a:pt x="86" y="311"/>
                  </a:lnTo>
                  <a:lnTo>
                    <a:pt x="75" y="317"/>
                  </a:lnTo>
                  <a:lnTo>
                    <a:pt x="64" y="324"/>
                  </a:lnTo>
                  <a:lnTo>
                    <a:pt x="54" y="331"/>
                  </a:lnTo>
                  <a:lnTo>
                    <a:pt x="44" y="339"/>
                  </a:lnTo>
                  <a:lnTo>
                    <a:pt x="34" y="347"/>
                  </a:lnTo>
                  <a:lnTo>
                    <a:pt x="24" y="355"/>
                  </a:lnTo>
                  <a:lnTo>
                    <a:pt x="15" y="363"/>
                  </a:lnTo>
                  <a:lnTo>
                    <a:pt x="13" y="365"/>
                  </a:lnTo>
                  <a:lnTo>
                    <a:pt x="11" y="365"/>
                  </a:lnTo>
                  <a:lnTo>
                    <a:pt x="9" y="364"/>
                  </a:lnTo>
                  <a:lnTo>
                    <a:pt x="8" y="363"/>
                  </a:lnTo>
                  <a:lnTo>
                    <a:pt x="7" y="362"/>
                  </a:lnTo>
                  <a:lnTo>
                    <a:pt x="7" y="360"/>
                  </a:lnTo>
                  <a:lnTo>
                    <a:pt x="7" y="358"/>
                  </a:lnTo>
                  <a:lnTo>
                    <a:pt x="8" y="357"/>
                  </a:lnTo>
                  <a:lnTo>
                    <a:pt x="24" y="342"/>
                  </a:lnTo>
                  <a:lnTo>
                    <a:pt x="41" y="329"/>
                  </a:lnTo>
                  <a:lnTo>
                    <a:pt x="58" y="317"/>
                  </a:lnTo>
                  <a:lnTo>
                    <a:pt x="76" y="305"/>
                  </a:lnTo>
                  <a:lnTo>
                    <a:pt x="95" y="295"/>
                  </a:lnTo>
                  <a:lnTo>
                    <a:pt x="113" y="285"/>
                  </a:lnTo>
                  <a:lnTo>
                    <a:pt x="132" y="276"/>
                  </a:lnTo>
                  <a:lnTo>
                    <a:pt x="151" y="269"/>
                  </a:lnTo>
                  <a:lnTo>
                    <a:pt x="76" y="283"/>
                  </a:lnTo>
                  <a:lnTo>
                    <a:pt x="67" y="291"/>
                  </a:lnTo>
                  <a:lnTo>
                    <a:pt x="57" y="300"/>
                  </a:lnTo>
                  <a:lnTo>
                    <a:pt x="56" y="302"/>
                  </a:lnTo>
                  <a:lnTo>
                    <a:pt x="54" y="302"/>
                  </a:lnTo>
                  <a:lnTo>
                    <a:pt x="52" y="302"/>
                  </a:lnTo>
                  <a:lnTo>
                    <a:pt x="51" y="301"/>
                  </a:lnTo>
                  <a:lnTo>
                    <a:pt x="50" y="299"/>
                  </a:lnTo>
                  <a:lnTo>
                    <a:pt x="49" y="298"/>
                  </a:lnTo>
                  <a:lnTo>
                    <a:pt x="49" y="296"/>
                  </a:lnTo>
                  <a:lnTo>
                    <a:pt x="50" y="294"/>
                  </a:lnTo>
                  <a:lnTo>
                    <a:pt x="58" y="286"/>
                  </a:lnTo>
                  <a:lnTo>
                    <a:pt x="5" y="296"/>
                  </a:lnTo>
                  <a:lnTo>
                    <a:pt x="3" y="296"/>
                  </a:lnTo>
                  <a:lnTo>
                    <a:pt x="2" y="295"/>
                  </a:lnTo>
                  <a:lnTo>
                    <a:pt x="1" y="294"/>
                  </a:lnTo>
                  <a:lnTo>
                    <a:pt x="0" y="292"/>
                  </a:lnTo>
                  <a:lnTo>
                    <a:pt x="0" y="290"/>
                  </a:lnTo>
                  <a:lnTo>
                    <a:pt x="0" y="289"/>
                  </a:lnTo>
                  <a:lnTo>
                    <a:pt x="2" y="287"/>
                  </a:lnTo>
                  <a:lnTo>
                    <a:pt x="4" y="287"/>
                  </a:lnTo>
                  <a:lnTo>
                    <a:pt x="73" y="274"/>
                  </a:lnTo>
                  <a:lnTo>
                    <a:pt x="82" y="267"/>
                  </a:lnTo>
                  <a:lnTo>
                    <a:pt x="92" y="261"/>
                  </a:lnTo>
                  <a:lnTo>
                    <a:pt x="102" y="256"/>
                  </a:lnTo>
                  <a:lnTo>
                    <a:pt x="112" y="251"/>
                  </a:lnTo>
                  <a:lnTo>
                    <a:pt x="122" y="248"/>
                  </a:lnTo>
                  <a:lnTo>
                    <a:pt x="133" y="245"/>
                  </a:lnTo>
                  <a:lnTo>
                    <a:pt x="144" y="242"/>
                  </a:lnTo>
                  <a:lnTo>
                    <a:pt x="155" y="241"/>
                  </a:lnTo>
                  <a:lnTo>
                    <a:pt x="165" y="240"/>
                  </a:lnTo>
                  <a:lnTo>
                    <a:pt x="173" y="240"/>
                  </a:lnTo>
                  <a:lnTo>
                    <a:pt x="181" y="240"/>
                  </a:lnTo>
                  <a:lnTo>
                    <a:pt x="189" y="241"/>
                  </a:lnTo>
                  <a:lnTo>
                    <a:pt x="43" y="146"/>
                  </a:lnTo>
                  <a:lnTo>
                    <a:pt x="41" y="145"/>
                  </a:lnTo>
                  <a:lnTo>
                    <a:pt x="40" y="143"/>
                  </a:lnTo>
                  <a:lnTo>
                    <a:pt x="41" y="141"/>
                  </a:lnTo>
                  <a:lnTo>
                    <a:pt x="41" y="140"/>
                  </a:lnTo>
                  <a:lnTo>
                    <a:pt x="42" y="138"/>
                  </a:lnTo>
                  <a:lnTo>
                    <a:pt x="44" y="137"/>
                  </a:lnTo>
                  <a:lnTo>
                    <a:pt x="46" y="137"/>
                  </a:lnTo>
                  <a:lnTo>
                    <a:pt x="48" y="138"/>
                  </a:lnTo>
                  <a:lnTo>
                    <a:pt x="204" y="240"/>
                  </a:lnTo>
                  <a:lnTo>
                    <a:pt x="197" y="228"/>
                  </a:lnTo>
                  <a:lnTo>
                    <a:pt x="190" y="217"/>
                  </a:lnTo>
                  <a:lnTo>
                    <a:pt x="182" y="206"/>
                  </a:lnTo>
                  <a:lnTo>
                    <a:pt x="174" y="195"/>
                  </a:lnTo>
                  <a:lnTo>
                    <a:pt x="166" y="185"/>
                  </a:lnTo>
                  <a:lnTo>
                    <a:pt x="157" y="175"/>
                  </a:lnTo>
                  <a:lnTo>
                    <a:pt x="148" y="165"/>
                  </a:lnTo>
                  <a:lnTo>
                    <a:pt x="139" y="154"/>
                  </a:lnTo>
                  <a:lnTo>
                    <a:pt x="129" y="145"/>
                  </a:lnTo>
                  <a:lnTo>
                    <a:pt x="119" y="136"/>
                  </a:lnTo>
                  <a:lnTo>
                    <a:pt x="109" y="128"/>
                  </a:lnTo>
                  <a:lnTo>
                    <a:pt x="98" y="119"/>
                  </a:lnTo>
                  <a:lnTo>
                    <a:pt x="87" y="111"/>
                  </a:lnTo>
                  <a:lnTo>
                    <a:pt x="76" y="104"/>
                  </a:lnTo>
                  <a:lnTo>
                    <a:pt x="64" y="97"/>
                  </a:lnTo>
                  <a:lnTo>
                    <a:pt x="52" y="90"/>
                  </a:lnTo>
                  <a:lnTo>
                    <a:pt x="50" y="88"/>
                  </a:lnTo>
                  <a:lnTo>
                    <a:pt x="49" y="87"/>
                  </a:lnTo>
                  <a:lnTo>
                    <a:pt x="49" y="85"/>
                  </a:lnTo>
                  <a:lnTo>
                    <a:pt x="50" y="83"/>
                  </a:lnTo>
                  <a:lnTo>
                    <a:pt x="51" y="82"/>
                  </a:lnTo>
                  <a:lnTo>
                    <a:pt x="52" y="81"/>
                  </a:lnTo>
                  <a:lnTo>
                    <a:pt x="54" y="81"/>
                  </a:lnTo>
                  <a:lnTo>
                    <a:pt x="56" y="81"/>
                  </a:lnTo>
                  <a:lnTo>
                    <a:pt x="80" y="95"/>
                  </a:lnTo>
                  <a:lnTo>
                    <a:pt x="92" y="103"/>
                  </a:lnTo>
                  <a:lnTo>
                    <a:pt x="102" y="111"/>
                  </a:lnTo>
                  <a:lnTo>
                    <a:pt x="113" y="119"/>
                  </a:lnTo>
                  <a:lnTo>
                    <a:pt x="123" y="127"/>
                  </a:lnTo>
                  <a:lnTo>
                    <a:pt x="133" y="136"/>
                  </a:lnTo>
                  <a:lnTo>
                    <a:pt x="143" y="145"/>
                  </a:lnTo>
                  <a:lnTo>
                    <a:pt x="152" y="154"/>
                  </a:lnTo>
                  <a:lnTo>
                    <a:pt x="161" y="165"/>
                  </a:lnTo>
                  <a:lnTo>
                    <a:pt x="178" y="185"/>
                  </a:lnTo>
                  <a:lnTo>
                    <a:pt x="194" y="206"/>
                  </a:lnTo>
                  <a:lnTo>
                    <a:pt x="208" y="228"/>
                  </a:lnTo>
                  <a:lnTo>
                    <a:pt x="206" y="215"/>
                  </a:lnTo>
                  <a:lnTo>
                    <a:pt x="204" y="201"/>
                  </a:lnTo>
                  <a:lnTo>
                    <a:pt x="201" y="188"/>
                  </a:lnTo>
                  <a:lnTo>
                    <a:pt x="198" y="175"/>
                  </a:lnTo>
                  <a:lnTo>
                    <a:pt x="195" y="160"/>
                  </a:lnTo>
                  <a:lnTo>
                    <a:pt x="191" y="147"/>
                  </a:lnTo>
                  <a:lnTo>
                    <a:pt x="187" y="135"/>
                  </a:lnTo>
                  <a:lnTo>
                    <a:pt x="183" y="122"/>
                  </a:lnTo>
                  <a:lnTo>
                    <a:pt x="173" y="97"/>
                  </a:lnTo>
                  <a:lnTo>
                    <a:pt x="168" y="84"/>
                  </a:lnTo>
                  <a:lnTo>
                    <a:pt x="162" y="72"/>
                  </a:lnTo>
                  <a:lnTo>
                    <a:pt x="155" y="60"/>
                  </a:lnTo>
                  <a:lnTo>
                    <a:pt x="149" y="48"/>
                  </a:lnTo>
                  <a:lnTo>
                    <a:pt x="141" y="36"/>
                  </a:lnTo>
                  <a:lnTo>
                    <a:pt x="134" y="24"/>
                  </a:lnTo>
                  <a:lnTo>
                    <a:pt x="133" y="22"/>
                  </a:lnTo>
                  <a:lnTo>
                    <a:pt x="133" y="20"/>
                  </a:lnTo>
                  <a:lnTo>
                    <a:pt x="134" y="19"/>
                  </a:lnTo>
                  <a:lnTo>
                    <a:pt x="135" y="17"/>
                  </a:lnTo>
                  <a:lnTo>
                    <a:pt x="137" y="17"/>
                  </a:lnTo>
                  <a:lnTo>
                    <a:pt x="138" y="16"/>
                  </a:lnTo>
                  <a:lnTo>
                    <a:pt x="140" y="17"/>
                  </a:lnTo>
                  <a:lnTo>
                    <a:pt x="142" y="19"/>
                  </a:lnTo>
                  <a:lnTo>
                    <a:pt x="155" y="39"/>
                  </a:lnTo>
                  <a:lnTo>
                    <a:pt x="166" y="60"/>
                  </a:lnTo>
                  <a:lnTo>
                    <a:pt x="172" y="70"/>
                  </a:lnTo>
                  <a:lnTo>
                    <a:pt x="177" y="81"/>
                  </a:lnTo>
                  <a:lnTo>
                    <a:pt x="186" y="103"/>
                  </a:lnTo>
                  <a:lnTo>
                    <a:pt x="190" y="113"/>
                  </a:lnTo>
                  <a:lnTo>
                    <a:pt x="194" y="124"/>
                  </a:lnTo>
                  <a:lnTo>
                    <a:pt x="201" y="147"/>
                  </a:lnTo>
                  <a:lnTo>
                    <a:pt x="207" y="170"/>
                  </a:lnTo>
                  <a:lnTo>
                    <a:pt x="212" y="193"/>
                  </a:lnTo>
                  <a:lnTo>
                    <a:pt x="209" y="170"/>
                  </a:lnTo>
                  <a:lnTo>
                    <a:pt x="208" y="157"/>
                  </a:lnTo>
                  <a:lnTo>
                    <a:pt x="206" y="146"/>
                  </a:lnTo>
                  <a:lnTo>
                    <a:pt x="203" y="134"/>
                  </a:lnTo>
                  <a:lnTo>
                    <a:pt x="201" y="123"/>
                  </a:lnTo>
                  <a:lnTo>
                    <a:pt x="195" y="100"/>
                  </a:lnTo>
                  <a:lnTo>
                    <a:pt x="187" y="78"/>
                  </a:lnTo>
                  <a:lnTo>
                    <a:pt x="179" y="56"/>
                  </a:lnTo>
                  <a:lnTo>
                    <a:pt x="174" y="45"/>
                  </a:lnTo>
                  <a:lnTo>
                    <a:pt x="169" y="35"/>
                  </a:lnTo>
                  <a:lnTo>
                    <a:pt x="164" y="24"/>
                  </a:lnTo>
                  <a:lnTo>
                    <a:pt x="158" y="14"/>
                  </a:lnTo>
                  <a:lnTo>
                    <a:pt x="157" y="12"/>
                  </a:lnTo>
                  <a:lnTo>
                    <a:pt x="158" y="10"/>
                  </a:lnTo>
                  <a:lnTo>
                    <a:pt x="159" y="9"/>
                  </a:lnTo>
                  <a:lnTo>
                    <a:pt x="160" y="8"/>
                  </a:lnTo>
                  <a:lnTo>
                    <a:pt x="162" y="7"/>
                  </a:lnTo>
                  <a:lnTo>
                    <a:pt x="163" y="7"/>
                  </a:lnTo>
                  <a:lnTo>
                    <a:pt x="165" y="8"/>
                  </a:lnTo>
                  <a:lnTo>
                    <a:pt x="166" y="9"/>
                  </a:lnTo>
                  <a:lnTo>
                    <a:pt x="177" y="30"/>
                  </a:lnTo>
                  <a:lnTo>
                    <a:pt x="182" y="41"/>
                  </a:lnTo>
                  <a:lnTo>
                    <a:pt x="187" y="51"/>
                  </a:lnTo>
                  <a:lnTo>
                    <a:pt x="191" y="62"/>
                  </a:lnTo>
                  <a:lnTo>
                    <a:pt x="196" y="73"/>
                  </a:lnTo>
                  <a:lnTo>
                    <a:pt x="203" y="95"/>
                  </a:lnTo>
                  <a:lnTo>
                    <a:pt x="209" y="117"/>
                  </a:lnTo>
                  <a:lnTo>
                    <a:pt x="212" y="129"/>
                  </a:lnTo>
                  <a:lnTo>
                    <a:pt x="214" y="140"/>
                  </a:lnTo>
                  <a:lnTo>
                    <a:pt x="218" y="164"/>
                  </a:lnTo>
                  <a:lnTo>
                    <a:pt x="220" y="176"/>
                  </a:lnTo>
                  <a:lnTo>
                    <a:pt x="221" y="187"/>
                  </a:lnTo>
                  <a:lnTo>
                    <a:pt x="223" y="161"/>
                  </a:lnTo>
                  <a:lnTo>
                    <a:pt x="223" y="149"/>
                  </a:lnTo>
                  <a:lnTo>
                    <a:pt x="223" y="136"/>
                  </a:lnTo>
                  <a:lnTo>
                    <a:pt x="223" y="124"/>
                  </a:lnTo>
                  <a:lnTo>
                    <a:pt x="222" y="111"/>
                  </a:lnTo>
                  <a:lnTo>
                    <a:pt x="219" y="86"/>
                  </a:lnTo>
                  <a:lnTo>
                    <a:pt x="218" y="75"/>
                  </a:lnTo>
                  <a:lnTo>
                    <a:pt x="218" y="63"/>
                  </a:lnTo>
                  <a:lnTo>
                    <a:pt x="219" y="53"/>
                  </a:lnTo>
                  <a:lnTo>
                    <a:pt x="221" y="42"/>
                  </a:lnTo>
                  <a:lnTo>
                    <a:pt x="224" y="32"/>
                  </a:lnTo>
                  <a:lnTo>
                    <a:pt x="228" y="22"/>
                  </a:lnTo>
                  <a:lnTo>
                    <a:pt x="233" y="12"/>
                  </a:lnTo>
                  <a:lnTo>
                    <a:pt x="239" y="2"/>
                  </a:lnTo>
                  <a:lnTo>
                    <a:pt x="241" y="1"/>
                  </a:lnTo>
                  <a:lnTo>
                    <a:pt x="242" y="0"/>
                  </a:lnTo>
                  <a:lnTo>
                    <a:pt x="244" y="0"/>
                  </a:lnTo>
                  <a:lnTo>
                    <a:pt x="246" y="1"/>
                  </a:lnTo>
                  <a:lnTo>
                    <a:pt x="247" y="2"/>
                  </a:lnTo>
                  <a:lnTo>
                    <a:pt x="248" y="4"/>
                  </a:lnTo>
                  <a:lnTo>
                    <a:pt x="248" y="6"/>
                  </a:lnTo>
                  <a:lnTo>
                    <a:pt x="247" y="7"/>
                  </a:lnTo>
                  <a:lnTo>
                    <a:pt x="242" y="17"/>
                  </a:lnTo>
                  <a:lnTo>
                    <a:pt x="239" y="21"/>
                  </a:lnTo>
                  <a:lnTo>
                    <a:pt x="237" y="26"/>
                  </a:lnTo>
                  <a:lnTo>
                    <a:pt x="233" y="35"/>
                  </a:lnTo>
                  <a:lnTo>
                    <a:pt x="230" y="44"/>
                  </a:lnTo>
                  <a:lnTo>
                    <a:pt x="229" y="54"/>
                  </a:lnTo>
                  <a:lnTo>
                    <a:pt x="228" y="64"/>
                  </a:lnTo>
                  <a:lnTo>
                    <a:pt x="228" y="74"/>
                  </a:lnTo>
                  <a:lnTo>
                    <a:pt x="229" y="84"/>
                  </a:lnTo>
                  <a:lnTo>
                    <a:pt x="230" y="96"/>
                  </a:lnTo>
                  <a:lnTo>
                    <a:pt x="232" y="107"/>
                  </a:lnTo>
                  <a:lnTo>
                    <a:pt x="232" y="118"/>
                  </a:lnTo>
                  <a:lnTo>
                    <a:pt x="233" y="130"/>
                  </a:lnTo>
                  <a:lnTo>
                    <a:pt x="233" y="152"/>
                  </a:lnTo>
                  <a:lnTo>
                    <a:pt x="232" y="164"/>
                  </a:lnTo>
                  <a:lnTo>
                    <a:pt x="232" y="175"/>
                  </a:lnTo>
                  <a:lnTo>
                    <a:pt x="275" y="18"/>
                  </a:lnTo>
                  <a:lnTo>
                    <a:pt x="276" y="16"/>
                  </a:lnTo>
                  <a:lnTo>
                    <a:pt x="277" y="15"/>
                  </a:lnTo>
                  <a:lnTo>
                    <a:pt x="279" y="14"/>
                  </a:lnTo>
                  <a:lnTo>
                    <a:pt x="281" y="14"/>
                  </a:lnTo>
                  <a:lnTo>
                    <a:pt x="283" y="15"/>
                  </a:lnTo>
                  <a:lnTo>
                    <a:pt x="284" y="16"/>
                  </a:lnTo>
                  <a:lnTo>
                    <a:pt x="284" y="18"/>
                  </a:lnTo>
                  <a:lnTo>
                    <a:pt x="284" y="20"/>
                  </a:lnTo>
                  <a:lnTo>
                    <a:pt x="250" y="144"/>
                  </a:lnTo>
                  <a:lnTo>
                    <a:pt x="288" y="41"/>
                  </a:lnTo>
                  <a:lnTo>
                    <a:pt x="289" y="39"/>
                  </a:lnTo>
                  <a:lnTo>
                    <a:pt x="291" y="38"/>
                  </a:lnTo>
                  <a:lnTo>
                    <a:pt x="292" y="38"/>
                  </a:lnTo>
                  <a:lnTo>
                    <a:pt x="294" y="38"/>
                  </a:lnTo>
                  <a:lnTo>
                    <a:pt x="296" y="39"/>
                  </a:lnTo>
                  <a:lnTo>
                    <a:pt x="297" y="40"/>
                  </a:lnTo>
                  <a:lnTo>
                    <a:pt x="297" y="42"/>
                  </a:lnTo>
                  <a:lnTo>
                    <a:pt x="297" y="44"/>
                  </a:lnTo>
                  <a:lnTo>
                    <a:pt x="231" y="224"/>
                  </a:lnTo>
                  <a:lnTo>
                    <a:pt x="325" y="96"/>
                  </a:lnTo>
                  <a:lnTo>
                    <a:pt x="326" y="95"/>
                  </a:lnTo>
                  <a:lnTo>
                    <a:pt x="328" y="94"/>
                  </a:lnTo>
                  <a:lnTo>
                    <a:pt x="330" y="94"/>
                  </a:lnTo>
                  <a:lnTo>
                    <a:pt x="331" y="95"/>
                  </a:lnTo>
                  <a:lnTo>
                    <a:pt x="333" y="97"/>
                  </a:lnTo>
                  <a:lnTo>
                    <a:pt x="333" y="98"/>
                  </a:lnTo>
                  <a:lnTo>
                    <a:pt x="333" y="100"/>
                  </a:lnTo>
                  <a:lnTo>
                    <a:pt x="332" y="102"/>
                  </a:lnTo>
                  <a:lnTo>
                    <a:pt x="242" y="225"/>
                  </a:lnTo>
                  <a:lnTo>
                    <a:pt x="317" y="168"/>
                  </a:lnTo>
                  <a:lnTo>
                    <a:pt x="319" y="167"/>
                  </a:lnTo>
                  <a:lnTo>
                    <a:pt x="321" y="167"/>
                  </a:lnTo>
                  <a:lnTo>
                    <a:pt x="322" y="168"/>
                  </a:lnTo>
                  <a:lnTo>
                    <a:pt x="323" y="168"/>
                  </a:lnTo>
                  <a:lnTo>
                    <a:pt x="324" y="169"/>
                  </a:lnTo>
                  <a:lnTo>
                    <a:pt x="325" y="171"/>
                  </a:lnTo>
                  <a:lnTo>
                    <a:pt x="325" y="173"/>
                  </a:lnTo>
                  <a:lnTo>
                    <a:pt x="325" y="174"/>
                  </a:lnTo>
                  <a:lnTo>
                    <a:pt x="323" y="176"/>
                  </a:lnTo>
                  <a:lnTo>
                    <a:pt x="270" y="216"/>
                  </a:lnTo>
                  <a:lnTo>
                    <a:pt x="330" y="183"/>
                  </a:lnTo>
                  <a:lnTo>
                    <a:pt x="332" y="182"/>
                  </a:lnTo>
                  <a:lnTo>
                    <a:pt x="334" y="182"/>
                  </a:lnTo>
                  <a:lnTo>
                    <a:pt x="335" y="183"/>
                  </a:lnTo>
                  <a:lnTo>
                    <a:pt x="336" y="185"/>
                  </a:lnTo>
                  <a:lnTo>
                    <a:pt x="337" y="186"/>
                  </a:lnTo>
                  <a:lnTo>
                    <a:pt x="337" y="188"/>
                  </a:lnTo>
                  <a:lnTo>
                    <a:pt x="336" y="190"/>
                  </a:lnTo>
                  <a:lnTo>
                    <a:pt x="334" y="191"/>
                  </a:lnTo>
                  <a:lnTo>
                    <a:pt x="223"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6" name="Freeform 1954"/>
            <p:cNvSpPr>
              <a:spLocks noEditPoints="1"/>
            </p:cNvSpPr>
            <p:nvPr userDrawn="1"/>
          </p:nvSpPr>
          <p:spPr bwMode="auto">
            <a:xfrm>
              <a:off x="5194300" y="3030538"/>
              <a:ext cx="706438" cy="1198563"/>
            </a:xfrm>
            <a:custGeom>
              <a:avLst/>
              <a:gdLst>
                <a:gd name="T0" fmla="*/ 170 w 445"/>
                <a:gd name="T1" fmla="*/ 131 h 755"/>
                <a:gd name="T2" fmla="*/ 143 w 445"/>
                <a:gd name="T3" fmla="*/ 674 h 755"/>
                <a:gd name="T4" fmla="*/ 131 w 445"/>
                <a:gd name="T5" fmla="*/ 673 h 755"/>
                <a:gd name="T6" fmla="*/ 152 w 445"/>
                <a:gd name="T7" fmla="*/ 622 h 755"/>
                <a:gd name="T8" fmla="*/ 162 w 445"/>
                <a:gd name="T9" fmla="*/ 675 h 755"/>
                <a:gd name="T10" fmla="*/ 200 w 445"/>
                <a:gd name="T11" fmla="*/ 216 h 755"/>
                <a:gd name="T12" fmla="*/ 163 w 445"/>
                <a:gd name="T13" fmla="*/ 358 h 755"/>
                <a:gd name="T14" fmla="*/ 152 w 445"/>
                <a:gd name="T15" fmla="*/ 561 h 755"/>
                <a:gd name="T16" fmla="*/ 171 w 445"/>
                <a:gd name="T17" fmla="*/ 676 h 755"/>
                <a:gd name="T18" fmla="*/ 153 w 445"/>
                <a:gd name="T19" fmla="*/ 755 h 755"/>
                <a:gd name="T20" fmla="*/ 130 w 445"/>
                <a:gd name="T21" fmla="*/ 718 h 755"/>
                <a:gd name="T22" fmla="*/ 126 w 445"/>
                <a:gd name="T23" fmla="*/ 638 h 755"/>
                <a:gd name="T24" fmla="*/ 143 w 445"/>
                <a:gd name="T25" fmla="*/ 484 h 755"/>
                <a:gd name="T26" fmla="*/ 158 w 445"/>
                <a:gd name="T27" fmla="*/ 332 h 755"/>
                <a:gd name="T28" fmla="*/ 4 w 445"/>
                <a:gd name="T29" fmla="*/ 155 h 755"/>
                <a:gd name="T30" fmla="*/ 3 w 445"/>
                <a:gd name="T31" fmla="*/ 146 h 755"/>
                <a:gd name="T32" fmla="*/ 102 w 445"/>
                <a:gd name="T33" fmla="*/ 159 h 755"/>
                <a:gd name="T34" fmla="*/ 14 w 445"/>
                <a:gd name="T35" fmla="*/ 131 h 755"/>
                <a:gd name="T36" fmla="*/ 17 w 445"/>
                <a:gd name="T37" fmla="*/ 123 h 755"/>
                <a:gd name="T38" fmla="*/ 122 w 445"/>
                <a:gd name="T39" fmla="*/ 158 h 755"/>
                <a:gd name="T40" fmla="*/ 30 w 445"/>
                <a:gd name="T41" fmla="*/ 80 h 755"/>
                <a:gd name="T42" fmla="*/ 128 w 445"/>
                <a:gd name="T43" fmla="*/ 129 h 755"/>
                <a:gd name="T44" fmla="*/ 41 w 445"/>
                <a:gd name="T45" fmla="*/ 59 h 755"/>
                <a:gd name="T46" fmla="*/ 29 w 445"/>
                <a:gd name="T47" fmla="*/ 45 h 755"/>
                <a:gd name="T48" fmla="*/ 104 w 445"/>
                <a:gd name="T49" fmla="*/ 92 h 755"/>
                <a:gd name="T50" fmla="*/ 115 w 445"/>
                <a:gd name="T51" fmla="*/ 79 h 755"/>
                <a:gd name="T52" fmla="*/ 103 w 445"/>
                <a:gd name="T53" fmla="*/ 65 h 755"/>
                <a:gd name="T54" fmla="*/ 92 w 445"/>
                <a:gd name="T55" fmla="*/ 18 h 755"/>
                <a:gd name="T56" fmla="*/ 142 w 445"/>
                <a:gd name="T57" fmla="*/ 86 h 755"/>
                <a:gd name="T58" fmla="*/ 185 w 445"/>
                <a:gd name="T59" fmla="*/ 137 h 755"/>
                <a:gd name="T60" fmla="*/ 245 w 445"/>
                <a:gd name="T61" fmla="*/ 10 h 755"/>
                <a:gd name="T62" fmla="*/ 253 w 445"/>
                <a:gd name="T63" fmla="*/ 15 h 755"/>
                <a:gd name="T64" fmla="*/ 266 w 445"/>
                <a:gd name="T65" fmla="*/ 105 h 755"/>
                <a:gd name="T66" fmla="*/ 298 w 445"/>
                <a:gd name="T67" fmla="*/ 17 h 755"/>
                <a:gd name="T68" fmla="*/ 309 w 445"/>
                <a:gd name="T69" fmla="*/ 1 h 755"/>
                <a:gd name="T70" fmla="*/ 296 w 445"/>
                <a:gd name="T71" fmla="*/ 57 h 755"/>
                <a:gd name="T72" fmla="*/ 250 w 445"/>
                <a:gd name="T73" fmla="*/ 152 h 755"/>
                <a:gd name="T74" fmla="*/ 277 w 445"/>
                <a:gd name="T75" fmla="*/ 161 h 755"/>
                <a:gd name="T76" fmla="*/ 361 w 445"/>
                <a:gd name="T77" fmla="*/ 92 h 755"/>
                <a:gd name="T78" fmla="*/ 395 w 445"/>
                <a:gd name="T79" fmla="*/ 59 h 755"/>
                <a:gd name="T80" fmla="*/ 364 w 445"/>
                <a:gd name="T81" fmla="*/ 102 h 755"/>
                <a:gd name="T82" fmla="*/ 273 w 445"/>
                <a:gd name="T83" fmla="*/ 175 h 755"/>
                <a:gd name="T84" fmla="*/ 334 w 445"/>
                <a:gd name="T85" fmla="*/ 142 h 755"/>
                <a:gd name="T86" fmla="*/ 405 w 445"/>
                <a:gd name="T87" fmla="*/ 80 h 755"/>
                <a:gd name="T88" fmla="*/ 413 w 445"/>
                <a:gd name="T89" fmla="*/ 85 h 755"/>
                <a:gd name="T90" fmla="*/ 342 w 445"/>
                <a:gd name="T91" fmla="*/ 148 h 755"/>
                <a:gd name="T92" fmla="*/ 281 w 445"/>
                <a:gd name="T93" fmla="*/ 189 h 755"/>
                <a:gd name="T94" fmla="*/ 364 w 445"/>
                <a:gd name="T95" fmla="*/ 157 h 755"/>
                <a:gd name="T96" fmla="*/ 428 w 445"/>
                <a:gd name="T97" fmla="*/ 151 h 755"/>
                <a:gd name="T98" fmla="*/ 443 w 445"/>
                <a:gd name="T99" fmla="*/ 162 h 755"/>
                <a:gd name="T100" fmla="*/ 394 w 445"/>
                <a:gd name="T101" fmla="*/ 159 h 755"/>
                <a:gd name="T102" fmla="*/ 328 w 445"/>
                <a:gd name="T103" fmla="*/ 184 h 755"/>
                <a:gd name="T104" fmla="*/ 443 w 445"/>
                <a:gd name="T105" fmla="*/ 197 h 755"/>
                <a:gd name="T106" fmla="*/ 422 w 445"/>
                <a:gd name="T107" fmla="*/ 213 h 755"/>
                <a:gd name="T108" fmla="*/ 419 w 445"/>
                <a:gd name="T109" fmla="*/ 222 h 755"/>
                <a:gd name="T110" fmla="*/ 380 w 445"/>
                <a:gd name="T111" fmla="*/ 272 h 755"/>
                <a:gd name="T112" fmla="*/ 311 w 445"/>
                <a:gd name="T113" fmla="*/ 283 h 755"/>
                <a:gd name="T114" fmla="*/ 249 w 445"/>
                <a:gd name="T115" fmla="*/ 249 h 755"/>
                <a:gd name="T116" fmla="*/ 296 w 445"/>
                <a:gd name="T117" fmla="*/ 30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5" h="755">
                  <a:moveTo>
                    <a:pt x="191" y="185"/>
                  </a:moveTo>
                  <a:lnTo>
                    <a:pt x="189" y="175"/>
                  </a:lnTo>
                  <a:lnTo>
                    <a:pt x="186" y="166"/>
                  </a:lnTo>
                  <a:lnTo>
                    <a:pt x="183" y="157"/>
                  </a:lnTo>
                  <a:lnTo>
                    <a:pt x="179" y="148"/>
                  </a:lnTo>
                  <a:lnTo>
                    <a:pt x="175" y="139"/>
                  </a:lnTo>
                  <a:lnTo>
                    <a:pt x="170" y="131"/>
                  </a:lnTo>
                  <a:lnTo>
                    <a:pt x="164" y="122"/>
                  </a:lnTo>
                  <a:lnTo>
                    <a:pt x="157" y="114"/>
                  </a:lnTo>
                  <a:lnTo>
                    <a:pt x="151" y="107"/>
                  </a:lnTo>
                  <a:lnTo>
                    <a:pt x="144" y="100"/>
                  </a:lnTo>
                  <a:lnTo>
                    <a:pt x="191" y="185"/>
                  </a:lnTo>
                  <a:close/>
                  <a:moveTo>
                    <a:pt x="145" y="732"/>
                  </a:moveTo>
                  <a:lnTo>
                    <a:pt x="143" y="674"/>
                  </a:lnTo>
                  <a:lnTo>
                    <a:pt x="142" y="620"/>
                  </a:lnTo>
                  <a:lnTo>
                    <a:pt x="139" y="627"/>
                  </a:lnTo>
                  <a:lnTo>
                    <a:pt x="136" y="635"/>
                  </a:lnTo>
                  <a:lnTo>
                    <a:pt x="134" y="644"/>
                  </a:lnTo>
                  <a:lnTo>
                    <a:pt x="133" y="653"/>
                  </a:lnTo>
                  <a:lnTo>
                    <a:pt x="132" y="663"/>
                  </a:lnTo>
                  <a:lnTo>
                    <a:pt x="131" y="673"/>
                  </a:lnTo>
                  <a:lnTo>
                    <a:pt x="132" y="683"/>
                  </a:lnTo>
                  <a:lnTo>
                    <a:pt x="133" y="693"/>
                  </a:lnTo>
                  <a:lnTo>
                    <a:pt x="135" y="703"/>
                  </a:lnTo>
                  <a:lnTo>
                    <a:pt x="138" y="713"/>
                  </a:lnTo>
                  <a:lnTo>
                    <a:pt x="141" y="723"/>
                  </a:lnTo>
                  <a:lnTo>
                    <a:pt x="145" y="732"/>
                  </a:lnTo>
                  <a:close/>
                  <a:moveTo>
                    <a:pt x="152" y="622"/>
                  </a:moveTo>
                  <a:lnTo>
                    <a:pt x="152" y="648"/>
                  </a:lnTo>
                  <a:lnTo>
                    <a:pt x="153" y="674"/>
                  </a:lnTo>
                  <a:lnTo>
                    <a:pt x="154" y="729"/>
                  </a:lnTo>
                  <a:lnTo>
                    <a:pt x="158" y="716"/>
                  </a:lnTo>
                  <a:lnTo>
                    <a:pt x="160" y="703"/>
                  </a:lnTo>
                  <a:lnTo>
                    <a:pt x="161" y="689"/>
                  </a:lnTo>
                  <a:lnTo>
                    <a:pt x="162" y="675"/>
                  </a:lnTo>
                  <a:lnTo>
                    <a:pt x="161" y="661"/>
                  </a:lnTo>
                  <a:lnTo>
                    <a:pt x="160" y="655"/>
                  </a:lnTo>
                  <a:lnTo>
                    <a:pt x="159" y="648"/>
                  </a:lnTo>
                  <a:lnTo>
                    <a:pt x="158" y="641"/>
                  </a:lnTo>
                  <a:lnTo>
                    <a:pt x="156" y="635"/>
                  </a:lnTo>
                  <a:lnTo>
                    <a:pt x="152" y="622"/>
                  </a:lnTo>
                  <a:close/>
                  <a:moveTo>
                    <a:pt x="200" y="216"/>
                  </a:moveTo>
                  <a:lnTo>
                    <a:pt x="191" y="239"/>
                  </a:lnTo>
                  <a:lnTo>
                    <a:pt x="184" y="263"/>
                  </a:lnTo>
                  <a:lnTo>
                    <a:pt x="178" y="287"/>
                  </a:lnTo>
                  <a:lnTo>
                    <a:pt x="175" y="298"/>
                  </a:lnTo>
                  <a:lnTo>
                    <a:pt x="172" y="310"/>
                  </a:lnTo>
                  <a:lnTo>
                    <a:pt x="167" y="334"/>
                  </a:lnTo>
                  <a:lnTo>
                    <a:pt x="163" y="358"/>
                  </a:lnTo>
                  <a:lnTo>
                    <a:pt x="159" y="383"/>
                  </a:lnTo>
                  <a:lnTo>
                    <a:pt x="156" y="409"/>
                  </a:lnTo>
                  <a:lnTo>
                    <a:pt x="154" y="430"/>
                  </a:lnTo>
                  <a:lnTo>
                    <a:pt x="153" y="449"/>
                  </a:lnTo>
                  <a:lnTo>
                    <a:pt x="152" y="467"/>
                  </a:lnTo>
                  <a:lnTo>
                    <a:pt x="152" y="485"/>
                  </a:lnTo>
                  <a:lnTo>
                    <a:pt x="152" y="561"/>
                  </a:lnTo>
                  <a:lnTo>
                    <a:pt x="152" y="599"/>
                  </a:lnTo>
                  <a:lnTo>
                    <a:pt x="156" y="608"/>
                  </a:lnTo>
                  <a:lnTo>
                    <a:pt x="160" y="618"/>
                  </a:lnTo>
                  <a:lnTo>
                    <a:pt x="163" y="627"/>
                  </a:lnTo>
                  <a:lnTo>
                    <a:pt x="166" y="637"/>
                  </a:lnTo>
                  <a:lnTo>
                    <a:pt x="170" y="656"/>
                  </a:lnTo>
                  <a:lnTo>
                    <a:pt x="171" y="676"/>
                  </a:lnTo>
                  <a:lnTo>
                    <a:pt x="170" y="696"/>
                  </a:lnTo>
                  <a:lnTo>
                    <a:pt x="167" y="716"/>
                  </a:lnTo>
                  <a:lnTo>
                    <a:pt x="165" y="725"/>
                  </a:lnTo>
                  <a:lnTo>
                    <a:pt x="162" y="735"/>
                  </a:lnTo>
                  <a:lnTo>
                    <a:pt x="159" y="745"/>
                  </a:lnTo>
                  <a:lnTo>
                    <a:pt x="155" y="754"/>
                  </a:lnTo>
                  <a:lnTo>
                    <a:pt x="153" y="755"/>
                  </a:lnTo>
                  <a:lnTo>
                    <a:pt x="151" y="755"/>
                  </a:lnTo>
                  <a:lnTo>
                    <a:pt x="149" y="755"/>
                  </a:lnTo>
                  <a:lnTo>
                    <a:pt x="147" y="754"/>
                  </a:lnTo>
                  <a:lnTo>
                    <a:pt x="140" y="743"/>
                  </a:lnTo>
                  <a:lnTo>
                    <a:pt x="135" y="731"/>
                  </a:lnTo>
                  <a:lnTo>
                    <a:pt x="132" y="724"/>
                  </a:lnTo>
                  <a:lnTo>
                    <a:pt x="130" y="718"/>
                  </a:lnTo>
                  <a:lnTo>
                    <a:pt x="126" y="705"/>
                  </a:lnTo>
                  <a:lnTo>
                    <a:pt x="123" y="692"/>
                  </a:lnTo>
                  <a:lnTo>
                    <a:pt x="122" y="678"/>
                  </a:lnTo>
                  <a:lnTo>
                    <a:pt x="122" y="665"/>
                  </a:lnTo>
                  <a:lnTo>
                    <a:pt x="122" y="658"/>
                  </a:lnTo>
                  <a:lnTo>
                    <a:pt x="123" y="652"/>
                  </a:lnTo>
                  <a:lnTo>
                    <a:pt x="126" y="638"/>
                  </a:lnTo>
                  <a:lnTo>
                    <a:pt x="128" y="631"/>
                  </a:lnTo>
                  <a:lnTo>
                    <a:pt x="130" y="625"/>
                  </a:lnTo>
                  <a:lnTo>
                    <a:pt x="135" y="613"/>
                  </a:lnTo>
                  <a:lnTo>
                    <a:pt x="138" y="607"/>
                  </a:lnTo>
                  <a:lnTo>
                    <a:pt x="142" y="601"/>
                  </a:lnTo>
                  <a:lnTo>
                    <a:pt x="143" y="561"/>
                  </a:lnTo>
                  <a:lnTo>
                    <a:pt x="143" y="484"/>
                  </a:lnTo>
                  <a:lnTo>
                    <a:pt x="143" y="467"/>
                  </a:lnTo>
                  <a:lnTo>
                    <a:pt x="144" y="448"/>
                  </a:lnTo>
                  <a:lnTo>
                    <a:pt x="145" y="429"/>
                  </a:lnTo>
                  <a:lnTo>
                    <a:pt x="147" y="408"/>
                  </a:lnTo>
                  <a:lnTo>
                    <a:pt x="150" y="382"/>
                  </a:lnTo>
                  <a:lnTo>
                    <a:pt x="154" y="357"/>
                  </a:lnTo>
                  <a:lnTo>
                    <a:pt x="158" y="332"/>
                  </a:lnTo>
                  <a:lnTo>
                    <a:pt x="163" y="308"/>
                  </a:lnTo>
                  <a:lnTo>
                    <a:pt x="168" y="284"/>
                  </a:lnTo>
                  <a:lnTo>
                    <a:pt x="175" y="261"/>
                  </a:lnTo>
                  <a:lnTo>
                    <a:pt x="182" y="237"/>
                  </a:lnTo>
                  <a:lnTo>
                    <a:pt x="191" y="212"/>
                  </a:lnTo>
                  <a:lnTo>
                    <a:pt x="189" y="211"/>
                  </a:lnTo>
                  <a:lnTo>
                    <a:pt x="4" y="155"/>
                  </a:lnTo>
                  <a:lnTo>
                    <a:pt x="3" y="154"/>
                  </a:lnTo>
                  <a:lnTo>
                    <a:pt x="2" y="154"/>
                  </a:lnTo>
                  <a:lnTo>
                    <a:pt x="1" y="152"/>
                  </a:lnTo>
                  <a:lnTo>
                    <a:pt x="0" y="150"/>
                  </a:lnTo>
                  <a:lnTo>
                    <a:pt x="1" y="149"/>
                  </a:lnTo>
                  <a:lnTo>
                    <a:pt x="1" y="147"/>
                  </a:lnTo>
                  <a:lnTo>
                    <a:pt x="3" y="146"/>
                  </a:lnTo>
                  <a:lnTo>
                    <a:pt x="4" y="145"/>
                  </a:lnTo>
                  <a:lnTo>
                    <a:pt x="6" y="145"/>
                  </a:lnTo>
                  <a:lnTo>
                    <a:pt x="164" y="193"/>
                  </a:lnTo>
                  <a:lnTo>
                    <a:pt x="147" y="182"/>
                  </a:lnTo>
                  <a:lnTo>
                    <a:pt x="129" y="173"/>
                  </a:lnTo>
                  <a:lnTo>
                    <a:pt x="111" y="163"/>
                  </a:lnTo>
                  <a:lnTo>
                    <a:pt x="102" y="159"/>
                  </a:lnTo>
                  <a:lnTo>
                    <a:pt x="93" y="155"/>
                  </a:lnTo>
                  <a:lnTo>
                    <a:pt x="74" y="148"/>
                  </a:lnTo>
                  <a:lnTo>
                    <a:pt x="65" y="145"/>
                  </a:lnTo>
                  <a:lnTo>
                    <a:pt x="55" y="142"/>
                  </a:lnTo>
                  <a:lnTo>
                    <a:pt x="35" y="136"/>
                  </a:lnTo>
                  <a:lnTo>
                    <a:pt x="16" y="132"/>
                  </a:lnTo>
                  <a:lnTo>
                    <a:pt x="14" y="131"/>
                  </a:lnTo>
                  <a:lnTo>
                    <a:pt x="12" y="130"/>
                  </a:lnTo>
                  <a:lnTo>
                    <a:pt x="12" y="128"/>
                  </a:lnTo>
                  <a:lnTo>
                    <a:pt x="12" y="126"/>
                  </a:lnTo>
                  <a:lnTo>
                    <a:pt x="12" y="125"/>
                  </a:lnTo>
                  <a:lnTo>
                    <a:pt x="14" y="123"/>
                  </a:lnTo>
                  <a:lnTo>
                    <a:pt x="15" y="123"/>
                  </a:lnTo>
                  <a:lnTo>
                    <a:pt x="17" y="123"/>
                  </a:lnTo>
                  <a:lnTo>
                    <a:pt x="44" y="129"/>
                  </a:lnTo>
                  <a:lnTo>
                    <a:pt x="58" y="133"/>
                  </a:lnTo>
                  <a:lnTo>
                    <a:pt x="71" y="137"/>
                  </a:lnTo>
                  <a:lnTo>
                    <a:pt x="84" y="141"/>
                  </a:lnTo>
                  <a:lnTo>
                    <a:pt x="96" y="146"/>
                  </a:lnTo>
                  <a:lnTo>
                    <a:pt x="109" y="152"/>
                  </a:lnTo>
                  <a:lnTo>
                    <a:pt x="122" y="158"/>
                  </a:lnTo>
                  <a:lnTo>
                    <a:pt x="28" y="88"/>
                  </a:lnTo>
                  <a:lnTo>
                    <a:pt x="27" y="87"/>
                  </a:lnTo>
                  <a:lnTo>
                    <a:pt x="26" y="85"/>
                  </a:lnTo>
                  <a:lnTo>
                    <a:pt x="27" y="83"/>
                  </a:lnTo>
                  <a:lnTo>
                    <a:pt x="27" y="82"/>
                  </a:lnTo>
                  <a:lnTo>
                    <a:pt x="29" y="81"/>
                  </a:lnTo>
                  <a:lnTo>
                    <a:pt x="30" y="80"/>
                  </a:lnTo>
                  <a:lnTo>
                    <a:pt x="32" y="80"/>
                  </a:lnTo>
                  <a:lnTo>
                    <a:pt x="34" y="81"/>
                  </a:lnTo>
                  <a:lnTo>
                    <a:pt x="176" y="186"/>
                  </a:lnTo>
                  <a:lnTo>
                    <a:pt x="161" y="166"/>
                  </a:lnTo>
                  <a:lnTo>
                    <a:pt x="145" y="147"/>
                  </a:lnTo>
                  <a:lnTo>
                    <a:pt x="137" y="138"/>
                  </a:lnTo>
                  <a:lnTo>
                    <a:pt x="128" y="129"/>
                  </a:lnTo>
                  <a:lnTo>
                    <a:pt x="120" y="120"/>
                  </a:lnTo>
                  <a:lnTo>
                    <a:pt x="111" y="111"/>
                  </a:lnTo>
                  <a:lnTo>
                    <a:pt x="92" y="95"/>
                  </a:lnTo>
                  <a:lnTo>
                    <a:pt x="72" y="80"/>
                  </a:lnTo>
                  <a:lnTo>
                    <a:pt x="62" y="72"/>
                  </a:lnTo>
                  <a:lnTo>
                    <a:pt x="52" y="65"/>
                  </a:lnTo>
                  <a:lnTo>
                    <a:pt x="41" y="59"/>
                  </a:lnTo>
                  <a:lnTo>
                    <a:pt x="30" y="53"/>
                  </a:lnTo>
                  <a:lnTo>
                    <a:pt x="28" y="51"/>
                  </a:lnTo>
                  <a:lnTo>
                    <a:pt x="28" y="50"/>
                  </a:lnTo>
                  <a:lnTo>
                    <a:pt x="27" y="49"/>
                  </a:lnTo>
                  <a:lnTo>
                    <a:pt x="27" y="48"/>
                  </a:lnTo>
                  <a:lnTo>
                    <a:pt x="28" y="46"/>
                  </a:lnTo>
                  <a:lnTo>
                    <a:pt x="29" y="45"/>
                  </a:lnTo>
                  <a:lnTo>
                    <a:pt x="30" y="44"/>
                  </a:lnTo>
                  <a:lnTo>
                    <a:pt x="32" y="44"/>
                  </a:lnTo>
                  <a:lnTo>
                    <a:pt x="34" y="44"/>
                  </a:lnTo>
                  <a:lnTo>
                    <a:pt x="53" y="55"/>
                  </a:lnTo>
                  <a:lnTo>
                    <a:pt x="71" y="67"/>
                  </a:lnTo>
                  <a:lnTo>
                    <a:pt x="88" y="79"/>
                  </a:lnTo>
                  <a:lnTo>
                    <a:pt x="104" y="92"/>
                  </a:lnTo>
                  <a:lnTo>
                    <a:pt x="119" y="106"/>
                  </a:lnTo>
                  <a:lnTo>
                    <a:pt x="134" y="121"/>
                  </a:lnTo>
                  <a:lnTo>
                    <a:pt x="148" y="136"/>
                  </a:lnTo>
                  <a:lnTo>
                    <a:pt x="155" y="144"/>
                  </a:lnTo>
                  <a:lnTo>
                    <a:pt x="162" y="152"/>
                  </a:lnTo>
                  <a:lnTo>
                    <a:pt x="125" y="85"/>
                  </a:lnTo>
                  <a:lnTo>
                    <a:pt x="115" y="79"/>
                  </a:lnTo>
                  <a:lnTo>
                    <a:pt x="103" y="74"/>
                  </a:lnTo>
                  <a:lnTo>
                    <a:pt x="101" y="72"/>
                  </a:lnTo>
                  <a:lnTo>
                    <a:pt x="100" y="71"/>
                  </a:lnTo>
                  <a:lnTo>
                    <a:pt x="100" y="69"/>
                  </a:lnTo>
                  <a:lnTo>
                    <a:pt x="100" y="67"/>
                  </a:lnTo>
                  <a:lnTo>
                    <a:pt x="101" y="66"/>
                  </a:lnTo>
                  <a:lnTo>
                    <a:pt x="103" y="65"/>
                  </a:lnTo>
                  <a:lnTo>
                    <a:pt x="105" y="65"/>
                  </a:lnTo>
                  <a:lnTo>
                    <a:pt x="107" y="65"/>
                  </a:lnTo>
                  <a:lnTo>
                    <a:pt x="117" y="70"/>
                  </a:lnTo>
                  <a:lnTo>
                    <a:pt x="91" y="23"/>
                  </a:lnTo>
                  <a:lnTo>
                    <a:pt x="90" y="21"/>
                  </a:lnTo>
                  <a:lnTo>
                    <a:pt x="91" y="19"/>
                  </a:lnTo>
                  <a:lnTo>
                    <a:pt x="92" y="18"/>
                  </a:lnTo>
                  <a:lnTo>
                    <a:pt x="93" y="16"/>
                  </a:lnTo>
                  <a:lnTo>
                    <a:pt x="95" y="16"/>
                  </a:lnTo>
                  <a:lnTo>
                    <a:pt x="96" y="16"/>
                  </a:lnTo>
                  <a:lnTo>
                    <a:pt x="98" y="17"/>
                  </a:lnTo>
                  <a:lnTo>
                    <a:pt x="99" y="18"/>
                  </a:lnTo>
                  <a:lnTo>
                    <a:pt x="133" y="80"/>
                  </a:lnTo>
                  <a:lnTo>
                    <a:pt x="142" y="86"/>
                  </a:lnTo>
                  <a:lnTo>
                    <a:pt x="150" y="93"/>
                  </a:lnTo>
                  <a:lnTo>
                    <a:pt x="158" y="101"/>
                  </a:lnTo>
                  <a:lnTo>
                    <a:pt x="166" y="109"/>
                  </a:lnTo>
                  <a:lnTo>
                    <a:pt x="169" y="114"/>
                  </a:lnTo>
                  <a:lnTo>
                    <a:pt x="173" y="118"/>
                  </a:lnTo>
                  <a:lnTo>
                    <a:pt x="179" y="128"/>
                  </a:lnTo>
                  <a:lnTo>
                    <a:pt x="185" y="137"/>
                  </a:lnTo>
                  <a:lnTo>
                    <a:pt x="189" y="148"/>
                  </a:lnTo>
                  <a:lnTo>
                    <a:pt x="193" y="156"/>
                  </a:lnTo>
                  <a:lnTo>
                    <a:pt x="196" y="164"/>
                  </a:lnTo>
                  <a:lnTo>
                    <a:pt x="198" y="172"/>
                  </a:lnTo>
                  <a:lnTo>
                    <a:pt x="200" y="180"/>
                  </a:lnTo>
                  <a:lnTo>
                    <a:pt x="244" y="12"/>
                  </a:lnTo>
                  <a:lnTo>
                    <a:pt x="245" y="10"/>
                  </a:lnTo>
                  <a:lnTo>
                    <a:pt x="246" y="9"/>
                  </a:lnTo>
                  <a:lnTo>
                    <a:pt x="248" y="9"/>
                  </a:lnTo>
                  <a:lnTo>
                    <a:pt x="250" y="9"/>
                  </a:lnTo>
                  <a:lnTo>
                    <a:pt x="252" y="10"/>
                  </a:lnTo>
                  <a:lnTo>
                    <a:pt x="253" y="11"/>
                  </a:lnTo>
                  <a:lnTo>
                    <a:pt x="253" y="13"/>
                  </a:lnTo>
                  <a:lnTo>
                    <a:pt x="253" y="15"/>
                  </a:lnTo>
                  <a:lnTo>
                    <a:pt x="206" y="194"/>
                  </a:lnTo>
                  <a:lnTo>
                    <a:pt x="214" y="183"/>
                  </a:lnTo>
                  <a:lnTo>
                    <a:pt x="223" y="173"/>
                  </a:lnTo>
                  <a:lnTo>
                    <a:pt x="231" y="162"/>
                  </a:lnTo>
                  <a:lnTo>
                    <a:pt x="239" y="151"/>
                  </a:lnTo>
                  <a:lnTo>
                    <a:pt x="253" y="129"/>
                  </a:lnTo>
                  <a:lnTo>
                    <a:pt x="266" y="105"/>
                  </a:lnTo>
                  <a:lnTo>
                    <a:pt x="272" y="93"/>
                  </a:lnTo>
                  <a:lnTo>
                    <a:pt x="277" y="81"/>
                  </a:lnTo>
                  <a:lnTo>
                    <a:pt x="282" y="69"/>
                  </a:lnTo>
                  <a:lnTo>
                    <a:pt x="286" y="56"/>
                  </a:lnTo>
                  <a:lnTo>
                    <a:pt x="291" y="43"/>
                  </a:lnTo>
                  <a:lnTo>
                    <a:pt x="294" y="30"/>
                  </a:lnTo>
                  <a:lnTo>
                    <a:pt x="298" y="17"/>
                  </a:lnTo>
                  <a:lnTo>
                    <a:pt x="300" y="4"/>
                  </a:lnTo>
                  <a:lnTo>
                    <a:pt x="301" y="2"/>
                  </a:lnTo>
                  <a:lnTo>
                    <a:pt x="303" y="0"/>
                  </a:lnTo>
                  <a:lnTo>
                    <a:pt x="304" y="0"/>
                  </a:lnTo>
                  <a:lnTo>
                    <a:pt x="306" y="0"/>
                  </a:lnTo>
                  <a:lnTo>
                    <a:pt x="308" y="0"/>
                  </a:lnTo>
                  <a:lnTo>
                    <a:pt x="309" y="1"/>
                  </a:lnTo>
                  <a:lnTo>
                    <a:pt x="309" y="2"/>
                  </a:lnTo>
                  <a:lnTo>
                    <a:pt x="310" y="3"/>
                  </a:lnTo>
                  <a:lnTo>
                    <a:pt x="310" y="5"/>
                  </a:lnTo>
                  <a:lnTo>
                    <a:pt x="307" y="19"/>
                  </a:lnTo>
                  <a:lnTo>
                    <a:pt x="304" y="32"/>
                  </a:lnTo>
                  <a:lnTo>
                    <a:pt x="300" y="45"/>
                  </a:lnTo>
                  <a:lnTo>
                    <a:pt x="296" y="57"/>
                  </a:lnTo>
                  <a:lnTo>
                    <a:pt x="292" y="70"/>
                  </a:lnTo>
                  <a:lnTo>
                    <a:pt x="287" y="82"/>
                  </a:lnTo>
                  <a:lnTo>
                    <a:pt x="282" y="94"/>
                  </a:lnTo>
                  <a:lnTo>
                    <a:pt x="276" y="106"/>
                  </a:lnTo>
                  <a:lnTo>
                    <a:pt x="270" y="118"/>
                  </a:lnTo>
                  <a:lnTo>
                    <a:pt x="264" y="129"/>
                  </a:lnTo>
                  <a:lnTo>
                    <a:pt x="250" y="152"/>
                  </a:lnTo>
                  <a:lnTo>
                    <a:pt x="234" y="173"/>
                  </a:lnTo>
                  <a:lnTo>
                    <a:pt x="226" y="184"/>
                  </a:lnTo>
                  <a:lnTo>
                    <a:pt x="218" y="194"/>
                  </a:lnTo>
                  <a:lnTo>
                    <a:pt x="230" y="188"/>
                  </a:lnTo>
                  <a:lnTo>
                    <a:pt x="242" y="182"/>
                  </a:lnTo>
                  <a:lnTo>
                    <a:pt x="266" y="168"/>
                  </a:lnTo>
                  <a:lnTo>
                    <a:pt x="277" y="161"/>
                  </a:lnTo>
                  <a:lnTo>
                    <a:pt x="288" y="153"/>
                  </a:lnTo>
                  <a:lnTo>
                    <a:pt x="299" y="145"/>
                  </a:lnTo>
                  <a:lnTo>
                    <a:pt x="310" y="137"/>
                  </a:lnTo>
                  <a:lnTo>
                    <a:pt x="331" y="120"/>
                  </a:lnTo>
                  <a:lnTo>
                    <a:pt x="341" y="111"/>
                  </a:lnTo>
                  <a:lnTo>
                    <a:pt x="351" y="102"/>
                  </a:lnTo>
                  <a:lnTo>
                    <a:pt x="361" y="92"/>
                  </a:lnTo>
                  <a:lnTo>
                    <a:pt x="370" y="82"/>
                  </a:lnTo>
                  <a:lnTo>
                    <a:pt x="379" y="71"/>
                  </a:lnTo>
                  <a:lnTo>
                    <a:pt x="388" y="60"/>
                  </a:lnTo>
                  <a:lnTo>
                    <a:pt x="390" y="59"/>
                  </a:lnTo>
                  <a:lnTo>
                    <a:pt x="391" y="58"/>
                  </a:lnTo>
                  <a:lnTo>
                    <a:pt x="393" y="59"/>
                  </a:lnTo>
                  <a:lnTo>
                    <a:pt x="395" y="59"/>
                  </a:lnTo>
                  <a:lnTo>
                    <a:pt x="396" y="61"/>
                  </a:lnTo>
                  <a:lnTo>
                    <a:pt x="397" y="62"/>
                  </a:lnTo>
                  <a:lnTo>
                    <a:pt x="397" y="64"/>
                  </a:lnTo>
                  <a:lnTo>
                    <a:pt x="396" y="66"/>
                  </a:lnTo>
                  <a:lnTo>
                    <a:pt x="388" y="76"/>
                  </a:lnTo>
                  <a:lnTo>
                    <a:pt x="380" y="85"/>
                  </a:lnTo>
                  <a:lnTo>
                    <a:pt x="364" y="102"/>
                  </a:lnTo>
                  <a:lnTo>
                    <a:pt x="356" y="111"/>
                  </a:lnTo>
                  <a:lnTo>
                    <a:pt x="347" y="119"/>
                  </a:lnTo>
                  <a:lnTo>
                    <a:pt x="329" y="134"/>
                  </a:lnTo>
                  <a:lnTo>
                    <a:pt x="311" y="149"/>
                  </a:lnTo>
                  <a:lnTo>
                    <a:pt x="302" y="155"/>
                  </a:lnTo>
                  <a:lnTo>
                    <a:pt x="292" y="162"/>
                  </a:lnTo>
                  <a:lnTo>
                    <a:pt x="273" y="175"/>
                  </a:lnTo>
                  <a:lnTo>
                    <a:pt x="252" y="187"/>
                  </a:lnTo>
                  <a:lnTo>
                    <a:pt x="263" y="182"/>
                  </a:lnTo>
                  <a:lnTo>
                    <a:pt x="274" y="177"/>
                  </a:lnTo>
                  <a:lnTo>
                    <a:pt x="295" y="166"/>
                  </a:lnTo>
                  <a:lnTo>
                    <a:pt x="315" y="155"/>
                  </a:lnTo>
                  <a:lnTo>
                    <a:pt x="325" y="148"/>
                  </a:lnTo>
                  <a:lnTo>
                    <a:pt x="334" y="142"/>
                  </a:lnTo>
                  <a:lnTo>
                    <a:pt x="344" y="135"/>
                  </a:lnTo>
                  <a:lnTo>
                    <a:pt x="353" y="128"/>
                  </a:lnTo>
                  <a:lnTo>
                    <a:pt x="362" y="121"/>
                  </a:lnTo>
                  <a:lnTo>
                    <a:pt x="371" y="113"/>
                  </a:lnTo>
                  <a:lnTo>
                    <a:pt x="380" y="105"/>
                  </a:lnTo>
                  <a:lnTo>
                    <a:pt x="389" y="97"/>
                  </a:lnTo>
                  <a:lnTo>
                    <a:pt x="405" y="80"/>
                  </a:lnTo>
                  <a:lnTo>
                    <a:pt x="407" y="79"/>
                  </a:lnTo>
                  <a:lnTo>
                    <a:pt x="409" y="79"/>
                  </a:lnTo>
                  <a:lnTo>
                    <a:pt x="410" y="79"/>
                  </a:lnTo>
                  <a:lnTo>
                    <a:pt x="412" y="80"/>
                  </a:lnTo>
                  <a:lnTo>
                    <a:pt x="413" y="81"/>
                  </a:lnTo>
                  <a:lnTo>
                    <a:pt x="413" y="83"/>
                  </a:lnTo>
                  <a:lnTo>
                    <a:pt x="413" y="85"/>
                  </a:lnTo>
                  <a:lnTo>
                    <a:pt x="412" y="87"/>
                  </a:lnTo>
                  <a:lnTo>
                    <a:pt x="404" y="95"/>
                  </a:lnTo>
                  <a:lnTo>
                    <a:pt x="396" y="104"/>
                  </a:lnTo>
                  <a:lnTo>
                    <a:pt x="387" y="112"/>
                  </a:lnTo>
                  <a:lnTo>
                    <a:pt x="378" y="120"/>
                  </a:lnTo>
                  <a:lnTo>
                    <a:pt x="360" y="134"/>
                  </a:lnTo>
                  <a:lnTo>
                    <a:pt x="342" y="148"/>
                  </a:lnTo>
                  <a:lnTo>
                    <a:pt x="322" y="161"/>
                  </a:lnTo>
                  <a:lnTo>
                    <a:pt x="302" y="173"/>
                  </a:lnTo>
                  <a:lnTo>
                    <a:pt x="292" y="179"/>
                  </a:lnTo>
                  <a:lnTo>
                    <a:pt x="281" y="184"/>
                  </a:lnTo>
                  <a:lnTo>
                    <a:pt x="271" y="189"/>
                  </a:lnTo>
                  <a:lnTo>
                    <a:pt x="260" y="194"/>
                  </a:lnTo>
                  <a:lnTo>
                    <a:pt x="281" y="189"/>
                  </a:lnTo>
                  <a:lnTo>
                    <a:pt x="303" y="183"/>
                  </a:lnTo>
                  <a:lnTo>
                    <a:pt x="313" y="180"/>
                  </a:lnTo>
                  <a:lnTo>
                    <a:pt x="323" y="176"/>
                  </a:lnTo>
                  <a:lnTo>
                    <a:pt x="332" y="172"/>
                  </a:lnTo>
                  <a:lnTo>
                    <a:pt x="341" y="168"/>
                  </a:lnTo>
                  <a:lnTo>
                    <a:pt x="353" y="162"/>
                  </a:lnTo>
                  <a:lnTo>
                    <a:pt x="364" y="157"/>
                  </a:lnTo>
                  <a:lnTo>
                    <a:pt x="376" y="153"/>
                  </a:lnTo>
                  <a:lnTo>
                    <a:pt x="382" y="151"/>
                  </a:lnTo>
                  <a:lnTo>
                    <a:pt x="389" y="150"/>
                  </a:lnTo>
                  <a:lnTo>
                    <a:pt x="403" y="149"/>
                  </a:lnTo>
                  <a:lnTo>
                    <a:pt x="409" y="149"/>
                  </a:lnTo>
                  <a:lnTo>
                    <a:pt x="416" y="149"/>
                  </a:lnTo>
                  <a:lnTo>
                    <a:pt x="428" y="151"/>
                  </a:lnTo>
                  <a:lnTo>
                    <a:pt x="441" y="154"/>
                  </a:lnTo>
                  <a:lnTo>
                    <a:pt x="443" y="155"/>
                  </a:lnTo>
                  <a:lnTo>
                    <a:pt x="444" y="156"/>
                  </a:lnTo>
                  <a:lnTo>
                    <a:pt x="445" y="158"/>
                  </a:lnTo>
                  <a:lnTo>
                    <a:pt x="445" y="160"/>
                  </a:lnTo>
                  <a:lnTo>
                    <a:pt x="444" y="161"/>
                  </a:lnTo>
                  <a:lnTo>
                    <a:pt x="443" y="162"/>
                  </a:lnTo>
                  <a:lnTo>
                    <a:pt x="441" y="163"/>
                  </a:lnTo>
                  <a:lnTo>
                    <a:pt x="439" y="163"/>
                  </a:lnTo>
                  <a:lnTo>
                    <a:pt x="428" y="161"/>
                  </a:lnTo>
                  <a:lnTo>
                    <a:pt x="418" y="159"/>
                  </a:lnTo>
                  <a:lnTo>
                    <a:pt x="408" y="158"/>
                  </a:lnTo>
                  <a:lnTo>
                    <a:pt x="399" y="159"/>
                  </a:lnTo>
                  <a:lnTo>
                    <a:pt x="394" y="159"/>
                  </a:lnTo>
                  <a:lnTo>
                    <a:pt x="389" y="160"/>
                  </a:lnTo>
                  <a:lnTo>
                    <a:pt x="379" y="162"/>
                  </a:lnTo>
                  <a:lnTo>
                    <a:pt x="370" y="165"/>
                  </a:lnTo>
                  <a:lnTo>
                    <a:pt x="360" y="169"/>
                  </a:lnTo>
                  <a:lnTo>
                    <a:pt x="344" y="177"/>
                  </a:lnTo>
                  <a:lnTo>
                    <a:pt x="336" y="181"/>
                  </a:lnTo>
                  <a:lnTo>
                    <a:pt x="328" y="184"/>
                  </a:lnTo>
                  <a:lnTo>
                    <a:pt x="300" y="193"/>
                  </a:lnTo>
                  <a:lnTo>
                    <a:pt x="275" y="200"/>
                  </a:lnTo>
                  <a:lnTo>
                    <a:pt x="438" y="193"/>
                  </a:lnTo>
                  <a:lnTo>
                    <a:pt x="440" y="193"/>
                  </a:lnTo>
                  <a:lnTo>
                    <a:pt x="441" y="194"/>
                  </a:lnTo>
                  <a:lnTo>
                    <a:pt x="442" y="196"/>
                  </a:lnTo>
                  <a:lnTo>
                    <a:pt x="443" y="197"/>
                  </a:lnTo>
                  <a:lnTo>
                    <a:pt x="443" y="199"/>
                  </a:lnTo>
                  <a:lnTo>
                    <a:pt x="442" y="201"/>
                  </a:lnTo>
                  <a:lnTo>
                    <a:pt x="440" y="202"/>
                  </a:lnTo>
                  <a:lnTo>
                    <a:pt x="438" y="202"/>
                  </a:lnTo>
                  <a:lnTo>
                    <a:pt x="310" y="208"/>
                  </a:lnTo>
                  <a:lnTo>
                    <a:pt x="420" y="212"/>
                  </a:lnTo>
                  <a:lnTo>
                    <a:pt x="422" y="213"/>
                  </a:lnTo>
                  <a:lnTo>
                    <a:pt x="423" y="214"/>
                  </a:lnTo>
                  <a:lnTo>
                    <a:pt x="424" y="216"/>
                  </a:lnTo>
                  <a:lnTo>
                    <a:pt x="424" y="217"/>
                  </a:lnTo>
                  <a:lnTo>
                    <a:pt x="424" y="219"/>
                  </a:lnTo>
                  <a:lnTo>
                    <a:pt x="423" y="221"/>
                  </a:lnTo>
                  <a:lnTo>
                    <a:pt x="421" y="222"/>
                  </a:lnTo>
                  <a:lnTo>
                    <a:pt x="419" y="222"/>
                  </a:lnTo>
                  <a:lnTo>
                    <a:pt x="229" y="214"/>
                  </a:lnTo>
                  <a:lnTo>
                    <a:pt x="378" y="264"/>
                  </a:lnTo>
                  <a:lnTo>
                    <a:pt x="380" y="265"/>
                  </a:lnTo>
                  <a:lnTo>
                    <a:pt x="381" y="267"/>
                  </a:lnTo>
                  <a:lnTo>
                    <a:pt x="382" y="268"/>
                  </a:lnTo>
                  <a:lnTo>
                    <a:pt x="381" y="270"/>
                  </a:lnTo>
                  <a:lnTo>
                    <a:pt x="380" y="272"/>
                  </a:lnTo>
                  <a:lnTo>
                    <a:pt x="379" y="273"/>
                  </a:lnTo>
                  <a:lnTo>
                    <a:pt x="377" y="273"/>
                  </a:lnTo>
                  <a:lnTo>
                    <a:pt x="375" y="273"/>
                  </a:lnTo>
                  <a:lnTo>
                    <a:pt x="232" y="225"/>
                  </a:lnTo>
                  <a:lnTo>
                    <a:pt x="309" y="279"/>
                  </a:lnTo>
                  <a:lnTo>
                    <a:pt x="310" y="281"/>
                  </a:lnTo>
                  <a:lnTo>
                    <a:pt x="311" y="283"/>
                  </a:lnTo>
                  <a:lnTo>
                    <a:pt x="310" y="284"/>
                  </a:lnTo>
                  <a:lnTo>
                    <a:pt x="310" y="286"/>
                  </a:lnTo>
                  <a:lnTo>
                    <a:pt x="308" y="287"/>
                  </a:lnTo>
                  <a:lnTo>
                    <a:pt x="307" y="288"/>
                  </a:lnTo>
                  <a:lnTo>
                    <a:pt x="305" y="288"/>
                  </a:lnTo>
                  <a:lnTo>
                    <a:pt x="303" y="287"/>
                  </a:lnTo>
                  <a:lnTo>
                    <a:pt x="249" y="249"/>
                  </a:lnTo>
                  <a:lnTo>
                    <a:pt x="298" y="295"/>
                  </a:lnTo>
                  <a:lnTo>
                    <a:pt x="300" y="297"/>
                  </a:lnTo>
                  <a:lnTo>
                    <a:pt x="300" y="299"/>
                  </a:lnTo>
                  <a:lnTo>
                    <a:pt x="300" y="301"/>
                  </a:lnTo>
                  <a:lnTo>
                    <a:pt x="299" y="302"/>
                  </a:lnTo>
                  <a:lnTo>
                    <a:pt x="297" y="303"/>
                  </a:lnTo>
                  <a:lnTo>
                    <a:pt x="296" y="304"/>
                  </a:lnTo>
                  <a:lnTo>
                    <a:pt x="294" y="304"/>
                  </a:lnTo>
                  <a:lnTo>
                    <a:pt x="293" y="303"/>
                  </a:lnTo>
                  <a:lnTo>
                    <a:pt x="292" y="302"/>
                  </a:lnTo>
                  <a:lnTo>
                    <a:pt x="200"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1955"/>
            <p:cNvSpPr>
              <a:spLocks noEditPoints="1"/>
            </p:cNvSpPr>
            <p:nvPr userDrawn="1"/>
          </p:nvSpPr>
          <p:spPr bwMode="auto">
            <a:xfrm>
              <a:off x="7497763" y="2867397"/>
              <a:ext cx="1082675" cy="903288"/>
            </a:xfrm>
            <a:custGeom>
              <a:avLst/>
              <a:gdLst>
                <a:gd name="T0" fmla="*/ 478 w 682"/>
                <a:gd name="T1" fmla="*/ 163 h 569"/>
                <a:gd name="T2" fmla="*/ 56 w 682"/>
                <a:gd name="T3" fmla="*/ 508 h 569"/>
                <a:gd name="T4" fmla="*/ 50 w 682"/>
                <a:gd name="T5" fmla="*/ 497 h 569"/>
                <a:gd name="T6" fmla="*/ 101 w 682"/>
                <a:gd name="T7" fmla="*/ 479 h 569"/>
                <a:gd name="T8" fmla="*/ 63 w 682"/>
                <a:gd name="T9" fmla="*/ 526 h 569"/>
                <a:gd name="T10" fmla="*/ 98 w 682"/>
                <a:gd name="T11" fmla="*/ 485 h 569"/>
                <a:gd name="T12" fmla="*/ 343 w 682"/>
                <a:gd name="T13" fmla="*/ 287 h 569"/>
                <a:gd name="T14" fmla="*/ 230 w 682"/>
                <a:gd name="T15" fmla="*/ 365 h 569"/>
                <a:gd name="T16" fmla="*/ 100 w 682"/>
                <a:gd name="T17" fmla="*/ 499 h 569"/>
                <a:gd name="T18" fmla="*/ 59 w 682"/>
                <a:gd name="T19" fmla="*/ 542 h 569"/>
                <a:gd name="T20" fmla="*/ 3 w 682"/>
                <a:gd name="T21" fmla="*/ 568 h 569"/>
                <a:gd name="T22" fmla="*/ 19 w 682"/>
                <a:gd name="T23" fmla="*/ 521 h 569"/>
                <a:gd name="T24" fmla="*/ 60 w 682"/>
                <a:gd name="T25" fmla="*/ 477 h 569"/>
                <a:gd name="T26" fmla="*/ 111 w 682"/>
                <a:gd name="T27" fmla="*/ 458 h 569"/>
                <a:gd name="T28" fmla="*/ 279 w 682"/>
                <a:gd name="T29" fmla="*/ 315 h 569"/>
                <a:gd name="T30" fmla="*/ 384 w 682"/>
                <a:gd name="T31" fmla="*/ 254 h 569"/>
                <a:gd name="T32" fmla="*/ 350 w 682"/>
                <a:gd name="T33" fmla="*/ 52 h 569"/>
                <a:gd name="T34" fmla="*/ 428 w 682"/>
                <a:gd name="T35" fmla="*/ 201 h 569"/>
                <a:gd name="T36" fmla="*/ 394 w 682"/>
                <a:gd name="T37" fmla="*/ 85 h 569"/>
                <a:gd name="T38" fmla="*/ 378 w 682"/>
                <a:gd name="T39" fmla="*/ 42 h 569"/>
                <a:gd name="T40" fmla="*/ 408 w 682"/>
                <a:gd name="T41" fmla="*/ 94 h 569"/>
                <a:gd name="T42" fmla="*/ 418 w 682"/>
                <a:gd name="T43" fmla="*/ 25 h 569"/>
                <a:gd name="T44" fmla="*/ 441 w 682"/>
                <a:gd name="T45" fmla="*/ 205 h 569"/>
                <a:gd name="T46" fmla="*/ 453 w 682"/>
                <a:gd name="T47" fmla="*/ 81 h 569"/>
                <a:gd name="T48" fmla="*/ 443 w 682"/>
                <a:gd name="T49" fmla="*/ 4 h 569"/>
                <a:gd name="T50" fmla="*/ 451 w 682"/>
                <a:gd name="T51" fmla="*/ 2 h 569"/>
                <a:gd name="T52" fmla="*/ 462 w 682"/>
                <a:gd name="T53" fmla="*/ 68 h 569"/>
                <a:gd name="T54" fmla="*/ 480 w 682"/>
                <a:gd name="T55" fmla="*/ 88 h 569"/>
                <a:gd name="T56" fmla="*/ 484 w 682"/>
                <a:gd name="T57" fmla="*/ 70 h 569"/>
                <a:gd name="T58" fmla="*/ 512 w 682"/>
                <a:gd name="T59" fmla="*/ 30 h 569"/>
                <a:gd name="T60" fmla="*/ 493 w 682"/>
                <a:gd name="T61" fmla="*/ 118 h 569"/>
                <a:gd name="T62" fmla="*/ 479 w 682"/>
                <a:gd name="T63" fmla="*/ 189 h 569"/>
                <a:gd name="T64" fmla="*/ 620 w 682"/>
                <a:gd name="T65" fmla="*/ 139 h 569"/>
                <a:gd name="T66" fmla="*/ 456 w 682"/>
                <a:gd name="T67" fmla="*/ 232 h 569"/>
                <a:gd name="T68" fmla="*/ 574 w 682"/>
                <a:gd name="T69" fmla="*/ 214 h 569"/>
                <a:gd name="T70" fmla="*/ 660 w 682"/>
                <a:gd name="T71" fmla="*/ 175 h 569"/>
                <a:gd name="T72" fmla="*/ 667 w 682"/>
                <a:gd name="T73" fmla="*/ 182 h 569"/>
                <a:gd name="T74" fmla="*/ 593 w 682"/>
                <a:gd name="T75" fmla="*/ 218 h 569"/>
                <a:gd name="T76" fmla="*/ 490 w 682"/>
                <a:gd name="T77" fmla="*/ 240 h 569"/>
                <a:gd name="T78" fmla="*/ 568 w 682"/>
                <a:gd name="T79" fmla="*/ 272 h 569"/>
                <a:gd name="T80" fmla="*/ 677 w 682"/>
                <a:gd name="T81" fmla="*/ 278 h 569"/>
                <a:gd name="T82" fmla="*/ 680 w 682"/>
                <a:gd name="T83" fmla="*/ 287 h 569"/>
                <a:gd name="T84" fmla="*/ 571 w 682"/>
                <a:gd name="T85" fmla="*/ 282 h 569"/>
                <a:gd name="T86" fmla="*/ 536 w 682"/>
                <a:gd name="T87" fmla="*/ 280 h 569"/>
                <a:gd name="T88" fmla="*/ 650 w 682"/>
                <a:gd name="T89" fmla="*/ 303 h 569"/>
                <a:gd name="T90" fmla="*/ 677 w 682"/>
                <a:gd name="T91" fmla="*/ 312 h 569"/>
                <a:gd name="T92" fmla="*/ 603 w 682"/>
                <a:gd name="T93" fmla="*/ 307 h 569"/>
                <a:gd name="T94" fmla="*/ 510 w 682"/>
                <a:gd name="T95" fmla="*/ 285 h 569"/>
                <a:gd name="T96" fmla="*/ 600 w 682"/>
                <a:gd name="T97" fmla="*/ 331 h 569"/>
                <a:gd name="T98" fmla="*/ 643 w 682"/>
                <a:gd name="T99" fmla="*/ 380 h 569"/>
                <a:gd name="T100" fmla="*/ 636 w 682"/>
                <a:gd name="T101" fmla="*/ 386 h 569"/>
                <a:gd name="T102" fmla="*/ 604 w 682"/>
                <a:gd name="T103" fmla="*/ 345 h 569"/>
                <a:gd name="T104" fmla="*/ 520 w 682"/>
                <a:gd name="T105" fmla="*/ 302 h 569"/>
                <a:gd name="T106" fmla="*/ 610 w 682"/>
                <a:gd name="T107" fmla="*/ 412 h 569"/>
                <a:gd name="T108" fmla="*/ 586 w 682"/>
                <a:gd name="T109" fmla="*/ 407 h 569"/>
                <a:gd name="T110" fmla="*/ 456 w 682"/>
                <a:gd name="T111" fmla="*/ 263 h 569"/>
                <a:gd name="T112" fmla="*/ 513 w 682"/>
                <a:gd name="T113" fmla="*/ 414 h 569"/>
                <a:gd name="T114" fmla="*/ 458 w 682"/>
                <a:gd name="T115" fmla="*/ 370 h 569"/>
                <a:gd name="T116" fmla="*/ 444 w 682"/>
                <a:gd name="T117" fmla="*/ 301 h 569"/>
                <a:gd name="T118" fmla="*/ 434 w 682"/>
                <a:gd name="T119" fmla="*/ 372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69">
                  <a:moveTo>
                    <a:pt x="452" y="215"/>
                  </a:moveTo>
                  <a:lnTo>
                    <a:pt x="458" y="207"/>
                  </a:lnTo>
                  <a:lnTo>
                    <a:pt x="463" y="199"/>
                  </a:lnTo>
                  <a:lnTo>
                    <a:pt x="468" y="190"/>
                  </a:lnTo>
                  <a:lnTo>
                    <a:pt x="472" y="182"/>
                  </a:lnTo>
                  <a:lnTo>
                    <a:pt x="476" y="172"/>
                  </a:lnTo>
                  <a:lnTo>
                    <a:pt x="478" y="163"/>
                  </a:lnTo>
                  <a:lnTo>
                    <a:pt x="481" y="153"/>
                  </a:lnTo>
                  <a:lnTo>
                    <a:pt x="482" y="143"/>
                  </a:lnTo>
                  <a:lnTo>
                    <a:pt x="483" y="133"/>
                  </a:lnTo>
                  <a:lnTo>
                    <a:pt x="484" y="124"/>
                  </a:lnTo>
                  <a:lnTo>
                    <a:pt x="452" y="215"/>
                  </a:lnTo>
                  <a:close/>
                  <a:moveTo>
                    <a:pt x="15" y="547"/>
                  </a:moveTo>
                  <a:lnTo>
                    <a:pt x="56" y="508"/>
                  </a:lnTo>
                  <a:lnTo>
                    <a:pt x="97" y="470"/>
                  </a:lnTo>
                  <a:lnTo>
                    <a:pt x="89" y="473"/>
                  </a:lnTo>
                  <a:lnTo>
                    <a:pt x="81" y="476"/>
                  </a:lnTo>
                  <a:lnTo>
                    <a:pt x="74" y="480"/>
                  </a:lnTo>
                  <a:lnTo>
                    <a:pt x="65" y="485"/>
                  </a:lnTo>
                  <a:lnTo>
                    <a:pt x="57" y="491"/>
                  </a:lnTo>
                  <a:lnTo>
                    <a:pt x="50" y="497"/>
                  </a:lnTo>
                  <a:lnTo>
                    <a:pt x="43" y="505"/>
                  </a:lnTo>
                  <a:lnTo>
                    <a:pt x="36" y="512"/>
                  </a:lnTo>
                  <a:lnTo>
                    <a:pt x="30" y="520"/>
                  </a:lnTo>
                  <a:lnTo>
                    <a:pt x="24" y="529"/>
                  </a:lnTo>
                  <a:lnTo>
                    <a:pt x="19" y="538"/>
                  </a:lnTo>
                  <a:lnTo>
                    <a:pt x="15" y="547"/>
                  </a:lnTo>
                  <a:close/>
                  <a:moveTo>
                    <a:pt x="101" y="479"/>
                  </a:moveTo>
                  <a:lnTo>
                    <a:pt x="62" y="515"/>
                  </a:lnTo>
                  <a:lnTo>
                    <a:pt x="24" y="552"/>
                  </a:lnTo>
                  <a:lnTo>
                    <a:pt x="36" y="546"/>
                  </a:lnTo>
                  <a:lnTo>
                    <a:pt x="41" y="542"/>
                  </a:lnTo>
                  <a:lnTo>
                    <a:pt x="47" y="539"/>
                  </a:lnTo>
                  <a:lnTo>
                    <a:pt x="58" y="530"/>
                  </a:lnTo>
                  <a:lnTo>
                    <a:pt x="63" y="526"/>
                  </a:lnTo>
                  <a:lnTo>
                    <a:pt x="68" y="522"/>
                  </a:lnTo>
                  <a:lnTo>
                    <a:pt x="78" y="512"/>
                  </a:lnTo>
                  <a:lnTo>
                    <a:pt x="83" y="507"/>
                  </a:lnTo>
                  <a:lnTo>
                    <a:pt x="87" y="501"/>
                  </a:lnTo>
                  <a:lnTo>
                    <a:pt x="91" y="496"/>
                  </a:lnTo>
                  <a:lnTo>
                    <a:pt x="95" y="490"/>
                  </a:lnTo>
                  <a:lnTo>
                    <a:pt x="98" y="485"/>
                  </a:lnTo>
                  <a:lnTo>
                    <a:pt x="101" y="479"/>
                  </a:lnTo>
                  <a:close/>
                  <a:moveTo>
                    <a:pt x="436" y="242"/>
                  </a:moveTo>
                  <a:lnTo>
                    <a:pt x="420" y="249"/>
                  </a:lnTo>
                  <a:lnTo>
                    <a:pt x="404" y="256"/>
                  </a:lnTo>
                  <a:lnTo>
                    <a:pt x="373" y="271"/>
                  </a:lnTo>
                  <a:lnTo>
                    <a:pt x="358" y="279"/>
                  </a:lnTo>
                  <a:lnTo>
                    <a:pt x="343" y="287"/>
                  </a:lnTo>
                  <a:lnTo>
                    <a:pt x="313" y="304"/>
                  </a:lnTo>
                  <a:lnTo>
                    <a:pt x="299" y="314"/>
                  </a:lnTo>
                  <a:lnTo>
                    <a:pt x="285" y="323"/>
                  </a:lnTo>
                  <a:lnTo>
                    <a:pt x="271" y="333"/>
                  </a:lnTo>
                  <a:lnTo>
                    <a:pt x="257" y="343"/>
                  </a:lnTo>
                  <a:lnTo>
                    <a:pt x="243" y="354"/>
                  </a:lnTo>
                  <a:lnTo>
                    <a:pt x="230" y="365"/>
                  </a:lnTo>
                  <a:lnTo>
                    <a:pt x="204" y="387"/>
                  </a:lnTo>
                  <a:lnTo>
                    <a:pt x="161" y="425"/>
                  </a:lnTo>
                  <a:lnTo>
                    <a:pt x="118" y="463"/>
                  </a:lnTo>
                  <a:lnTo>
                    <a:pt x="114" y="473"/>
                  </a:lnTo>
                  <a:lnTo>
                    <a:pt x="110" y="482"/>
                  </a:lnTo>
                  <a:lnTo>
                    <a:pt x="105" y="491"/>
                  </a:lnTo>
                  <a:lnTo>
                    <a:pt x="100" y="499"/>
                  </a:lnTo>
                  <a:lnTo>
                    <a:pt x="94" y="507"/>
                  </a:lnTo>
                  <a:lnTo>
                    <a:pt x="88" y="515"/>
                  </a:lnTo>
                  <a:lnTo>
                    <a:pt x="85" y="519"/>
                  </a:lnTo>
                  <a:lnTo>
                    <a:pt x="81" y="522"/>
                  </a:lnTo>
                  <a:lnTo>
                    <a:pt x="74" y="529"/>
                  </a:lnTo>
                  <a:lnTo>
                    <a:pt x="67" y="536"/>
                  </a:lnTo>
                  <a:lnTo>
                    <a:pt x="59" y="542"/>
                  </a:lnTo>
                  <a:lnTo>
                    <a:pt x="51" y="547"/>
                  </a:lnTo>
                  <a:lnTo>
                    <a:pt x="42" y="553"/>
                  </a:lnTo>
                  <a:lnTo>
                    <a:pt x="33" y="557"/>
                  </a:lnTo>
                  <a:lnTo>
                    <a:pt x="24" y="562"/>
                  </a:lnTo>
                  <a:lnTo>
                    <a:pt x="15" y="566"/>
                  </a:lnTo>
                  <a:lnTo>
                    <a:pt x="5" y="569"/>
                  </a:lnTo>
                  <a:lnTo>
                    <a:pt x="3" y="568"/>
                  </a:lnTo>
                  <a:lnTo>
                    <a:pt x="1" y="567"/>
                  </a:lnTo>
                  <a:lnTo>
                    <a:pt x="0" y="565"/>
                  </a:lnTo>
                  <a:lnTo>
                    <a:pt x="0" y="564"/>
                  </a:lnTo>
                  <a:lnTo>
                    <a:pt x="4" y="551"/>
                  </a:lnTo>
                  <a:lnTo>
                    <a:pt x="9" y="538"/>
                  </a:lnTo>
                  <a:lnTo>
                    <a:pt x="15" y="526"/>
                  </a:lnTo>
                  <a:lnTo>
                    <a:pt x="19" y="521"/>
                  </a:lnTo>
                  <a:lnTo>
                    <a:pt x="23" y="515"/>
                  </a:lnTo>
                  <a:lnTo>
                    <a:pt x="31" y="504"/>
                  </a:lnTo>
                  <a:lnTo>
                    <a:pt x="35" y="499"/>
                  </a:lnTo>
                  <a:lnTo>
                    <a:pt x="40" y="494"/>
                  </a:lnTo>
                  <a:lnTo>
                    <a:pt x="49" y="485"/>
                  </a:lnTo>
                  <a:lnTo>
                    <a:pt x="55" y="481"/>
                  </a:lnTo>
                  <a:lnTo>
                    <a:pt x="60" y="477"/>
                  </a:lnTo>
                  <a:lnTo>
                    <a:pt x="66" y="473"/>
                  </a:lnTo>
                  <a:lnTo>
                    <a:pt x="73" y="470"/>
                  </a:lnTo>
                  <a:lnTo>
                    <a:pt x="78" y="467"/>
                  </a:lnTo>
                  <a:lnTo>
                    <a:pt x="84" y="464"/>
                  </a:lnTo>
                  <a:lnTo>
                    <a:pt x="97" y="460"/>
                  </a:lnTo>
                  <a:lnTo>
                    <a:pt x="103" y="459"/>
                  </a:lnTo>
                  <a:lnTo>
                    <a:pt x="111" y="458"/>
                  </a:lnTo>
                  <a:lnTo>
                    <a:pt x="154" y="418"/>
                  </a:lnTo>
                  <a:lnTo>
                    <a:pt x="197" y="380"/>
                  </a:lnTo>
                  <a:lnTo>
                    <a:pt x="211" y="368"/>
                  </a:lnTo>
                  <a:lnTo>
                    <a:pt x="224" y="357"/>
                  </a:lnTo>
                  <a:lnTo>
                    <a:pt x="251" y="336"/>
                  </a:lnTo>
                  <a:lnTo>
                    <a:pt x="265" y="325"/>
                  </a:lnTo>
                  <a:lnTo>
                    <a:pt x="279" y="315"/>
                  </a:lnTo>
                  <a:lnTo>
                    <a:pt x="294" y="306"/>
                  </a:lnTo>
                  <a:lnTo>
                    <a:pt x="308" y="296"/>
                  </a:lnTo>
                  <a:lnTo>
                    <a:pt x="323" y="287"/>
                  </a:lnTo>
                  <a:lnTo>
                    <a:pt x="338" y="279"/>
                  </a:lnTo>
                  <a:lnTo>
                    <a:pt x="353" y="270"/>
                  </a:lnTo>
                  <a:lnTo>
                    <a:pt x="369" y="262"/>
                  </a:lnTo>
                  <a:lnTo>
                    <a:pt x="384" y="254"/>
                  </a:lnTo>
                  <a:lnTo>
                    <a:pt x="400" y="247"/>
                  </a:lnTo>
                  <a:lnTo>
                    <a:pt x="416" y="240"/>
                  </a:lnTo>
                  <a:lnTo>
                    <a:pt x="432" y="234"/>
                  </a:lnTo>
                  <a:lnTo>
                    <a:pt x="432" y="230"/>
                  </a:lnTo>
                  <a:lnTo>
                    <a:pt x="350" y="56"/>
                  </a:lnTo>
                  <a:lnTo>
                    <a:pt x="349" y="54"/>
                  </a:lnTo>
                  <a:lnTo>
                    <a:pt x="350" y="52"/>
                  </a:lnTo>
                  <a:lnTo>
                    <a:pt x="351" y="50"/>
                  </a:lnTo>
                  <a:lnTo>
                    <a:pt x="352" y="49"/>
                  </a:lnTo>
                  <a:lnTo>
                    <a:pt x="354" y="49"/>
                  </a:lnTo>
                  <a:lnTo>
                    <a:pt x="355" y="49"/>
                  </a:lnTo>
                  <a:lnTo>
                    <a:pt x="357" y="50"/>
                  </a:lnTo>
                  <a:lnTo>
                    <a:pt x="358" y="52"/>
                  </a:lnTo>
                  <a:lnTo>
                    <a:pt x="428" y="201"/>
                  </a:lnTo>
                  <a:lnTo>
                    <a:pt x="425" y="181"/>
                  </a:lnTo>
                  <a:lnTo>
                    <a:pt x="420" y="161"/>
                  </a:lnTo>
                  <a:lnTo>
                    <a:pt x="415" y="142"/>
                  </a:lnTo>
                  <a:lnTo>
                    <a:pt x="409" y="122"/>
                  </a:lnTo>
                  <a:lnTo>
                    <a:pt x="402" y="104"/>
                  </a:lnTo>
                  <a:lnTo>
                    <a:pt x="398" y="94"/>
                  </a:lnTo>
                  <a:lnTo>
                    <a:pt x="394" y="85"/>
                  </a:lnTo>
                  <a:lnTo>
                    <a:pt x="384" y="67"/>
                  </a:lnTo>
                  <a:lnTo>
                    <a:pt x="374" y="49"/>
                  </a:lnTo>
                  <a:lnTo>
                    <a:pt x="374" y="47"/>
                  </a:lnTo>
                  <a:lnTo>
                    <a:pt x="374" y="46"/>
                  </a:lnTo>
                  <a:lnTo>
                    <a:pt x="375" y="44"/>
                  </a:lnTo>
                  <a:lnTo>
                    <a:pt x="376" y="43"/>
                  </a:lnTo>
                  <a:lnTo>
                    <a:pt x="378" y="42"/>
                  </a:lnTo>
                  <a:lnTo>
                    <a:pt x="379" y="42"/>
                  </a:lnTo>
                  <a:lnTo>
                    <a:pt x="381" y="43"/>
                  </a:lnTo>
                  <a:lnTo>
                    <a:pt x="383" y="44"/>
                  </a:lnTo>
                  <a:lnTo>
                    <a:pt x="389" y="56"/>
                  </a:lnTo>
                  <a:lnTo>
                    <a:pt x="396" y="69"/>
                  </a:lnTo>
                  <a:lnTo>
                    <a:pt x="402" y="81"/>
                  </a:lnTo>
                  <a:lnTo>
                    <a:pt x="408" y="94"/>
                  </a:lnTo>
                  <a:lnTo>
                    <a:pt x="413" y="106"/>
                  </a:lnTo>
                  <a:lnTo>
                    <a:pt x="418" y="119"/>
                  </a:lnTo>
                  <a:lnTo>
                    <a:pt x="426" y="145"/>
                  </a:lnTo>
                  <a:lnTo>
                    <a:pt x="415" y="30"/>
                  </a:lnTo>
                  <a:lnTo>
                    <a:pt x="416" y="28"/>
                  </a:lnTo>
                  <a:lnTo>
                    <a:pt x="416" y="26"/>
                  </a:lnTo>
                  <a:lnTo>
                    <a:pt x="418" y="25"/>
                  </a:lnTo>
                  <a:lnTo>
                    <a:pt x="420" y="25"/>
                  </a:lnTo>
                  <a:lnTo>
                    <a:pt x="421" y="25"/>
                  </a:lnTo>
                  <a:lnTo>
                    <a:pt x="423" y="25"/>
                  </a:lnTo>
                  <a:lnTo>
                    <a:pt x="424" y="26"/>
                  </a:lnTo>
                  <a:lnTo>
                    <a:pt x="424" y="27"/>
                  </a:lnTo>
                  <a:lnTo>
                    <a:pt x="425" y="29"/>
                  </a:lnTo>
                  <a:lnTo>
                    <a:pt x="441" y="205"/>
                  </a:lnTo>
                  <a:lnTo>
                    <a:pt x="446" y="180"/>
                  </a:lnTo>
                  <a:lnTo>
                    <a:pt x="450" y="155"/>
                  </a:lnTo>
                  <a:lnTo>
                    <a:pt x="452" y="131"/>
                  </a:lnTo>
                  <a:lnTo>
                    <a:pt x="453" y="118"/>
                  </a:lnTo>
                  <a:lnTo>
                    <a:pt x="453" y="106"/>
                  </a:lnTo>
                  <a:lnTo>
                    <a:pt x="453" y="94"/>
                  </a:lnTo>
                  <a:lnTo>
                    <a:pt x="453" y="81"/>
                  </a:lnTo>
                  <a:lnTo>
                    <a:pt x="452" y="69"/>
                  </a:lnTo>
                  <a:lnTo>
                    <a:pt x="451" y="57"/>
                  </a:lnTo>
                  <a:lnTo>
                    <a:pt x="450" y="44"/>
                  </a:lnTo>
                  <a:lnTo>
                    <a:pt x="448" y="32"/>
                  </a:lnTo>
                  <a:lnTo>
                    <a:pt x="446" y="19"/>
                  </a:lnTo>
                  <a:lnTo>
                    <a:pt x="443" y="7"/>
                  </a:lnTo>
                  <a:lnTo>
                    <a:pt x="443" y="4"/>
                  </a:lnTo>
                  <a:lnTo>
                    <a:pt x="443" y="3"/>
                  </a:lnTo>
                  <a:lnTo>
                    <a:pt x="444" y="2"/>
                  </a:lnTo>
                  <a:lnTo>
                    <a:pt x="445" y="1"/>
                  </a:lnTo>
                  <a:lnTo>
                    <a:pt x="446" y="0"/>
                  </a:lnTo>
                  <a:lnTo>
                    <a:pt x="448" y="0"/>
                  </a:lnTo>
                  <a:lnTo>
                    <a:pt x="450" y="0"/>
                  </a:lnTo>
                  <a:lnTo>
                    <a:pt x="451" y="2"/>
                  </a:lnTo>
                  <a:lnTo>
                    <a:pt x="452" y="2"/>
                  </a:lnTo>
                  <a:lnTo>
                    <a:pt x="452" y="4"/>
                  </a:lnTo>
                  <a:lnTo>
                    <a:pt x="454" y="15"/>
                  </a:lnTo>
                  <a:lnTo>
                    <a:pt x="456" y="26"/>
                  </a:lnTo>
                  <a:lnTo>
                    <a:pt x="460" y="47"/>
                  </a:lnTo>
                  <a:lnTo>
                    <a:pt x="461" y="57"/>
                  </a:lnTo>
                  <a:lnTo>
                    <a:pt x="462" y="68"/>
                  </a:lnTo>
                  <a:lnTo>
                    <a:pt x="463" y="89"/>
                  </a:lnTo>
                  <a:lnTo>
                    <a:pt x="463" y="109"/>
                  </a:lnTo>
                  <a:lnTo>
                    <a:pt x="462" y="130"/>
                  </a:lnTo>
                  <a:lnTo>
                    <a:pt x="460" y="151"/>
                  </a:lnTo>
                  <a:lnTo>
                    <a:pt x="457" y="172"/>
                  </a:lnTo>
                  <a:lnTo>
                    <a:pt x="482" y="100"/>
                  </a:lnTo>
                  <a:lnTo>
                    <a:pt x="480" y="88"/>
                  </a:lnTo>
                  <a:lnTo>
                    <a:pt x="476" y="75"/>
                  </a:lnTo>
                  <a:lnTo>
                    <a:pt x="476" y="73"/>
                  </a:lnTo>
                  <a:lnTo>
                    <a:pt x="476" y="71"/>
                  </a:lnTo>
                  <a:lnTo>
                    <a:pt x="478" y="70"/>
                  </a:lnTo>
                  <a:lnTo>
                    <a:pt x="479" y="69"/>
                  </a:lnTo>
                  <a:lnTo>
                    <a:pt x="483" y="69"/>
                  </a:lnTo>
                  <a:lnTo>
                    <a:pt x="484" y="70"/>
                  </a:lnTo>
                  <a:lnTo>
                    <a:pt x="485" y="72"/>
                  </a:lnTo>
                  <a:lnTo>
                    <a:pt x="488" y="83"/>
                  </a:lnTo>
                  <a:lnTo>
                    <a:pt x="506" y="33"/>
                  </a:lnTo>
                  <a:lnTo>
                    <a:pt x="507" y="31"/>
                  </a:lnTo>
                  <a:lnTo>
                    <a:pt x="509" y="30"/>
                  </a:lnTo>
                  <a:lnTo>
                    <a:pt x="510" y="29"/>
                  </a:lnTo>
                  <a:lnTo>
                    <a:pt x="512" y="30"/>
                  </a:lnTo>
                  <a:lnTo>
                    <a:pt x="514" y="31"/>
                  </a:lnTo>
                  <a:lnTo>
                    <a:pt x="515" y="32"/>
                  </a:lnTo>
                  <a:lnTo>
                    <a:pt x="515" y="34"/>
                  </a:lnTo>
                  <a:lnTo>
                    <a:pt x="515" y="36"/>
                  </a:lnTo>
                  <a:lnTo>
                    <a:pt x="492" y="102"/>
                  </a:lnTo>
                  <a:lnTo>
                    <a:pt x="493" y="113"/>
                  </a:lnTo>
                  <a:lnTo>
                    <a:pt x="493" y="118"/>
                  </a:lnTo>
                  <a:lnTo>
                    <a:pt x="493" y="124"/>
                  </a:lnTo>
                  <a:lnTo>
                    <a:pt x="493" y="135"/>
                  </a:lnTo>
                  <a:lnTo>
                    <a:pt x="492" y="146"/>
                  </a:lnTo>
                  <a:lnTo>
                    <a:pt x="490" y="157"/>
                  </a:lnTo>
                  <a:lnTo>
                    <a:pt x="487" y="168"/>
                  </a:lnTo>
                  <a:lnTo>
                    <a:pt x="483" y="179"/>
                  </a:lnTo>
                  <a:lnTo>
                    <a:pt x="479" y="189"/>
                  </a:lnTo>
                  <a:lnTo>
                    <a:pt x="475" y="197"/>
                  </a:lnTo>
                  <a:lnTo>
                    <a:pt x="471" y="205"/>
                  </a:lnTo>
                  <a:lnTo>
                    <a:pt x="467" y="212"/>
                  </a:lnTo>
                  <a:lnTo>
                    <a:pt x="462" y="218"/>
                  </a:lnTo>
                  <a:lnTo>
                    <a:pt x="616" y="139"/>
                  </a:lnTo>
                  <a:lnTo>
                    <a:pt x="618" y="139"/>
                  </a:lnTo>
                  <a:lnTo>
                    <a:pt x="620" y="139"/>
                  </a:lnTo>
                  <a:lnTo>
                    <a:pt x="622" y="140"/>
                  </a:lnTo>
                  <a:lnTo>
                    <a:pt x="623" y="141"/>
                  </a:lnTo>
                  <a:lnTo>
                    <a:pt x="623" y="143"/>
                  </a:lnTo>
                  <a:lnTo>
                    <a:pt x="623" y="145"/>
                  </a:lnTo>
                  <a:lnTo>
                    <a:pt x="622" y="146"/>
                  </a:lnTo>
                  <a:lnTo>
                    <a:pt x="621" y="148"/>
                  </a:lnTo>
                  <a:lnTo>
                    <a:pt x="456" y="232"/>
                  </a:lnTo>
                  <a:lnTo>
                    <a:pt x="469" y="232"/>
                  </a:lnTo>
                  <a:lnTo>
                    <a:pt x="483" y="231"/>
                  </a:lnTo>
                  <a:lnTo>
                    <a:pt x="496" y="230"/>
                  </a:lnTo>
                  <a:lnTo>
                    <a:pt x="509" y="228"/>
                  </a:lnTo>
                  <a:lnTo>
                    <a:pt x="536" y="224"/>
                  </a:lnTo>
                  <a:lnTo>
                    <a:pt x="562" y="217"/>
                  </a:lnTo>
                  <a:lnTo>
                    <a:pt x="574" y="214"/>
                  </a:lnTo>
                  <a:lnTo>
                    <a:pt x="587" y="210"/>
                  </a:lnTo>
                  <a:lnTo>
                    <a:pt x="600" y="205"/>
                  </a:lnTo>
                  <a:lnTo>
                    <a:pt x="612" y="200"/>
                  </a:lnTo>
                  <a:lnTo>
                    <a:pt x="624" y="194"/>
                  </a:lnTo>
                  <a:lnTo>
                    <a:pt x="637" y="188"/>
                  </a:lnTo>
                  <a:lnTo>
                    <a:pt x="649" y="182"/>
                  </a:lnTo>
                  <a:lnTo>
                    <a:pt x="660" y="175"/>
                  </a:lnTo>
                  <a:lnTo>
                    <a:pt x="662" y="174"/>
                  </a:lnTo>
                  <a:lnTo>
                    <a:pt x="664" y="175"/>
                  </a:lnTo>
                  <a:lnTo>
                    <a:pt x="666" y="175"/>
                  </a:lnTo>
                  <a:lnTo>
                    <a:pt x="667" y="177"/>
                  </a:lnTo>
                  <a:lnTo>
                    <a:pt x="668" y="178"/>
                  </a:lnTo>
                  <a:lnTo>
                    <a:pt x="668" y="180"/>
                  </a:lnTo>
                  <a:lnTo>
                    <a:pt x="667" y="182"/>
                  </a:lnTo>
                  <a:lnTo>
                    <a:pt x="665" y="183"/>
                  </a:lnTo>
                  <a:lnTo>
                    <a:pt x="654" y="190"/>
                  </a:lnTo>
                  <a:lnTo>
                    <a:pt x="642" y="196"/>
                  </a:lnTo>
                  <a:lnTo>
                    <a:pt x="630" y="202"/>
                  </a:lnTo>
                  <a:lnTo>
                    <a:pt x="618" y="208"/>
                  </a:lnTo>
                  <a:lnTo>
                    <a:pt x="605" y="213"/>
                  </a:lnTo>
                  <a:lnTo>
                    <a:pt x="593" y="218"/>
                  </a:lnTo>
                  <a:lnTo>
                    <a:pt x="581" y="222"/>
                  </a:lnTo>
                  <a:lnTo>
                    <a:pt x="568" y="226"/>
                  </a:lnTo>
                  <a:lnTo>
                    <a:pt x="555" y="229"/>
                  </a:lnTo>
                  <a:lnTo>
                    <a:pt x="542" y="232"/>
                  </a:lnTo>
                  <a:lnTo>
                    <a:pt x="529" y="234"/>
                  </a:lnTo>
                  <a:lnTo>
                    <a:pt x="516" y="237"/>
                  </a:lnTo>
                  <a:lnTo>
                    <a:pt x="490" y="240"/>
                  </a:lnTo>
                  <a:lnTo>
                    <a:pt x="463" y="241"/>
                  </a:lnTo>
                  <a:lnTo>
                    <a:pt x="489" y="251"/>
                  </a:lnTo>
                  <a:lnTo>
                    <a:pt x="515" y="259"/>
                  </a:lnTo>
                  <a:lnTo>
                    <a:pt x="528" y="263"/>
                  </a:lnTo>
                  <a:lnTo>
                    <a:pt x="541" y="266"/>
                  </a:lnTo>
                  <a:lnTo>
                    <a:pt x="554" y="269"/>
                  </a:lnTo>
                  <a:lnTo>
                    <a:pt x="568" y="272"/>
                  </a:lnTo>
                  <a:lnTo>
                    <a:pt x="581" y="274"/>
                  </a:lnTo>
                  <a:lnTo>
                    <a:pt x="594" y="276"/>
                  </a:lnTo>
                  <a:lnTo>
                    <a:pt x="608" y="277"/>
                  </a:lnTo>
                  <a:lnTo>
                    <a:pt x="621" y="278"/>
                  </a:lnTo>
                  <a:lnTo>
                    <a:pt x="649" y="279"/>
                  </a:lnTo>
                  <a:lnTo>
                    <a:pt x="663" y="279"/>
                  </a:lnTo>
                  <a:lnTo>
                    <a:pt x="677" y="278"/>
                  </a:lnTo>
                  <a:lnTo>
                    <a:pt x="679" y="279"/>
                  </a:lnTo>
                  <a:lnTo>
                    <a:pt x="681" y="280"/>
                  </a:lnTo>
                  <a:lnTo>
                    <a:pt x="682" y="281"/>
                  </a:lnTo>
                  <a:lnTo>
                    <a:pt x="682" y="283"/>
                  </a:lnTo>
                  <a:lnTo>
                    <a:pt x="682" y="284"/>
                  </a:lnTo>
                  <a:lnTo>
                    <a:pt x="681" y="286"/>
                  </a:lnTo>
                  <a:lnTo>
                    <a:pt x="680" y="287"/>
                  </a:lnTo>
                  <a:lnTo>
                    <a:pt x="678" y="288"/>
                  </a:lnTo>
                  <a:lnTo>
                    <a:pt x="653" y="289"/>
                  </a:lnTo>
                  <a:lnTo>
                    <a:pt x="630" y="288"/>
                  </a:lnTo>
                  <a:lnTo>
                    <a:pt x="618" y="288"/>
                  </a:lnTo>
                  <a:lnTo>
                    <a:pt x="606" y="287"/>
                  </a:lnTo>
                  <a:lnTo>
                    <a:pt x="583" y="284"/>
                  </a:lnTo>
                  <a:lnTo>
                    <a:pt x="571" y="282"/>
                  </a:lnTo>
                  <a:lnTo>
                    <a:pt x="560" y="280"/>
                  </a:lnTo>
                  <a:lnTo>
                    <a:pt x="537" y="275"/>
                  </a:lnTo>
                  <a:lnTo>
                    <a:pt x="515" y="269"/>
                  </a:lnTo>
                  <a:lnTo>
                    <a:pt x="492" y="262"/>
                  </a:lnTo>
                  <a:lnTo>
                    <a:pt x="503" y="267"/>
                  </a:lnTo>
                  <a:lnTo>
                    <a:pt x="514" y="271"/>
                  </a:lnTo>
                  <a:lnTo>
                    <a:pt x="536" y="280"/>
                  </a:lnTo>
                  <a:lnTo>
                    <a:pt x="558" y="287"/>
                  </a:lnTo>
                  <a:lnTo>
                    <a:pt x="580" y="293"/>
                  </a:lnTo>
                  <a:lnTo>
                    <a:pt x="592" y="295"/>
                  </a:lnTo>
                  <a:lnTo>
                    <a:pt x="603" y="298"/>
                  </a:lnTo>
                  <a:lnTo>
                    <a:pt x="615" y="300"/>
                  </a:lnTo>
                  <a:lnTo>
                    <a:pt x="626" y="301"/>
                  </a:lnTo>
                  <a:lnTo>
                    <a:pt x="650" y="303"/>
                  </a:lnTo>
                  <a:lnTo>
                    <a:pt x="673" y="304"/>
                  </a:lnTo>
                  <a:lnTo>
                    <a:pt x="675" y="305"/>
                  </a:lnTo>
                  <a:lnTo>
                    <a:pt x="677" y="306"/>
                  </a:lnTo>
                  <a:lnTo>
                    <a:pt x="678" y="307"/>
                  </a:lnTo>
                  <a:lnTo>
                    <a:pt x="678" y="309"/>
                  </a:lnTo>
                  <a:lnTo>
                    <a:pt x="678" y="311"/>
                  </a:lnTo>
                  <a:lnTo>
                    <a:pt x="677" y="312"/>
                  </a:lnTo>
                  <a:lnTo>
                    <a:pt x="675" y="313"/>
                  </a:lnTo>
                  <a:lnTo>
                    <a:pt x="673" y="314"/>
                  </a:lnTo>
                  <a:lnTo>
                    <a:pt x="661" y="314"/>
                  </a:lnTo>
                  <a:lnTo>
                    <a:pt x="650" y="313"/>
                  </a:lnTo>
                  <a:lnTo>
                    <a:pt x="626" y="311"/>
                  </a:lnTo>
                  <a:lnTo>
                    <a:pt x="615" y="309"/>
                  </a:lnTo>
                  <a:lnTo>
                    <a:pt x="603" y="307"/>
                  </a:lnTo>
                  <a:lnTo>
                    <a:pt x="592" y="305"/>
                  </a:lnTo>
                  <a:lnTo>
                    <a:pt x="580" y="303"/>
                  </a:lnTo>
                  <a:lnTo>
                    <a:pt x="558" y="297"/>
                  </a:lnTo>
                  <a:lnTo>
                    <a:pt x="535" y="290"/>
                  </a:lnTo>
                  <a:lnTo>
                    <a:pt x="514" y="282"/>
                  </a:lnTo>
                  <a:lnTo>
                    <a:pt x="492" y="272"/>
                  </a:lnTo>
                  <a:lnTo>
                    <a:pt x="510" y="285"/>
                  </a:lnTo>
                  <a:lnTo>
                    <a:pt x="529" y="297"/>
                  </a:lnTo>
                  <a:lnTo>
                    <a:pt x="547" y="307"/>
                  </a:lnTo>
                  <a:lnTo>
                    <a:pt x="556" y="312"/>
                  </a:lnTo>
                  <a:lnTo>
                    <a:pt x="565" y="316"/>
                  </a:lnTo>
                  <a:lnTo>
                    <a:pt x="578" y="321"/>
                  </a:lnTo>
                  <a:lnTo>
                    <a:pt x="589" y="325"/>
                  </a:lnTo>
                  <a:lnTo>
                    <a:pt x="600" y="331"/>
                  </a:lnTo>
                  <a:lnTo>
                    <a:pt x="606" y="335"/>
                  </a:lnTo>
                  <a:lnTo>
                    <a:pt x="611" y="339"/>
                  </a:lnTo>
                  <a:lnTo>
                    <a:pt x="621" y="349"/>
                  </a:lnTo>
                  <a:lnTo>
                    <a:pt x="625" y="353"/>
                  </a:lnTo>
                  <a:lnTo>
                    <a:pt x="629" y="358"/>
                  </a:lnTo>
                  <a:lnTo>
                    <a:pt x="636" y="368"/>
                  </a:lnTo>
                  <a:lnTo>
                    <a:pt x="643" y="380"/>
                  </a:lnTo>
                  <a:lnTo>
                    <a:pt x="644" y="382"/>
                  </a:lnTo>
                  <a:lnTo>
                    <a:pt x="643" y="384"/>
                  </a:lnTo>
                  <a:lnTo>
                    <a:pt x="642" y="386"/>
                  </a:lnTo>
                  <a:lnTo>
                    <a:pt x="641" y="387"/>
                  </a:lnTo>
                  <a:lnTo>
                    <a:pt x="639" y="387"/>
                  </a:lnTo>
                  <a:lnTo>
                    <a:pt x="637" y="387"/>
                  </a:lnTo>
                  <a:lnTo>
                    <a:pt x="636" y="386"/>
                  </a:lnTo>
                  <a:lnTo>
                    <a:pt x="635" y="385"/>
                  </a:lnTo>
                  <a:lnTo>
                    <a:pt x="629" y="375"/>
                  </a:lnTo>
                  <a:lnTo>
                    <a:pt x="624" y="367"/>
                  </a:lnTo>
                  <a:lnTo>
                    <a:pt x="618" y="359"/>
                  </a:lnTo>
                  <a:lnTo>
                    <a:pt x="614" y="355"/>
                  </a:lnTo>
                  <a:lnTo>
                    <a:pt x="611" y="352"/>
                  </a:lnTo>
                  <a:lnTo>
                    <a:pt x="604" y="345"/>
                  </a:lnTo>
                  <a:lnTo>
                    <a:pt x="596" y="340"/>
                  </a:lnTo>
                  <a:lnTo>
                    <a:pt x="587" y="335"/>
                  </a:lnTo>
                  <a:lnTo>
                    <a:pt x="577" y="330"/>
                  </a:lnTo>
                  <a:lnTo>
                    <a:pt x="561" y="324"/>
                  </a:lnTo>
                  <a:lnTo>
                    <a:pt x="553" y="320"/>
                  </a:lnTo>
                  <a:lnTo>
                    <a:pt x="545" y="316"/>
                  </a:lnTo>
                  <a:lnTo>
                    <a:pt x="520" y="302"/>
                  </a:lnTo>
                  <a:lnTo>
                    <a:pt x="498" y="288"/>
                  </a:lnTo>
                  <a:lnTo>
                    <a:pt x="612" y="404"/>
                  </a:lnTo>
                  <a:lnTo>
                    <a:pt x="613" y="406"/>
                  </a:lnTo>
                  <a:lnTo>
                    <a:pt x="613" y="407"/>
                  </a:lnTo>
                  <a:lnTo>
                    <a:pt x="613" y="409"/>
                  </a:lnTo>
                  <a:lnTo>
                    <a:pt x="612" y="411"/>
                  </a:lnTo>
                  <a:lnTo>
                    <a:pt x="610" y="412"/>
                  </a:lnTo>
                  <a:lnTo>
                    <a:pt x="609" y="412"/>
                  </a:lnTo>
                  <a:lnTo>
                    <a:pt x="607" y="412"/>
                  </a:lnTo>
                  <a:lnTo>
                    <a:pt x="605" y="411"/>
                  </a:lnTo>
                  <a:lnTo>
                    <a:pt x="515" y="319"/>
                  </a:lnTo>
                  <a:lnTo>
                    <a:pt x="585" y="403"/>
                  </a:lnTo>
                  <a:lnTo>
                    <a:pt x="586" y="405"/>
                  </a:lnTo>
                  <a:lnTo>
                    <a:pt x="586" y="407"/>
                  </a:lnTo>
                  <a:lnTo>
                    <a:pt x="586" y="409"/>
                  </a:lnTo>
                  <a:lnTo>
                    <a:pt x="584" y="410"/>
                  </a:lnTo>
                  <a:lnTo>
                    <a:pt x="583" y="411"/>
                  </a:lnTo>
                  <a:lnTo>
                    <a:pt x="581" y="411"/>
                  </a:lnTo>
                  <a:lnTo>
                    <a:pt x="579" y="411"/>
                  </a:lnTo>
                  <a:lnTo>
                    <a:pt x="578" y="409"/>
                  </a:lnTo>
                  <a:lnTo>
                    <a:pt x="456" y="263"/>
                  </a:lnTo>
                  <a:lnTo>
                    <a:pt x="519" y="407"/>
                  </a:lnTo>
                  <a:lnTo>
                    <a:pt x="519" y="410"/>
                  </a:lnTo>
                  <a:lnTo>
                    <a:pt x="519" y="411"/>
                  </a:lnTo>
                  <a:lnTo>
                    <a:pt x="518" y="413"/>
                  </a:lnTo>
                  <a:lnTo>
                    <a:pt x="516" y="414"/>
                  </a:lnTo>
                  <a:lnTo>
                    <a:pt x="515" y="414"/>
                  </a:lnTo>
                  <a:lnTo>
                    <a:pt x="513" y="414"/>
                  </a:lnTo>
                  <a:lnTo>
                    <a:pt x="511" y="413"/>
                  </a:lnTo>
                  <a:lnTo>
                    <a:pt x="510" y="411"/>
                  </a:lnTo>
                  <a:lnTo>
                    <a:pt x="450" y="272"/>
                  </a:lnTo>
                  <a:lnTo>
                    <a:pt x="461" y="366"/>
                  </a:lnTo>
                  <a:lnTo>
                    <a:pt x="461" y="368"/>
                  </a:lnTo>
                  <a:lnTo>
                    <a:pt x="460" y="369"/>
                  </a:lnTo>
                  <a:lnTo>
                    <a:pt x="458" y="370"/>
                  </a:lnTo>
                  <a:lnTo>
                    <a:pt x="457" y="371"/>
                  </a:lnTo>
                  <a:lnTo>
                    <a:pt x="455" y="371"/>
                  </a:lnTo>
                  <a:lnTo>
                    <a:pt x="454" y="371"/>
                  </a:lnTo>
                  <a:lnTo>
                    <a:pt x="453" y="370"/>
                  </a:lnTo>
                  <a:lnTo>
                    <a:pt x="452" y="369"/>
                  </a:lnTo>
                  <a:lnTo>
                    <a:pt x="451" y="367"/>
                  </a:lnTo>
                  <a:lnTo>
                    <a:pt x="444" y="301"/>
                  </a:lnTo>
                  <a:lnTo>
                    <a:pt x="442" y="369"/>
                  </a:lnTo>
                  <a:lnTo>
                    <a:pt x="442" y="371"/>
                  </a:lnTo>
                  <a:lnTo>
                    <a:pt x="441" y="373"/>
                  </a:lnTo>
                  <a:lnTo>
                    <a:pt x="439" y="373"/>
                  </a:lnTo>
                  <a:lnTo>
                    <a:pt x="437" y="374"/>
                  </a:lnTo>
                  <a:lnTo>
                    <a:pt x="436" y="373"/>
                  </a:lnTo>
                  <a:lnTo>
                    <a:pt x="434" y="372"/>
                  </a:lnTo>
                  <a:lnTo>
                    <a:pt x="433" y="371"/>
                  </a:lnTo>
                  <a:lnTo>
                    <a:pt x="433" y="370"/>
                  </a:lnTo>
                  <a:lnTo>
                    <a:pt x="433" y="369"/>
                  </a:lnTo>
                  <a:lnTo>
                    <a:pt x="43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8" name="Freeform 1956"/>
            <p:cNvSpPr>
              <a:spLocks noEditPoints="1"/>
            </p:cNvSpPr>
            <p:nvPr userDrawn="1"/>
          </p:nvSpPr>
          <p:spPr bwMode="auto">
            <a:xfrm>
              <a:off x="6311900" y="3792538"/>
              <a:ext cx="1062038" cy="923925"/>
            </a:xfrm>
            <a:custGeom>
              <a:avLst/>
              <a:gdLst>
                <a:gd name="T0" fmla="*/ 148 w 669"/>
                <a:gd name="T1" fmla="*/ 232 h 582"/>
                <a:gd name="T2" fmla="*/ 594 w 669"/>
                <a:gd name="T3" fmla="*/ 543 h 582"/>
                <a:gd name="T4" fmla="*/ 587 w 669"/>
                <a:gd name="T5" fmla="*/ 553 h 582"/>
                <a:gd name="T6" fmla="*/ 555 w 669"/>
                <a:gd name="T7" fmla="*/ 508 h 582"/>
                <a:gd name="T8" fmla="*/ 622 w 669"/>
                <a:gd name="T9" fmla="*/ 540 h 582"/>
                <a:gd name="T10" fmla="*/ 568 w 669"/>
                <a:gd name="T11" fmla="*/ 512 h 582"/>
                <a:gd name="T12" fmla="*/ 284 w 669"/>
                <a:gd name="T13" fmla="*/ 308 h 582"/>
                <a:gd name="T14" fmla="*/ 409 w 669"/>
                <a:gd name="T15" fmla="*/ 415 h 582"/>
                <a:gd name="T16" fmla="*/ 556 w 669"/>
                <a:gd name="T17" fmla="*/ 499 h 582"/>
                <a:gd name="T18" fmla="*/ 619 w 669"/>
                <a:gd name="T19" fmla="*/ 526 h 582"/>
                <a:gd name="T20" fmla="*/ 669 w 669"/>
                <a:gd name="T21" fmla="*/ 576 h 582"/>
                <a:gd name="T22" fmla="*/ 645 w 669"/>
                <a:gd name="T23" fmla="*/ 581 h 582"/>
                <a:gd name="T24" fmla="*/ 587 w 669"/>
                <a:gd name="T25" fmla="*/ 564 h 582"/>
                <a:gd name="T26" fmla="*/ 539 w 669"/>
                <a:gd name="T27" fmla="*/ 518 h 582"/>
                <a:gd name="T28" fmla="*/ 403 w 669"/>
                <a:gd name="T29" fmla="*/ 422 h 582"/>
                <a:gd name="T30" fmla="*/ 277 w 669"/>
                <a:gd name="T31" fmla="*/ 314 h 582"/>
                <a:gd name="T32" fmla="*/ 78 w 669"/>
                <a:gd name="T33" fmla="*/ 386 h 582"/>
                <a:gd name="T34" fmla="*/ 74 w 669"/>
                <a:gd name="T35" fmla="*/ 378 h 582"/>
                <a:gd name="T36" fmla="*/ 112 w 669"/>
                <a:gd name="T37" fmla="*/ 322 h 582"/>
                <a:gd name="T38" fmla="*/ 60 w 669"/>
                <a:gd name="T39" fmla="*/ 364 h 582"/>
                <a:gd name="T40" fmla="*/ 90 w 669"/>
                <a:gd name="T41" fmla="*/ 328 h 582"/>
                <a:gd name="T42" fmla="*/ 36 w 669"/>
                <a:gd name="T43" fmla="*/ 330 h 582"/>
                <a:gd name="T44" fmla="*/ 32 w 669"/>
                <a:gd name="T45" fmla="*/ 322 h 582"/>
                <a:gd name="T46" fmla="*/ 124 w 669"/>
                <a:gd name="T47" fmla="*/ 266 h 582"/>
                <a:gd name="T48" fmla="*/ 41 w 669"/>
                <a:gd name="T49" fmla="*/ 292 h 582"/>
                <a:gd name="T50" fmla="*/ 1 w 669"/>
                <a:gd name="T51" fmla="*/ 307 h 582"/>
                <a:gd name="T52" fmla="*/ 51 w 669"/>
                <a:gd name="T53" fmla="*/ 278 h 582"/>
                <a:gd name="T54" fmla="*/ 86 w 669"/>
                <a:gd name="T55" fmla="*/ 246 h 582"/>
                <a:gd name="T56" fmla="*/ 57 w 669"/>
                <a:gd name="T57" fmla="*/ 257 h 582"/>
                <a:gd name="T58" fmla="*/ 13 w 669"/>
                <a:gd name="T59" fmla="*/ 241 h 582"/>
                <a:gd name="T60" fmla="*/ 15 w 669"/>
                <a:gd name="T61" fmla="*/ 232 h 582"/>
                <a:gd name="T62" fmla="*/ 150 w 669"/>
                <a:gd name="T63" fmla="*/ 222 h 582"/>
                <a:gd name="T64" fmla="*/ 87 w 669"/>
                <a:gd name="T65" fmla="*/ 106 h 582"/>
                <a:gd name="T66" fmla="*/ 92 w 669"/>
                <a:gd name="T67" fmla="*/ 98 h 582"/>
                <a:gd name="T68" fmla="*/ 196 w 669"/>
                <a:gd name="T69" fmla="*/ 172 h 582"/>
                <a:gd name="T70" fmla="*/ 146 w 669"/>
                <a:gd name="T71" fmla="*/ 93 h 582"/>
                <a:gd name="T72" fmla="*/ 108 w 669"/>
                <a:gd name="T73" fmla="*/ 48 h 582"/>
                <a:gd name="T74" fmla="*/ 135 w 669"/>
                <a:gd name="T75" fmla="*/ 66 h 582"/>
                <a:gd name="T76" fmla="*/ 190 w 669"/>
                <a:gd name="T77" fmla="*/ 140 h 582"/>
                <a:gd name="T78" fmla="*/ 229 w 669"/>
                <a:gd name="T79" fmla="*/ 197 h 582"/>
                <a:gd name="T80" fmla="*/ 224 w 669"/>
                <a:gd name="T81" fmla="*/ 89 h 582"/>
                <a:gd name="T82" fmla="*/ 204 w 669"/>
                <a:gd name="T83" fmla="*/ 5 h 582"/>
                <a:gd name="T84" fmla="*/ 220 w 669"/>
                <a:gd name="T85" fmla="*/ 29 h 582"/>
                <a:gd name="T86" fmla="*/ 239 w 669"/>
                <a:gd name="T87" fmla="*/ 145 h 582"/>
                <a:gd name="T88" fmla="*/ 244 w 669"/>
                <a:gd name="T89" fmla="*/ 98 h 582"/>
                <a:gd name="T90" fmla="*/ 230 w 669"/>
                <a:gd name="T91" fmla="*/ 2 h 582"/>
                <a:gd name="T92" fmla="*/ 242 w 669"/>
                <a:gd name="T93" fmla="*/ 14 h 582"/>
                <a:gd name="T94" fmla="*/ 254 w 669"/>
                <a:gd name="T95" fmla="*/ 107 h 582"/>
                <a:gd name="T96" fmla="*/ 260 w 669"/>
                <a:gd name="T97" fmla="*/ 152 h 582"/>
                <a:gd name="T98" fmla="*/ 273 w 669"/>
                <a:gd name="T99" fmla="*/ 79 h 582"/>
                <a:gd name="T100" fmla="*/ 311 w 669"/>
                <a:gd name="T101" fmla="*/ 14 h 582"/>
                <a:gd name="T102" fmla="*/ 319 w 669"/>
                <a:gd name="T103" fmla="*/ 19 h 582"/>
                <a:gd name="T104" fmla="*/ 285 w 669"/>
                <a:gd name="T105" fmla="*/ 71 h 582"/>
                <a:gd name="T106" fmla="*/ 272 w 669"/>
                <a:gd name="T107" fmla="*/ 147 h 582"/>
                <a:gd name="T108" fmla="*/ 347 w 669"/>
                <a:gd name="T109" fmla="*/ 35 h 582"/>
                <a:gd name="T110" fmla="*/ 349 w 669"/>
                <a:gd name="T111" fmla="*/ 63 h 582"/>
                <a:gd name="T112" fmla="*/ 358 w 669"/>
                <a:gd name="T113" fmla="*/ 67 h 582"/>
                <a:gd name="T114" fmla="*/ 378 w 669"/>
                <a:gd name="T115" fmla="*/ 126 h 582"/>
                <a:gd name="T116" fmla="*/ 349 w 669"/>
                <a:gd name="T117" fmla="*/ 192 h 582"/>
                <a:gd name="T118" fmla="*/ 351 w 669"/>
                <a:gd name="T119" fmla="*/ 202 h 582"/>
                <a:gd name="T120" fmla="*/ 362 w 669"/>
                <a:gd name="T121" fmla="*/ 21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9" h="582">
                  <a:moveTo>
                    <a:pt x="205" y="243"/>
                  </a:moveTo>
                  <a:lnTo>
                    <a:pt x="196" y="239"/>
                  </a:lnTo>
                  <a:lnTo>
                    <a:pt x="186" y="236"/>
                  </a:lnTo>
                  <a:lnTo>
                    <a:pt x="177" y="234"/>
                  </a:lnTo>
                  <a:lnTo>
                    <a:pt x="167" y="233"/>
                  </a:lnTo>
                  <a:lnTo>
                    <a:pt x="157" y="232"/>
                  </a:lnTo>
                  <a:lnTo>
                    <a:pt x="148" y="232"/>
                  </a:lnTo>
                  <a:lnTo>
                    <a:pt x="137" y="233"/>
                  </a:lnTo>
                  <a:lnTo>
                    <a:pt x="127" y="234"/>
                  </a:lnTo>
                  <a:lnTo>
                    <a:pt x="117" y="235"/>
                  </a:lnTo>
                  <a:lnTo>
                    <a:pt x="109" y="237"/>
                  </a:lnTo>
                  <a:lnTo>
                    <a:pt x="205" y="243"/>
                  </a:lnTo>
                  <a:close/>
                  <a:moveTo>
                    <a:pt x="644" y="572"/>
                  </a:moveTo>
                  <a:lnTo>
                    <a:pt x="594" y="543"/>
                  </a:lnTo>
                  <a:lnTo>
                    <a:pt x="548" y="515"/>
                  </a:lnTo>
                  <a:lnTo>
                    <a:pt x="553" y="522"/>
                  </a:lnTo>
                  <a:lnTo>
                    <a:pt x="558" y="528"/>
                  </a:lnTo>
                  <a:lnTo>
                    <a:pt x="564" y="535"/>
                  </a:lnTo>
                  <a:lnTo>
                    <a:pt x="571" y="541"/>
                  </a:lnTo>
                  <a:lnTo>
                    <a:pt x="579" y="547"/>
                  </a:lnTo>
                  <a:lnTo>
                    <a:pt x="587" y="553"/>
                  </a:lnTo>
                  <a:lnTo>
                    <a:pt x="596" y="557"/>
                  </a:lnTo>
                  <a:lnTo>
                    <a:pt x="605" y="562"/>
                  </a:lnTo>
                  <a:lnTo>
                    <a:pt x="615" y="565"/>
                  </a:lnTo>
                  <a:lnTo>
                    <a:pt x="625" y="568"/>
                  </a:lnTo>
                  <a:lnTo>
                    <a:pt x="634" y="571"/>
                  </a:lnTo>
                  <a:lnTo>
                    <a:pt x="644" y="572"/>
                  </a:lnTo>
                  <a:close/>
                  <a:moveTo>
                    <a:pt x="555" y="508"/>
                  </a:moveTo>
                  <a:lnTo>
                    <a:pt x="599" y="535"/>
                  </a:lnTo>
                  <a:lnTo>
                    <a:pt x="647" y="563"/>
                  </a:lnTo>
                  <a:lnTo>
                    <a:pt x="642" y="558"/>
                  </a:lnTo>
                  <a:lnTo>
                    <a:pt x="638" y="553"/>
                  </a:lnTo>
                  <a:lnTo>
                    <a:pt x="633" y="549"/>
                  </a:lnTo>
                  <a:lnTo>
                    <a:pt x="628" y="544"/>
                  </a:lnTo>
                  <a:lnTo>
                    <a:pt x="622" y="540"/>
                  </a:lnTo>
                  <a:lnTo>
                    <a:pt x="617" y="536"/>
                  </a:lnTo>
                  <a:lnTo>
                    <a:pt x="611" y="532"/>
                  </a:lnTo>
                  <a:lnTo>
                    <a:pt x="605" y="528"/>
                  </a:lnTo>
                  <a:lnTo>
                    <a:pt x="593" y="522"/>
                  </a:lnTo>
                  <a:lnTo>
                    <a:pt x="587" y="519"/>
                  </a:lnTo>
                  <a:lnTo>
                    <a:pt x="581" y="516"/>
                  </a:lnTo>
                  <a:lnTo>
                    <a:pt x="568" y="512"/>
                  </a:lnTo>
                  <a:lnTo>
                    <a:pt x="561" y="510"/>
                  </a:lnTo>
                  <a:lnTo>
                    <a:pt x="555" y="508"/>
                  </a:lnTo>
                  <a:close/>
                  <a:moveTo>
                    <a:pt x="236" y="251"/>
                  </a:moveTo>
                  <a:lnTo>
                    <a:pt x="251" y="271"/>
                  </a:lnTo>
                  <a:lnTo>
                    <a:pt x="259" y="281"/>
                  </a:lnTo>
                  <a:lnTo>
                    <a:pt x="268" y="290"/>
                  </a:lnTo>
                  <a:lnTo>
                    <a:pt x="284" y="308"/>
                  </a:lnTo>
                  <a:lnTo>
                    <a:pt x="301" y="325"/>
                  </a:lnTo>
                  <a:lnTo>
                    <a:pt x="319" y="342"/>
                  </a:lnTo>
                  <a:lnTo>
                    <a:pt x="337" y="358"/>
                  </a:lnTo>
                  <a:lnTo>
                    <a:pt x="356" y="374"/>
                  </a:lnTo>
                  <a:lnTo>
                    <a:pt x="376" y="390"/>
                  </a:lnTo>
                  <a:lnTo>
                    <a:pt x="393" y="403"/>
                  </a:lnTo>
                  <a:lnTo>
                    <a:pt x="409" y="415"/>
                  </a:lnTo>
                  <a:lnTo>
                    <a:pt x="424" y="425"/>
                  </a:lnTo>
                  <a:lnTo>
                    <a:pt x="439" y="434"/>
                  </a:lnTo>
                  <a:lnTo>
                    <a:pt x="469" y="453"/>
                  </a:lnTo>
                  <a:lnTo>
                    <a:pt x="503" y="476"/>
                  </a:lnTo>
                  <a:lnTo>
                    <a:pt x="536" y="496"/>
                  </a:lnTo>
                  <a:lnTo>
                    <a:pt x="546" y="497"/>
                  </a:lnTo>
                  <a:lnTo>
                    <a:pt x="556" y="499"/>
                  </a:lnTo>
                  <a:lnTo>
                    <a:pt x="566" y="501"/>
                  </a:lnTo>
                  <a:lnTo>
                    <a:pt x="575" y="504"/>
                  </a:lnTo>
                  <a:lnTo>
                    <a:pt x="584" y="508"/>
                  </a:lnTo>
                  <a:lnTo>
                    <a:pt x="594" y="511"/>
                  </a:lnTo>
                  <a:lnTo>
                    <a:pt x="603" y="516"/>
                  </a:lnTo>
                  <a:lnTo>
                    <a:pt x="611" y="521"/>
                  </a:lnTo>
                  <a:lnTo>
                    <a:pt x="619" y="526"/>
                  </a:lnTo>
                  <a:lnTo>
                    <a:pt x="627" y="532"/>
                  </a:lnTo>
                  <a:lnTo>
                    <a:pt x="635" y="538"/>
                  </a:lnTo>
                  <a:lnTo>
                    <a:pt x="642" y="545"/>
                  </a:lnTo>
                  <a:lnTo>
                    <a:pt x="649" y="552"/>
                  </a:lnTo>
                  <a:lnTo>
                    <a:pt x="657" y="560"/>
                  </a:lnTo>
                  <a:lnTo>
                    <a:pt x="663" y="568"/>
                  </a:lnTo>
                  <a:lnTo>
                    <a:pt x="669" y="576"/>
                  </a:lnTo>
                  <a:lnTo>
                    <a:pt x="669" y="578"/>
                  </a:lnTo>
                  <a:lnTo>
                    <a:pt x="668" y="580"/>
                  </a:lnTo>
                  <a:lnTo>
                    <a:pt x="667" y="582"/>
                  </a:lnTo>
                  <a:lnTo>
                    <a:pt x="666" y="582"/>
                  </a:lnTo>
                  <a:lnTo>
                    <a:pt x="659" y="582"/>
                  </a:lnTo>
                  <a:lnTo>
                    <a:pt x="651" y="582"/>
                  </a:lnTo>
                  <a:lnTo>
                    <a:pt x="645" y="581"/>
                  </a:lnTo>
                  <a:lnTo>
                    <a:pt x="638" y="580"/>
                  </a:lnTo>
                  <a:lnTo>
                    <a:pt x="625" y="578"/>
                  </a:lnTo>
                  <a:lnTo>
                    <a:pt x="618" y="576"/>
                  </a:lnTo>
                  <a:lnTo>
                    <a:pt x="612" y="574"/>
                  </a:lnTo>
                  <a:lnTo>
                    <a:pt x="599" y="569"/>
                  </a:lnTo>
                  <a:lnTo>
                    <a:pt x="593" y="567"/>
                  </a:lnTo>
                  <a:lnTo>
                    <a:pt x="587" y="564"/>
                  </a:lnTo>
                  <a:lnTo>
                    <a:pt x="576" y="557"/>
                  </a:lnTo>
                  <a:lnTo>
                    <a:pt x="570" y="553"/>
                  </a:lnTo>
                  <a:lnTo>
                    <a:pt x="565" y="548"/>
                  </a:lnTo>
                  <a:lnTo>
                    <a:pt x="554" y="539"/>
                  </a:lnTo>
                  <a:lnTo>
                    <a:pt x="550" y="534"/>
                  </a:lnTo>
                  <a:lnTo>
                    <a:pt x="546" y="529"/>
                  </a:lnTo>
                  <a:lnTo>
                    <a:pt x="539" y="518"/>
                  </a:lnTo>
                  <a:lnTo>
                    <a:pt x="535" y="512"/>
                  </a:lnTo>
                  <a:lnTo>
                    <a:pt x="532" y="505"/>
                  </a:lnTo>
                  <a:lnTo>
                    <a:pt x="498" y="484"/>
                  </a:lnTo>
                  <a:lnTo>
                    <a:pt x="464" y="461"/>
                  </a:lnTo>
                  <a:lnTo>
                    <a:pt x="433" y="442"/>
                  </a:lnTo>
                  <a:lnTo>
                    <a:pt x="418" y="433"/>
                  </a:lnTo>
                  <a:lnTo>
                    <a:pt x="403" y="422"/>
                  </a:lnTo>
                  <a:lnTo>
                    <a:pt x="388" y="411"/>
                  </a:lnTo>
                  <a:lnTo>
                    <a:pt x="371" y="398"/>
                  </a:lnTo>
                  <a:lnTo>
                    <a:pt x="350" y="382"/>
                  </a:lnTo>
                  <a:lnTo>
                    <a:pt x="331" y="365"/>
                  </a:lnTo>
                  <a:lnTo>
                    <a:pt x="312" y="349"/>
                  </a:lnTo>
                  <a:lnTo>
                    <a:pt x="294" y="332"/>
                  </a:lnTo>
                  <a:lnTo>
                    <a:pt x="277" y="314"/>
                  </a:lnTo>
                  <a:lnTo>
                    <a:pt x="261" y="296"/>
                  </a:lnTo>
                  <a:lnTo>
                    <a:pt x="244" y="277"/>
                  </a:lnTo>
                  <a:lnTo>
                    <a:pt x="236" y="267"/>
                  </a:lnTo>
                  <a:lnTo>
                    <a:pt x="228" y="257"/>
                  </a:lnTo>
                  <a:lnTo>
                    <a:pt x="225" y="258"/>
                  </a:lnTo>
                  <a:lnTo>
                    <a:pt x="80" y="385"/>
                  </a:lnTo>
                  <a:lnTo>
                    <a:pt x="78" y="386"/>
                  </a:lnTo>
                  <a:lnTo>
                    <a:pt x="76" y="386"/>
                  </a:lnTo>
                  <a:lnTo>
                    <a:pt x="75" y="386"/>
                  </a:lnTo>
                  <a:lnTo>
                    <a:pt x="73" y="385"/>
                  </a:lnTo>
                  <a:lnTo>
                    <a:pt x="72" y="383"/>
                  </a:lnTo>
                  <a:lnTo>
                    <a:pt x="72" y="382"/>
                  </a:lnTo>
                  <a:lnTo>
                    <a:pt x="72" y="380"/>
                  </a:lnTo>
                  <a:lnTo>
                    <a:pt x="74" y="378"/>
                  </a:lnTo>
                  <a:lnTo>
                    <a:pt x="198" y="270"/>
                  </a:lnTo>
                  <a:lnTo>
                    <a:pt x="180" y="279"/>
                  </a:lnTo>
                  <a:lnTo>
                    <a:pt x="171" y="283"/>
                  </a:lnTo>
                  <a:lnTo>
                    <a:pt x="162" y="288"/>
                  </a:lnTo>
                  <a:lnTo>
                    <a:pt x="145" y="299"/>
                  </a:lnTo>
                  <a:lnTo>
                    <a:pt x="128" y="310"/>
                  </a:lnTo>
                  <a:lnTo>
                    <a:pt x="112" y="322"/>
                  </a:lnTo>
                  <a:lnTo>
                    <a:pt x="96" y="335"/>
                  </a:lnTo>
                  <a:lnTo>
                    <a:pt x="81" y="349"/>
                  </a:lnTo>
                  <a:lnTo>
                    <a:pt x="67" y="363"/>
                  </a:lnTo>
                  <a:lnTo>
                    <a:pt x="65" y="364"/>
                  </a:lnTo>
                  <a:lnTo>
                    <a:pt x="64" y="365"/>
                  </a:lnTo>
                  <a:lnTo>
                    <a:pt x="62" y="364"/>
                  </a:lnTo>
                  <a:lnTo>
                    <a:pt x="60" y="364"/>
                  </a:lnTo>
                  <a:lnTo>
                    <a:pt x="59" y="362"/>
                  </a:lnTo>
                  <a:lnTo>
                    <a:pt x="59" y="360"/>
                  </a:lnTo>
                  <a:lnTo>
                    <a:pt x="59" y="359"/>
                  </a:lnTo>
                  <a:lnTo>
                    <a:pt x="60" y="357"/>
                  </a:lnTo>
                  <a:lnTo>
                    <a:pt x="70" y="347"/>
                  </a:lnTo>
                  <a:lnTo>
                    <a:pt x="80" y="337"/>
                  </a:lnTo>
                  <a:lnTo>
                    <a:pt x="90" y="328"/>
                  </a:lnTo>
                  <a:lnTo>
                    <a:pt x="100" y="319"/>
                  </a:lnTo>
                  <a:lnTo>
                    <a:pt x="111" y="310"/>
                  </a:lnTo>
                  <a:lnTo>
                    <a:pt x="122" y="302"/>
                  </a:lnTo>
                  <a:lnTo>
                    <a:pt x="134" y="295"/>
                  </a:lnTo>
                  <a:lnTo>
                    <a:pt x="145" y="287"/>
                  </a:lnTo>
                  <a:lnTo>
                    <a:pt x="37" y="329"/>
                  </a:lnTo>
                  <a:lnTo>
                    <a:pt x="36" y="330"/>
                  </a:lnTo>
                  <a:lnTo>
                    <a:pt x="35" y="330"/>
                  </a:lnTo>
                  <a:lnTo>
                    <a:pt x="33" y="329"/>
                  </a:lnTo>
                  <a:lnTo>
                    <a:pt x="32" y="328"/>
                  </a:lnTo>
                  <a:lnTo>
                    <a:pt x="31" y="327"/>
                  </a:lnTo>
                  <a:lnTo>
                    <a:pt x="30" y="325"/>
                  </a:lnTo>
                  <a:lnTo>
                    <a:pt x="31" y="323"/>
                  </a:lnTo>
                  <a:lnTo>
                    <a:pt x="32" y="322"/>
                  </a:lnTo>
                  <a:lnTo>
                    <a:pt x="33" y="320"/>
                  </a:lnTo>
                  <a:lnTo>
                    <a:pt x="198" y="256"/>
                  </a:lnTo>
                  <a:lnTo>
                    <a:pt x="173" y="258"/>
                  </a:lnTo>
                  <a:lnTo>
                    <a:pt x="161" y="260"/>
                  </a:lnTo>
                  <a:lnTo>
                    <a:pt x="148" y="261"/>
                  </a:lnTo>
                  <a:lnTo>
                    <a:pt x="136" y="264"/>
                  </a:lnTo>
                  <a:lnTo>
                    <a:pt x="124" y="266"/>
                  </a:lnTo>
                  <a:lnTo>
                    <a:pt x="112" y="269"/>
                  </a:lnTo>
                  <a:lnTo>
                    <a:pt x="100" y="272"/>
                  </a:lnTo>
                  <a:lnTo>
                    <a:pt x="88" y="275"/>
                  </a:lnTo>
                  <a:lnTo>
                    <a:pt x="76" y="279"/>
                  </a:lnTo>
                  <a:lnTo>
                    <a:pt x="64" y="283"/>
                  </a:lnTo>
                  <a:lnTo>
                    <a:pt x="53" y="287"/>
                  </a:lnTo>
                  <a:lnTo>
                    <a:pt x="41" y="292"/>
                  </a:lnTo>
                  <a:lnTo>
                    <a:pt x="30" y="297"/>
                  </a:lnTo>
                  <a:lnTo>
                    <a:pt x="18" y="303"/>
                  </a:lnTo>
                  <a:lnTo>
                    <a:pt x="7" y="309"/>
                  </a:lnTo>
                  <a:lnTo>
                    <a:pt x="5" y="310"/>
                  </a:lnTo>
                  <a:lnTo>
                    <a:pt x="3" y="310"/>
                  </a:lnTo>
                  <a:lnTo>
                    <a:pt x="2" y="309"/>
                  </a:lnTo>
                  <a:lnTo>
                    <a:pt x="1" y="307"/>
                  </a:lnTo>
                  <a:lnTo>
                    <a:pt x="0" y="306"/>
                  </a:lnTo>
                  <a:lnTo>
                    <a:pt x="0" y="304"/>
                  </a:lnTo>
                  <a:lnTo>
                    <a:pt x="1" y="302"/>
                  </a:lnTo>
                  <a:lnTo>
                    <a:pt x="3" y="301"/>
                  </a:lnTo>
                  <a:lnTo>
                    <a:pt x="22" y="291"/>
                  </a:lnTo>
                  <a:lnTo>
                    <a:pt x="41" y="282"/>
                  </a:lnTo>
                  <a:lnTo>
                    <a:pt x="51" y="278"/>
                  </a:lnTo>
                  <a:lnTo>
                    <a:pt x="61" y="274"/>
                  </a:lnTo>
                  <a:lnTo>
                    <a:pt x="80" y="267"/>
                  </a:lnTo>
                  <a:lnTo>
                    <a:pt x="100" y="262"/>
                  </a:lnTo>
                  <a:lnTo>
                    <a:pt x="121" y="257"/>
                  </a:lnTo>
                  <a:lnTo>
                    <a:pt x="141" y="253"/>
                  </a:lnTo>
                  <a:lnTo>
                    <a:pt x="162" y="250"/>
                  </a:lnTo>
                  <a:lnTo>
                    <a:pt x="86" y="246"/>
                  </a:lnTo>
                  <a:lnTo>
                    <a:pt x="81" y="248"/>
                  </a:lnTo>
                  <a:lnTo>
                    <a:pt x="75" y="251"/>
                  </a:lnTo>
                  <a:lnTo>
                    <a:pt x="64" y="258"/>
                  </a:lnTo>
                  <a:lnTo>
                    <a:pt x="62" y="259"/>
                  </a:lnTo>
                  <a:lnTo>
                    <a:pt x="60" y="259"/>
                  </a:lnTo>
                  <a:lnTo>
                    <a:pt x="59" y="258"/>
                  </a:lnTo>
                  <a:lnTo>
                    <a:pt x="57" y="257"/>
                  </a:lnTo>
                  <a:lnTo>
                    <a:pt x="57" y="256"/>
                  </a:lnTo>
                  <a:lnTo>
                    <a:pt x="56" y="254"/>
                  </a:lnTo>
                  <a:lnTo>
                    <a:pt x="57" y="252"/>
                  </a:lnTo>
                  <a:lnTo>
                    <a:pt x="59" y="251"/>
                  </a:lnTo>
                  <a:lnTo>
                    <a:pt x="68" y="245"/>
                  </a:lnTo>
                  <a:lnTo>
                    <a:pt x="15" y="241"/>
                  </a:lnTo>
                  <a:lnTo>
                    <a:pt x="13" y="241"/>
                  </a:lnTo>
                  <a:lnTo>
                    <a:pt x="11" y="240"/>
                  </a:lnTo>
                  <a:lnTo>
                    <a:pt x="10" y="238"/>
                  </a:lnTo>
                  <a:lnTo>
                    <a:pt x="10" y="236"/>
                  </a:lnTo>
                  <a:lnTo>
                    <a:pt x="11" y="235"/>
                  </a:lnTo>
                  <a:lnTo>
                    <a:pt x="12" y="233"/>
                  </a:lnTo>
                  <a:lnTo>
                    <a:pt x="13" y="232"/>
                  </a:lnTo>
                  <a:lnTo>
                    <a:pt x="15" y="232"/>
                  </a:lnTo>
                  <a:lnTo>
                    <a:pt x="85" y="236"/>
                  </a:lnTo>
                  <a:lnTo>
                    <a:pt x="95" y="232"/>
                  </a:lnTo>
                  <a:lnTo>
                    <a:pt x="106" y="228"/>
                  </a:lnTo>
                  <a:lnTo>
                    <a:pt x="117" y="226"/>
                  </a:lnTo>
                  <a:lnTo>
                    <a:pt x="128" y="224"/>
                  </a:lnTo>
                  <a:lnTo>
                    <a:pt x="139" y="223"/>
                  </a:lnTo>
                  <a:lnTo>
                    <a:pt x="150" y="222"/>
                  </a:lnTo>
                  <a:lnTo>
                    <a:pt x="161" y="223"/>
                  </a:lnTo>
                  <a:lnTo>
                    <a:pt x="172" y="224"/>
                  </a:lnTo>
                  <a:lnTo>
                    <a:pt x="182" y="226"/>
                  </a:lnTo>
                  <a:lnTo>
                    <a:pt x="190" y="228"/>
                  </a:lnTo>
                  <a:lnTo>
                    <a:pt x="198" y="230"/>
                  </a:lnTo>
                  <a:lnTo>
                    <a:pt x="205" y="232"/>
                  </a:lnTo>
                  <a:lnTo>
                    <a:pt x="87" y="106"/>
                  </a:lnTo>
                  <a:lnTo>
                    <a:pt x="86" y="104"/>
                  </a:lnTo>
                  <a:lnTo>
                    <a:pt x="85" y="102"/>
                  </a:lnTo>
                  <a:lnTo>
                    <a:pt x="86" y="101"/>
                  </a:lnTo>
                  <a:lnTo>
                    <a:pt x="87" y="99"/>
                  </a:lnTo>
                  <a:lnTo>
                    <a:pt x="88" y="98"/>
                  </a:lnTo>
                  <a:lnTo>
                    <a:pt x="90" y="98"/>
                  </a:lnTo>
                  <a:lnTo>
                    <a:pt x="92" y="98"/>
                  </a:lnTo>
                  <a:lnTo>
                    <a:pt x="94" y="100"/>
                  </a:lnTo>
                  <a:lnTo>
                    <a:pt x="220" y="235"/>
                  </a:lnTo>
                  <a:lnTo>
                    <a:pt x="216" y="222"/>
                  </a:lnTo>
                  <a:lnTo>
                    <a:pt x="212" y="209"/>
                  </a:lnTo>
                  <a:lnTo>
                    <a:pt x="207" y="197"/>
                  </a:lnTo>
                  <a:lnTo>
                    <a:pt x="202" y="184"/>
                  </a:lnTo>
                  <a:lnTo>
                    <a:pt x="196" y="172"/>
                  </a:lnTo>
                  <a:lnTo>
                    <a:pt x="190" y="160"/>
                  </a:lnTo>
                  <a:lnTo>
                    <a:pt x="184" y="148"/>
                  </a:lnTo>
                  <a:lnTo>
                    <a:pt x="177" y="137"/>
                  </a:lnTo>
                  <a:lnTo>
                    <a:pt x="170" y="126"/>
                  </a:lnTo>
                  <a:lnTo>
                    <a:pt x="162" y="115"/>
                  </a:lnTo>
                  <a:lnTo>
                    <a:pt x="155" y="104"/>
                  </a:lnTo>
                  <a:lnTo>
                    <a:pt x="146" y="93"/>
                  </a:lnTo>
                  <a:lnTo>
                    <a:pt x="138" y="83"/>
                  </a:lnTo>
                  <a:lnTo>
                    <a:pt x="129" y="73"/>
                  </a:lnTo>
                  <a:lnTo>
                    <a:pt x="119" y="63"/>
                  </a:lnTo>
                  <a:lnTo>
                    <a:pt x="109" y="54"/>
                  </a:lnTo>
                  <a:lnTo>
                    <a:pt x="108" y="52"/>
                  </a:lnTo>
                  <a:lnTo>
                    <a:pt x="107" y="50"/>
                  </a:lnTo>
                  <a:lnTo>
                    <a:pt x="108" y="48"/>
                  </a:lnTo>
                  <a:lnTo>
                    <a:pt x="109" y="47"/>
                  </a:lnTo>
                  <a:lnTo>
                    <a:pt x="110" y="46"/>
                  </a:lnTo>
                  <a:lnTo>
                    <a:pt x="112" y="45"/>
                  </a:lnTo>
                  <a:lnTo>
                    <a:pt x="114" y="46"/>
                  </a:lnTo>
                  <a:lnTo>
                    <a:pt x="116" y="47"/>
                  </a:lnTo>
                  <a:lnTo>
                    <a:pt x="125" y="56"/>
                  </a:lnTo>
                  <a:lnTo>
                    <a:pt x="135" y="66"/>
                  </a:lnTo>
                  <a:lnTo>
                    <a:pt x="144" y="76"/>
                  </a:lnTo>
                  <a:lnTo>
                    <a:pt x="152" y="86"/>
                  </a:lnTo>
                  <a:lnTo>
                    <a:pt x="161" y="96"/>
                  </a:lnTo>
                  <a:lnTo>
                    <a:pt x="169" y="107"/>
                  </a:lnTo>
                  <a:lnTo>
                    <a:pt x="176" y="118"/>
                  </a:lnTo>
                  <a:lnTo>
                    <a:pt x="183" y="129"/>
                  </a:lnTo>
                  <a:lnTo>
                    <a:pt x="190" y="140"/>
                  </a:lnTo>
                  <a:lnTo>
                    <a:pt x="196" y="151"/>
                  </a:lnTo>
                  <a:lnTo>
                    <a:pt x="208" y="175"/>
                  </a:lnTo>
                  <a:lnTo>
                    <a:pt x="213" y="187"/>
                  </a:lnTo>
                  <a:lnTo>
                    <a:pt x="218" y="200"/>
                  </a:lnTo>
                  <a:lnTo>
                    <a:pt x="223" y="212"/>
                  </a:lnTo>
                  <a:lnTo>
                    <a:pt x="227" y="225"/>
                  </a:lnTo>
                  <a:lnTo>
                    <a:pt x="229" y="197"/>
                  </a:lnTo>
                  <a:lnTo>
                    <a:pt x="230" y="170"/>
                  </a:lnTo>
                  <a:lnTo>
                    <a:pt x="230" y="157"/>
                  </a:lnTo>
                  <a:lnTo>
                    <a:pt x="230" y="143"/>
                  </a:lnTo>
                  <a:lnTo>
                    <a:pt x="229" y="130"/>
                  </a:lnTo>
                  <a:lnTo>
                    <a:pt x="228" y="116"/>
                  </a:lnTo>
                  <a:lnTo>
                    <a:pt x="226" y="103"/>
                  </a:lnTo>
                  <a:lnTo>
                    <a:pt x="224" y="89"/>
                  </a:lnTo>
                  <a:lnTo>
                    <a:pt x="222" y="76"/>
                  </a:lnTo>
                  <a:lnTo>
                    <a:pt x="219" y="63"/>
                  </a:lnTo>
                  <a:lnTo>
                    <a:pt x="212" y="36"/>
                  </a:lnTo>
                  <a:lnTo>
                    <a:pt x="208" y="23"/>
                  </a:lnTo>
                  <a:lnTo>
                    <a:pt x="204" y="9"/>
                  </a:lnTo>
                  <a:lnTo>
                    <a:pt x="203" y="7"/>
                  </a:lnTo>
                  <a:lnTo>
                    <a:pt x="204" y="5"/>
                  </a:lnTo>
                  <a:lnTo>
                    <a:pt x="205" y="4"/>
                  </a:lnTo>
                  <a:lnTo>
                    <a:pt x="207" y="3"/>
                  </a:lnTo>
                  <a:lnTo>
                    <a:pt x="208" y="3"/>
                  </a:lnTo>
                  <a:lnTo>
                    <a:pt x="210" y="3"/>
                  </a:lnTo>
                  <a:lnTo>
                    <a:pt x="212" y="4"/>
                  </a:lnTo>
                  <a:lnTo>
                    <a:pt x="213" y="6"/>
                  </a:lnTo>
                  <a:lnTo>
                    <a:pt x="220" y="29"/>
                  </a:lnTo>
                  <a:lnTo>
                    <a:pt x="224" y="41"/>
                  </a:lnTo>
                  <a:lnTo>
                    <a:pt x="226" y="52"/>
                  </a:lnTo>
                  <a:lnTo>
                    <a:pt x="231" y="75"/>
                  </a:lnTo>
                  <a:lnTo>
                    <a:pt x="235" y="98"/>
                  </a:lnTo>
                  <a:lnTo>
                    <a:pt x="237" y="110"/>
                  </a:lnTo>
                  <a:lnTo>
                    <a:pt x="238" y="121"/>
                  </a:lnTo>
                  <a:lnTo>
                    <a:pt x="239" y="145"/>
                  </a:lnTo>
                  <a:lnTo>
                    <a:pt x="240" y="168"/>
                  </a:lnTo>
                  <a:lnTo>
                    <a:pt x="239" y="191"/>
                  </a:lnTo>
                  <a:lnTo>
                    <a:pt x="242" y="168"/>
                  </a:lnTo>
                  <a:lnTo>
                    <a:pt x="244" y="145"/>
                  </a:lnTo>
                  <a:lnTo>
                    <a:pt x="245" y="121"/>
                  </a:lnTo>
                  <a:lnTo>
                    <a:pt x="245" y="110"/>
                  </a:lnTo>
                  <a:lnTo>
                    <a:pt x="244" y="98"/>
                  </a:lnTo>
                  <a:lnTo>
                    <a:pt x="244" y="86"/>
                  </a:lnTo>
                  <a:lnTo>
                    <a:pt x="243" y="75"/>
                  </a:lnTo>
                  <a:lnTo>
                    <a:pt x="240" y="52"/>
                  </a:lnTo>
                  <a:lnTo>
                    <a:pt x="235" y="28"/>
                  </a:lnTo>
                  <a:lnTo>
                    <a:pt x="230" y="6"/>
                  </a:lnTo>
                  <a:lnTo>
                    <a:pt x="230" y="3"/>
                  </a:lnTo>
                  <a:lnTo>
                    <a:pt x="230" y="2"/>
                  </a:lnTo>
                  <a:lnTo>
                    <a:pt x="231" y="0"/>
                  </a:lnTo>
                  <a:lnTo>
                    <a:pt x="233" y="0"/>
                  </a:lnTo>
                  <a:lnTo>
                    <a:pt x="235" y="0"/>
                  </a:lnTo>
                  <a:lnTo>
                    <a:pt x="237" y="0"/>
                  </a:lnTo>
                  <a:lnTo>
                    <a:pt x="238" y="1"/>
                  </a:lnTo>
                  <a:lnTo>
                    <a:pt x="239" y="3"/>
                  </a:lnTo>
                  <a:lnTo>
                    <a:pt x="242" y="14"/>
                  </a:lnTo>
                  <a:lnTo>
                    <a:pt x="244" y="26"/>
                  </a:lnTo>
                  <a:lnTo>
                    <a:pt x="247" y="37"/>
                  </a:lnTo>
                  <a:lnTo>
                    <a:pt x="249" y="49"/>
                  </a:lnTo>
                  <a:lnTo>
                    <a:pt x="252" y="72"/>
                  </a:lnTo>
                  <a:lnTo>
                    <a:pt x="253" y="84"/>
                  </a:lnTo>
                  <a:lnTo>
                    <a:pt x="254" y="95"/>
                  </a:lnTo>
                  <a:lnTo>
                    <a:pt x="254" y="107"/>
                  </a:lnTo>
                  <a:lnTo>
                    <a:pt x="254" y="118"/>
                  </a:lnTo>
                  <a:lnTo>
                    <a:pt x="254" y="142"/>
                  </a:lnTo>
                  <a:lnTo>
                    <a:pt x="252" y="165"/>
                  </a:lnTo>
                  <a:lnTo>
                    <a:pt x="249" y="188"/>
                  </a:lnTo>
                  <a:lnTo>
                    <a:pt x="253" y="176"/>
                  </a:lnTo>
                  <a:lnTo>
                    <a:pt x="257" y="164"/>
                  </a:lnTo>
                  <a:lnTo>
                    <a:pt x="260" y="152"/>
                  </a:lnTo>
                  <a:lnTo>
                    <a:pt x="264" y="140"/>
                  </a:lnTo>
                  <a:lnTo>
                    <a:pt x="266" y="128"/>
                  </a:lnTo>
                  <a:lnTo>
                    <a:pt x="269" y="116"/>
                  </a:lnTo>
                  <a:lnTo>
                    <a:pt x="270" y="103"/>
                  </a:lnTo>
                  <a:lnTo>
                    <a:pt x="272" y="90"/>
                  </a:lnTo>
                  <a:lnTo>
                    <a:pt x="273" y="84"/>
                  </a:lnTo>
                  <a:lnTo>
                    <a:pt x="273" y="79"/>
                  </a:lnTo>
                  <a:lnTo>
                    <a:pt x="276" y="68"/>
                  </a:lnTo>
                  <a:lnTo>
                    <a:pt x="280" y="58"/>
                  </a:lnTo>
                  <a:lnTo>
                    <a:pt x="284" y="48"/>
                  </a:lnTo>
                  <a:lnTo>
                    <a:pt x="289" y="39"/>
                  </a:lnTo>
                  <a:lnTo>
                    <a:pt x="296" y="30"/>
                  </a:lnTo>
                  <a:lnTo>
                    <a:pt x="303" y="22"/>
                  </a:lnTo>
                  <a:lnTo>
                    <a:pt x="311" y="14"/>
                  </a:lnTo>
                  <a:lnTo>
                    <a:pt x="313" y="13"/>
                  </a:lnTo>
                  <a:lnTo>
                    <a:pt x="315" y="12"/>
                  </a:lnTo>
                  <a:lnTo>
                    <a:pt x="316" y="13"/>
                  </a:lnTo>
                  <a:lnTo>
                    <a:pt x="318" y="14"/>
                  </a:lnTo>
                  <a:lnTo>
                    <a:pt x="319" y="16"/>
                  </a:lnTo>
                  <a:lnTo>
                    <a:pt x="319" y="17"/>
                  </a:lnTo>
                  <a:lnTo>
                    <a:pt x="319" y="19"/>
                  </a:lnTo>
                  <a:lnTo>
                    <a:pt x="318" y="21"/>
                  </a:lnTo>
                  <a:lnTo>
                    <a:pt x="310" y="28"/>
                  </a:lnTo>
                  <a:lnTo>
                    <a:pt x="303" y="36"/>
                  </a:lnTo>
                  <a:lnTo>
                    <a:pt x="298" y="44"/>
                  </a:lnTo>
                  <a:lnTo>
                    <a:pt x="293" y="52"/>
                  </a:lnTo>
                  <a:lnTo>
                    <a:pt x="288" y="61"/>
                  </a:lnTo>
                  <a:lnTo>
                    <a:pt x="285" y="71"/>
                  </a:lnTo>
                  <a:lnTo>
                    <a:pt x="283" y="81"/>
                  </a:lnTo>
                  <a:lnTo>
                    <a:pt x="282" y="86"/>
                  </a:lnTo>
                  <a:lnTo>
                    <a:pt x="281" y="91"/>
                  </a:lnTo>
                  <a:lnTo>
                    <a:pt x="278" y="114"/>
                  </a:lnTo>
                  <a:lnTo>
                    <a:pt x="277" y="125"/>
                  </a:lnTo>
                  <a:lnTo>
                    <a:pt x="274" y="136"/>
                  </a:lnTo>
                  <a:lnTo>
                    <a:pt x="272" y="147"/>
                  </a:lnTo>
                  <a:lnTo>
                    <a:pt x="269" y="157"/>
                  </a:lnTo>
                  <a:lnTo>
                    <a:pt x="262" y="179"/>
                  </a:lnTo>
                  <a:lnTo>
                    <a:pt x="342" y="37"/>
                  </a:lnTo>
                  <a:lnTo>
                    <a:pt x="343" y="36"/>
                  </a:lnTo>
                  <a:lnTo>
                    <a:pt x="344" y="36"/>
                  </a:lnTo>
                  <a:lnTo>
                    <a:pt x="345" y="35"/>
                  </a:lnTo>
                  <a:lnTo>
                    <a:pt x="347" y="35"/>
                  </a:lnTo>
                  <a:lnTo>
                    <a:pt x="349" y="36"/>
                  </a:lnTo>
                  <a:lnTo>
                    <a:pt x="350" y="37"/>
                  </a:lnTo>
                  <a:lnTo>
                    <a:pt x="351" y="38"/>
                  </a:lnTo>
                  <a:lnTo>
                    <a:pt x="351" y="40"/>
                  </a:lnTo>
                  <a:lnTo>
                    <a:pt x="351" y="42"/>
                  </a:lnTo>
                  <a:lnTo>
                    <a:pt x="287" y="154"/>
                  </a:lnTo>
                  <a:lnTo>
                    <a:pt x="349" y="63"/>
                  </a:lnTo>
                  <a:lnTo>
                    <a:pt x="351" y="62"/>
                  </a:lnTo>
                  <a:lnTo>
                    <a:pt x="353" y="61"/>
                  </a:lnTo>
                  <a:lnTo>
                    <a:pt x="354" y="61"/>
                  </a:lnTo>
                  <a:lnTo>
                    <a:pt x="356" y="62"/>
                  </a:lnTo>
                  <a:lnTo>
                    <a:pt x="357" y="63"/>
                  </a:lnTo>
                  <a:lnTo>
                    <a:pt x="358" y="65"/>
                  </a:lnTo>
                  <a:lnTo>
                    <a:pt x="358" y="67"/>
                  </a:lnTo>
                  <a:lnTo>
                    <a:pt x="357" y="69"/>
                  </a:lnTo>
                  <a:lnTo>
                    <a:pt x="250" y="226"/>
                  </a:lnTo>
                  <a:lnTo>
                    <a:pt x="371" y="126"/>
                  </a:lnTo>
                  <a:lnTo>
                    <a:pt x="373" y="125"/>
                  </a:lnTo>
                  <a:lnTo>
                    <a:pt x="375" y="125"/>
                  </a:lnTo>
                  <a:lnTo>
                    <a:pt x="377" y="125"/>
                  </a:lnTo>
                  <a:lnTo>
                    <a:pt x="378" y="126"/>
                  </a:lnTo>
                  <a:lnTo>
                    <a:pt x="379" y="128"/>
                  </a:lnTo>
                  <a:lnTo>
                    <a:pt x="379" y="130"/>
                  </a:lnTo>
                  <a:lnTo>
                    <a:pt x="379" y="131"/>
                  </a:lnTo>
                  <a:lnTo>
                    <a:pt x="378" y="133"/>
                  </a:lnTo>
                  <a:lnTo>
                    <a:pt x="261" y="229"/>
                  </a:lnTo>
                  <a:lnTo>
                    <a:pt x="347" y="193"/>
                  </a:lnTo>
                  <a:lnTo>
                    <a:pt x="349" y="192"/>
                  </a:lnTo>
                  <a:lnTo>
                    <a:pt x="351" y="193"/>
                  </a:lnTo>
                  <a:lnTo>
                    <a:pt x="353" y="194"/>
                  </a:lnTo>
                  <a:lnTo>
                    <a:pt x="354" y="195"/>
                  </a:lnTo>
                  <a:lnTo>
                    <a:pt x="354" y="197"/>
                  </a:lnTo>
                  <a:lnTo>
                    <a:pt x="354" y="199"/>
                  </a:lnTo>
                  <a:lnTo>
                    <a:pt x="353" y="201"/>
                  </a:lnTo>
                  <a:lnTo>
                    <a:pt x="351" y="202"/>
                  </a:lnTo>
                  <a:lnTo>
                    <a:pt x="290" y="227"/>
                  </a:lnTo>
                  <a:lnTo>
                    <a:pt x="356" y="210"/>
                  </a:lnTo>
                  <a:lnTo>
                    <a:pt x="358" y="210"/>
                  </a:lnTo>
                  <a:lnTo>
                    <a:pt x="360" y="211"/>
                  </a:lnTo>
                  <a:lnTo>
                    <a:pt x="361" y="212"/>
                  </a:lnTo>
                  <a:lnTo>
                    <a:pt x="361" y="213"/>
                  </a:lnTo>
                  <a:lnTo>
                    <a:pt x="362" y="215"/>
                  </a:lnTo>
                  <a:lnTo>
                    <a:pt x="361" y="217"/>
                  </a:lnTo>
                  <a:lnTo>
                    <a:pt x="360" y="218"/>
                  </a:lnTo>
                  <a:lnTo>
                    <a:pt x="358" y="219"/>
                  </a:lnTo>
                  <a:lnTo>
                    <a:pt x="23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9" name="Freeform 1957"/>
            <p:cNvSpPr>
              <a:spLocks noEditPoints="1"/>
            </p:cNvSpPr>
            <p:nvPr userDrawn="1"/>
          </p:nvSpPr>
          <p:spPr bwMode="auto">
            <a:xfrm>
              <a:off x="10429678" y="3202657"/>
              <a:ext cx="836613" cy="1104900"/>
            </a:xfrm>
            <a:custGeom>
              <a:avLst/>
              <a:gdLst>
                <a:gd name="T0" fmla="*/ 285 w 527"/>
                <a:gd name="T1" fmla="*/ 138 h 696"/>
                <a:gd name="T2" fmla="*/ 32 w 527"/>
                <a:gd name="T3" fmla="*/ 619 h 696"/>
                <a:gd name="T4" fmla="*/ 22 w 527"/>
                <a:gd name="T5" fmla="*/ 613 h 696"/>
                <a:gd name="T6" fmla="*/ 62 w 527"/>
                <a:gd name="T7" fmla="*/ 576 h 696"/>
                <a:gd name="T8" fmla="*/ 53 w 527"/>
                <a:gd name="T9" fmla="*/ 615 h 696"/>
                <a:gd name="T10" fmla="*/ 242 w 527"/>
                <a:gd name="T11" fmla="*/ 264 h 696"/>
                <a:gd name="T12" fmla="*/ 156 w 527"/>
                <a:gd name="T13" fmla="*/ 384 h 696"/>
                <a:gd name="T14" fmla="*/ 71 w 527"/>
                <a:gd name="T15" fmla="*/ 575 h 696"/>
                <a:gd name="T16" fmla="*/ 52 w 527"/>
                <a:gd name="T17" fmla="*/ 642 h 696"/>
                <a:gd name="T18" fmla="*/ 8 w 527"/>
                <a:gd name="T19" fmla="*/ 696 h 696"/>
                <a:gd name="T20" fmla="*/ 1 w 527"/>
                <a:gd name="T21" fmla="*/ 653 h 696"/>
                <a:gd name="T22" fmla="*/ 32 w 527"/>
                <a:gd name="T23" fmla="*/ 579 h 696"/>
                <a:gd name="T24" fmla="*/ 79 w 527"/>
                <a:gd name="T25" fmla="*/ 516 h 696"/>
                <a:gd name="T26" fmla="*/ 161 w 527"/>
                <a:gd name="T27" fmla="*/ 357 h 696"/>
                <a:gd name="T28" fmla="*/ 261 w 527"/>
                <a:gd name="T29" fmla="*/ 230 h 696"/>
                <a:gd name="T30" fmla="*/ 125 w 527"/>
                <a:gd name="T31" fmla="*/ 83 h 696"/>
                <a:gd name="T32" fmla="*/ 231 w 527"/>
                <a:gd name="T33" fmla="*/ 159 h 696"/>
                <a:gd name="T34" fmla="*/ 145 w 527"/>
                <a:gd name="T35" fmla="*/ 74 h 696"/>
                <a:gd name="T36" fmla="*/ 149 w 527"/>
                <a:gd name="T37" fmla="*/ 65 h 696"/>
                <a:gd name="T38" fmla="*/ 212 w 527"/>
                <a:gd name="T39" fmla="*/ 121 h 696"/>
                <a:gd name="T40" fmla="*/ 177 w 527"/>
                <a:gd name="T41" fmla="*/ 33 h 696"/>
                <a:gd name="T42" fmla="*/ 259 w 527"/>
                <a:gd name="T43" fmla="*/ 154 h 696"/>
                <a:gd name="T44" fmla="*/ 225 w 527"/>
                <a:gd name="T45" fmla="*/ 61 h 696"/>
                <a:gd name="T46" fmla="*/ 191 w 527"/>
                <a:gd name="T47" fmla="*/ 4 h 696"/>
                <a:gd name="T48" fmla="*/ 199 w 527"/>
                <a:gd name="T49" fmla="*/ 2 h 696"/>
                <a:gd name="T50" fmla="*/ 257 w 527"/>
                <a:gd name="T51" fmla="*/ 114 h 696"/>
                <a:gd name="T52" fmla="*/ 248 w 527"/>
                <a:gd name="T53" fmla="*/ 56 h 696"/>
                <a:gd name="T54" fmla="*/ 256 w 527"/>
                <a:gd name="T55" fmla="*/ 52 h 696"/>
                <a:gd name="T56" fmla="*/ 266 w 527"/>
                <a:gd name="T57" fmla="*/ 2 h 696"/>
                <a:gd name="T58" fmla="*/ 288 w 527"/>
                <a:gd name="T59" fmla="*/ 106 h 696"/>
                <a:gd name="T60" fmla="*/ 295 w 527"/>
                <a:gd name="T61" fmla="*/ 179 h 696"/>
                <a:gd name="T62" fmla="*/ 410 w 527"/>
                <a:gd name="T63" fmla="*/ 61 h 696"/>
                <a:gd name="T64" fmla="*/ 316 w 527"/>
                <a:gd name="T65" fmla="*/ 198 h 696"/>
                <a:gd name="T66" fmla="*/ 404 w 527"/>
                <a:gd name="T67" fmla="*/ 138 h 696"/>
                <a:gd name="T68" fmla="*/ 461 w 527"/>
                <a:gd name="T69" fmla="*/ 76 h 696"/>
                <a:gd name="T70" fmla="*/ 457 w 527"/>
                <a:gd name="T71" fmla="*/ 94 h 696"/>
                <a:gd name="T72" fmla="*/ 392 w 527"/>
                <a:gd name="T73" fmla="*/ 160 h 696"/>
                <a:gd name="T74" fmla="*/ 316 w 527"/>
                <a:gd name="T75" fmla="*/ 215 h 696"/>
                <a:gd name="T76" fmla="*/ 436 w 527"/>
                <a:gd name="T77" fmla="*/ 196 h 696"/>
                <a:gd name="T78" fmla="*/ 517 w 527"/>
                <a:gd name="T79" fmla="*/ 166 h 696"/>
                <a:gd name="T80" fmla="*/ 507 w 527"/>
                <a:gd name="T81" fmla="*/ 180 h 696"/>
                <a:gd name="T82" fmla="*/ 383 w 527"/>
                <a:gd name="T83" fmla="*/ 218 h 696"/>
                <a:gd name="T84" fmla="*/ 430 w 527"/>
                <a:gd name="T85" fmla="*/ 217 h 696"/>
                <a:gd name="T86" fmla="*/ 524 w 527"/>
                <a:gd name="T87" fmla="*/ 192 h 696"/>
                <a:gd name="T88" fmla="*/ 513 w 527"/>
                <a:gd name="T89" fmla="*/ 205 h 696"/>
                <a:gd name="T90" fmla="*/ 411 w 527"/>
                <a:gd name="T91" fmla="*/ 230 h 696"/>
                <a:gd name="T92" fmla="*/ 391 w 527"/>
                <a:gd name="T93" fmla="*/ 242 h 696"/>
                <a:gd name="T94" fmla="*/ 474 w 527"/>
                <a:gd name="T95" fmla="*/ 247 h 696"/>
                <a:gd name="T96" fmla="*/ 524 w 527"/>
                <a:gd name="T97" fmla="*/ 277 h 696"/>
                <a:gd name="T98" fmla="*/ 507 w 527"/>
                <a:gd name="T99" fmla="*/ 274 h 696"/>
                <a:gd name="T100" fmla="*/ 442 w 527"/>
                <a:gd name="T101" fmla="*/ 253 h 696"/>
                <a:gd name="T102" fmla="*/ 505 w 527"/>
                <a:gd name="T103" fmla="*/ 310 h 696"/>
                <a:gd name="T104" fmla="*/ 499 w 527"/>
                <a:gd name="T105" fmla="*/ 316 h 696"/>
                <a:gd name="T106" fmla="*/ 478 w 527"/>
                <a:gd name="T107" fmla="*/ 325 h 696"/>
                <a:gd name="T108" fmla="*/ 420 w 527"/>
                <a:gd name="T109" fmla="*/ 350 h 696"/>
                <a:gd name="T110" fmla="*/ 412 w 527"/>
                <a:gd name="T111" fmla="*/ 354 h 696"/>
                <a:gd name="T112" fmla="*/ 345 w 527"/>
                <a:gd name="T113" fmla="*/ 338 h 696"/>
                <a:gd name="T114" fmla="*/ 332 w 527"/>
                <a:gd name="T115" fmla="*/ 345 h 696"/>
                <a:gd name="T116" fmla="*/ 277 w 527"/>
                <a:gd name="T117" fmla="*/ 22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7" h="696">
                  <a:moveTo>
                    <a:pt x="281" y="196"/>
                  </a:moveTo>
                  <a:lnTo>
                    <a:pt x="284" y="186"/>
                  </a:lnTo>
                  <a:lnTo>
                    <a:pt x="286" y="177"/>
                  </a:lnTo>
                  <a:lnTo>
                    <a:pt x="287" y="167"/>
                  </a:lnTo>
                  <a:lnTo>
                    <a:pt x="287" y="157"/>
                  </a:lnTo>
                  <a:lnTo>
                    <a:pt x="286" y="148"/>
                  </a:lnTo>
                  <a:lnTo>
                    <a:pt x="285" y="138"/>
                  </a:lnTo>
                  <a:lnTo>
                    <a:pt x="284" y="128"/>
                  </a:lnTo>
                  <a:lnTo>
                    <a:pt x="281" y="118"/>
                  </a:lnTo>
                  <a:lnTo>
                    <a:pt x="278" y="108"/>
                  </a:lnTo>
                  <a:lnTo>
                    <a:pt x="275" y="100"/>
                  </a:lnTo>
                  <a:lnTo>
                    <a:pt x="281" y="196"/>
                  </a:lnTo>
                  <a:close/>
                  <a:moveTo>
                    <a:pt x="9" y="672"/>
                  </a:moveTo>
                  <a:lnTo>
                    <a:pt x="32" y="619"/>
                  </a:lnTo>
                  <a:lnTo>
                    <a:pt x="54" y="570"/>
                  </a:lnTo>
                  <a:lnTo>
                    <a:pt x="48" y="575"/>
                  </a:lnTo>
                  <a:lnTo>
                    <a:pt x="42" y="581"/>
                  </a:lnTo>
                  <a:lnTo>
                    <a:pt x="37" y="588"/>
                  </a:lnTo>
                  <a:lnTo>
                    <a:pt x="31" y="596"/>
                  </a:lnTo>
                  <a:lnTo>
                    <a:pt x="26" y="604"/>
                  </a:lnTo>
                  <a:lnTo>
                    <a:pt x="22" y="613"/>
                  </a:lnTo>
                  <a:lnTo>
                    <a:pt x="18" y="622"/>
                  </a:lnTo>
                  <a:lnTo>
                    <a:pt x="15" y="632"/>
                  </a:lnTo>
                  <a:lnTo>
                    <a:pt x="12" y="642"/>
                  </a:lnTo>
                  <a:lnTo>
                    <a:pt x="11" y="652"/>
                  </a:lnTo>
                  <a:lnTo>
                    <a:pt x="9" y="662"/>
                  </a:lnTo>
                  <a:lnTo>
                    <a:pt x="9" y="672"/>
                  </a:lnTo>
                  <a:close/>
                  <a:moveTo>
                    <a:pt x="62" y="576"/>
                  </a:moveTo>
                  <a:lnTo>
                    <a:pt x="40" y="623"/>
                  </a:lnTo>
                  <a:lnTo>
                    <a:pt x="19" y="673"/>
                  </a:lnTo>
                  <a:lnTo>
                    <a:pt x="27" y="663"/>
                  </a:lnTo>
                  <a:lnTo>
                    <a:pt x="35" y="652"/>
                  </a:lnTo>
                  <a:lnTo>
                    <a:pt x="42" y="640"/>
                  </a:lnTo>
                  <a:lnTo>
                    <a:pt x="48" y="628"/>
                  </a:lnTo>
                  <a:lnTo>
                    <a:pt x="53" y="615"/>
                  </a:lnTo>
                  <a:lnTo>
                    <a:pt x="57" y="602"/>
                  </a:lnTo>
                  <a:lnTo>
                    <a:pt x="60" y="589"/>
                  </a:lnTo>
                  <a:lnTo>
                    <a:pt x="62" y="576"/>
                  </a:lnTo>
                  <a:close/>
                  <a:moveTo>
                    <a:pt x="277" y="227"/>
                  </a:moveTo>
                  <a:lnTo>
                    <a:pt x="268" y="237"/>
                  </a:lnTo>
                  <a:lnTo>
                    <a:pt x="259" y="246"/>
                  </a:lnTo>
                  <a:lnTo>
                    <a:pt x="242" y="264"/>
                  </a:lnTo>
                  <a:lnTo>
                    <a:pt x="227" y="282"/>
                  </a:lnTo>
                  <a:lnTo>
                    <a:pt x="219" y="292"/>
                  </a:lnTo>
                  <a:lnTo>
                    <a:pt x="212" y="301"/>
                  </a:lnTo>
                  <a:lnTo>
                    <a:pt x="197" y="321"/>
                  </a:lnTo>
                  <a:lnTo>
                    <a:pt x="183" y="341"/>
                  </a:lnTo>
                  <a:lnTo>
                    <a:pt x="169" y="362"/>
                  </a:lnTo>
                  <a:lnTo>
                    <a:pt x="156" y="384"/>
                  </a:lnTo>
                  <a:lnTo>
                    <a:pt x="145" y="402"/>
                  </a:lnTo>
                  <a:lnTo>
                    <a:pt x="136" y="419"/>
                  </a:lnTo>
                  <a:lnTo>
                    <a:pt x="120" y="451"/>
                  </a:lnTo>
                  <a:lnTo>
                    <a:pt x="88" y="521"/>
                  </a:lnTo>
                  <a:lnTo>
                    <a:pt x="71" y="555"/>
                  </a:lnTo>
                  <a:lnTo>
                    <a:pt x="71" y="565"/>
                  </a:lnTo>
                  <a:lnTo>
                    <a:pt x="71" y="575"/>
                  </a:lnTo>
                  <a:lnTo>
                    <a:pt x="70" y="585"/>
                  </a:lnTo>
                  <a:lnTo>
                    <a:pt x="68" y="595"/>
                  </a:lnTo>
                  <a:lnTo>
                    <a:pt x="66" y="605"/>
                  </a:lnTo>
                  <a:lnTo>
                    <a:pt x="63" y="614"/>
                  </a:lnTo>
                  <a:lnTo>
                    <a:pt x="60" y="624"/>
                  </a:lnTo>
                  <a:lnTo>
                    <a:pt x="56" y="633"/>
                  </a:lnTo>
                  <a:lnTo>
                    <a:pt x="52" y="642"/>
                  </a:lnTo>
                  <a:lnTo>
                    <a:pt x="47" y="650"/>
                  </a:lnTo>
                  <a:lnTo>
                    <a:pt x="42" y="659"/>
                  </a:lnTo>
                  <a:lnTo>
                    <a:pt x="36" y="667"/>
                  </a:lnTo>
                  <a:lnTo>
                    <a:pt x="30" y="675"/>
                  </a:lnTo>
                  <a:lnTo>
                    <a:pt x="23" y="682"/>
                  </a:lnTo>
                  <a:lnTo>
                    <a:pt x="16" y="689"/>
                  </a:lnTo>
                  <a:lnTo>
                    <a:pt x="8" y="696"/>
                  </a:lnTo>
                  <a:lnTo>
                    <a:pt x="6" y="696"/>
                  </a:lnTo>
                  <a:lnTo>
                    <a:pt x="4" y="696"/>
                  </a:lnTo>
                  <a:lnTo>
                    <a:pt x="3" y="695"/>
                  </a:lnTo>
                  <a:lnTo>
                    <a:pt x="1" y="693"/>
                  </a:lnTo>
                  <a:lnTo>
                    <a:pt x="0" y="680"/>
                  </a:lnTo>
                  <a:lnTo>
                    <a:pt x="0" y="667"/>
                  </a:lnTo>
                  <a:lnTo>
                    <a:pt x="1" y="653"/>
                  </a:lnTo>
                  <a:lnTo>
                    <a:pt x="3" y="640"/>
                  </a:lnTo>
                  <a:lnTo>
                    <a:pt x="6" y="627"/>
                  </a:lnTo>
                  <a:lnTo>
                    <a:pt x="11" y="614"/>
                  </a:lnTo>
                  <a:lnTo>
                    <a:pt x="16" y="602"/>
                  </a:lnTo>
                  <a:lnTo>
                    <a:pt x="20" y="596"/>
                  </a:lnTo>
                  <a:lnTo>
                    <a:pt x="23" y="591"/>
                  </a:lnTo>
                  <a:lnTo>
                    <a:pt x="32" y="579"/>
                  </a:lnTo>
                  <a:lnTo>
                    <a:pt x="36" y="574"/>
                  </a:lnTo>
                  <a:lnTo>
                    <a:pt x="40" y="569"/>
                  </a:lnTo>
                  <a:lnTo>
                    <a:pt x="45" y="565"/>
                  </a:lnTo>
                  <a:lnTo>
                    <a:pt x="50" y="561"/>
                  </a:lnTo>
                  <a:lnTo>
                    <a:pt x="56" y="557"/>
                  </a:lnTo>
                  <a:lnTo>
                    <a:pt x="62" y="553"/>
                  </a:lnTo>
                  <a:lnTo>
                    <a:pt x="79" y="516"/>
                  </a:lnTo>
                  <a:lnTo>
                    <a:pt x="96" y="479"/>
                  </a:lnTo>
                  <a:lnTo>
                    <a:pt x="111" y="447"/>
                  </a:lnTo>
                  <a:lnTo>
                    <a:pt x="119" y="431"/>
                  </a:lnTo>
                  <a:lnTo>
                    <a:pt x="128" y="415"/>
                  </a:lnTo>
                  <a:lnTo>
                    <a:pt x="137" y="398"/>
                  </a:lnTo>
                  <a:lnTo>
                    <a:pt x="148" y="379"/>
                  </a:lnTo>
                  <a:lnTo>
                    <a:pt x="161" y="357"/>
                  </a:lnTo>
                  <a:lnTo>
                    <a:pt x="175" y="336"/>
                  </a:lnTo>
                  <a:lnTo>
                    <a:pt x="189" y="315"/>
                  </a:lnTo>
                  <a:lnTo>
                    <a:pt x="204" y="296"/>
                  </a:lnTo>
                  <a:lnTo>
                    <a:pt x="219" y="276"/>
                  </a:lnTo>
                  <a:lnTo>
                    <a:pt x="235" y="258"/>
                  </a:lnTo>
                  <a:lnTo>
                    <a:pt x="252" y="239"/>
                  </a:lnTo>
                  <a:lnTo>
                    <a:pt x="261" y="230"/>
                  </a:lnTo>
                  <a:lnTo>
                    <a:pt x="270" y="221"/>
                  </a:lnTo>
                  <a:lnTo>
                    <a:pt x="269" y="218"/>
                  </a:lnTo>
                  <a:lnTo>
                    <a:pt x="125" y="89"/>
                  </a:lnTo>
                  <a:lnTo>
                    <a:pt x="124" y="88"/>
                  </a:lnTo>
                  <a:lnTo>
                    <a:pt x="123" y="86"/>
                  </a:lnTo>
                  <a:lnTo>
                    <a:pt x="124" y="84"/>
                  </a:lnTo>
                  <a:lnTo>
                    <a:pt x="125" y="83"/>
                  </a:lnTo>
                  <a:lnTo>
                    <a:pt x="126" y="81"/>
                  </a:lnTo>
                  <a:lnTo>
                    <a:pt x="128" y="81"/>
                  </a:lnTo>
                  <a:lnTo>
                    <a:pt x="129" y="81"/>
                  </a:lnTo>
                  <a:lnTo>
                    <a:pt x="131" y="82"/>
                  </a:lnTo>
                  <a:lnTo>
                    <a:pt x="254" y="192"/>
                  </a:lnTo>
                  <a:lnTo>
                    <a:pt x="243" y="175"/>
                  </a:lnTo>
                  <a:lnTo>
                    <a:pt x="231" y="159"/>
                  </a:lnTo>
                  <a:lnTo>
                    <a:pt x="225" y="151"/>
                  </a:lnTo>
                  <a:lnTo>
                    <a:pt x="219" y="143"/>
                  </a:lnTo>
                  <a:lnTo>
                    <a:pt x="205" y="128"/>
                  </a:lnTo>
                  <a:lnTo>
                    <a:pt x="192" y="113"/>
                  </a:lnTo>
                  <a:lnTo>
                    <a:pt x="177" y="99"/>
                  </a:lnTo>
                  <a:lnTo>
                    <a:pt x="161" y="86"/>
                  </a:lnTo>
                  <a:lnTo>
                    <a:pt x="145" y="74"/>
                  </a:lnTo>
                  <a:lnTo>
                    <a:pt x="144" y="72"/>
                  </a:lnTo>
                  <a:lnTo>
                    <a:pt x="143" y="71"/>
                  </a:lnTo>
                  <a:lnTo>
                    <a:pt x="143" y="69"/>
                  </a:lnTo>
                  <a:lnTo>
                    <a:pt x="144" y="67"/>
                  </a:lnTo>
                  <a:lnTo>
                    <a:pt x="145" y="66"/>
                  </a:lnTo>
                  <a:lnTo>
                    <a:pt x="147" y="65"/>
                  </a:lnTo>
                  <a:lnTo>
                    <a:pt x="149" y="65"/>
                  </a:lnTo>
                  <a:lnTo>
                    <a:pt x="151" y="66"/>
                  </a:lnTo>
                  <a:lnTo>
                    <a:pt x="162" y="74"/>
                  </a:lnTo>
                  <a:lnTo>
                    <a:pt x="173" y="83"/>
                  </a:lnTo>
                  <a:lnTo>
                    <a:pt x="183" y="92"/>
                  </a:lnTo>
                  <a:lnTo>
                    <a:pt x="193" y="101"/>
                  </a:lnTo>
                  <a:lnTo>
                    <a:pt x="203" y="111"/>
                  </a:lnTo>
                  <a:lnTo>
                    <a:pt x="212" y="121"/>
                  </a:lnTo>
                  <a:lnTo>
                    <a:pt x="222" y="131"/>
                  </a:lnTo>
                  <a:lnTo>
                    <a:pt x="230" y="142"/>
                  </a:lnTo>
                  <a:lnTo>
                    <a:pt x="175" y="40"/>
                  </a:lnTo>
                  <a:lnTo>
                    <a:pt x="175" y="38"/>
                  </a:lnTo>
                  <a:lnTo>
                    <a:pt x="175" y="36"/>
                  </a:lnTo>
                  <a:lnTo>
                    <a:pt x="176" y="34"/>
                  </a:lnTo>
                  <a:lnTo>
                    <a:pt x="177" y="33"/>
                  </a:lnTo>
                  <a:lnTo>
                    <a:pt x="179" y="33"/>
                  </a:lnTo>
                  <a:lnTo>
                    <a:pt x="181" y="33"/>
                  </a:lnTo>
                  <a:lnTo>
                    <a:pt x="182" y="34"/>
                  </a:lnTo>
                  <a:lnTo>
                    <a:pt x="184" y="35"/>
                  </a:lnTo>
                  <a:lnTo>
                    <a:pt x="267" y="191"/>
                  </a:lnTo>
                  <a:lnTo>
                    <a:pt x="262" y="166"/>
                  </a:lnTo>
                  <a:lnTo>
                    <a:pt x="259" y="154"/>
                  </a:lnTo>
                  <a:lnTo>
                    <a:pt x="256" y="142"/>
                  </a:lnTo>
                  <a:lnTo>
                    <a:pt x="249" y="118"/>
                  </a:lnTo>
                  <a:lnTo>
                    <a:pt x="245" y="107"/>
                  </a:lnTo>
                  <a:lnTo>
                    <a:pt x="240" y="95"/>
                  </a:lnTo>
                  <a:lnTo>
                    <a:pt x="235" y="84"/>
                  </a:lnTo>
                  <a:lnTo>
                    <a:pt x="230" y="72"/>
                  </a:lnTo>
                  <a:lnTo>
                    <a:pt x="225" y="61"/>
                  </a:lnTo>
                  <a:lnTo>
                    <a:pt x="219" y="50"/>
                  </a:lnTo>
                  <a:lnTo>
                    <a:pt x="213" y="40"/>
                  </a:lnTo>
                  <a:lnTo>
                    <a:pt x="206" y="29"/>
                  </a:lnTo>
                  <a:lnTo>
                    <a:pt x="199" y="18"/>
                  </a:lnTo>
                  <a:lnTo>
                    <a:pt x="192" y="8"/>
                  </a:lnTo>
                  <a:lnTo>
                    <a:pt x="191" y="6"/>
                  </a:lnTo>
                  <a:lnTo>
                    <a:pt x="191" y="4"/>
                  </a:lnTo>
                  <a:lnTo>
                    <a:pt x="191" y="3"/>
                  </a:lnTo>
                  <a:lnTo>
                    <a:pt x="191" y="2"/>
                  </a:lnTo>
                  <a:lnTo>
                    <a:pt x="193" y="1"/>
                  </a:lnTo>
                  <a:lnTo>
                    <a:pt x="194" y="0"/>
                  </a:lnTo>
                  <a:lnTo>
                    <a:pt x="196" y="0"/>
                  </a:lnTo>
                  <a:lnTo>
                    <a:pt x="198" y="1"/>
                  </a:lnTo>
                  <a:lnTo>
                    <a:pt x="199" y="2"/>
                  </a:lnTo>
                  <a:lnTo>
                    <a:pt x="211" y="20"/>
                  </a:lnTo>
                  <a:lnTo>
                    <a:pt x="223" y="38"/>
                  </a:lnTo>
                  <a:lnTo>
                    <a:pt x="233" y="56"/>
                  </a:lnTo>
                  <a:lnTo>
                    <a:pt x="242" y="75"/>
                  </a:lnTo>
                  <a:lnTo>
                    <a:pt x="246" y="85"/>
                  </a:lnTo>
                  <a:lnTo>
                    <a:pt x="250" y="94"/>
                  </a:lnTo>
                  <a:lnTo>
                    <a:pt x="257" y="114"/>
                  </a:lnTo>
                  <a:lnTo>
                    <a:pt x="261" y="124"/>
                  </a:lnTo>
                  <a:lnTo>
                    <a:pt x="264" y="134"/>
                  </a:lnTo>
                  <a:lnTo>
                    <a:pt x="269" y="154"/>
                  </a:lnTo>
                  <a:lnTo>
                    <a:pt x="264" y="78"/>
                  </a:lnTo>
                  <a:lnTo>
                    <a:pt x="257" y="68"/>
                  </a:lnTo>
                  <a:lnTo>
                    <a:pt x="249" y="58"/>
                  </a:lnTo>
                  <a:lnTo>
                    <a:pt x="248" y="56"/>
                  </a:lnTo>
                  <a:lnTo>
                    <a:pt x="248" y="54"/>
                  </a:lnTo>
                  <a:lnTo>
                    <a:pt x="248" y="53"/>
                  </a:lnTo>
                  <a:lnTo>
                    <a:pt x="249" y="51"/>
                  </a:lnTo>
                  <a:lnTo>
                    <a:pt x="251" y="50"/>
                  </a:lnTo>
                  <a:lnTo>
                    <a:pt x="253" y="50"/>
                  </a:lnTo>
                  <a:lnTo>
                    <a:pt x="254" y="50"/>
                  </a:lnTo>
                  <a:lnTo>
                    <a:pt x="256" y="52"/>
                  </a:lnTo>
                  <a:lnTo>
                    <a:pt x="263" y="60"/>
                  </a:lnTo>
                  <a:lnTo>
                    <a:pt x="260" y="7"/>
                  </a:lnTo>
                  <a:lnTo>
                    <a:pt x="260" y="5"/>
                  </a:lnTo>
                  <a:lnTo>
                    <a:pt x="261" y="3"/>
                  </a:lnTo>
                  <a:lnTo>
                    <a:pt x="262" y="2"/>
                  </a:lnTo>
                  <a:lnTo>
                    <a:pt x="264" y="2"/>
                  </a:lnTo>
                  <a:lnTo>
                    <a:pt x="266" y="2"/>
                  </a:lnTo>
                  <a:lnTo>
                    <a:pt x="268" y="3"/>
                  </a:lnTo>
                  <a:lnTo>
                    <a:pt x="269" y="4"/>
                  </a:lnTo>
                  <a:lnTo>
                    <a:pt x="269" y="6"/>
                  </a:lnTo>
                  <a:lnTo>
                    <a:pt x="274" y="76"/>
                  </a:lnTo>
                  <a:lnTo>
                    <a:pt x="279" y="86"/>
                  </a:lnTo>
                  <a:lnTo>
                    <a:pt x="284" y="96"/>
                  </a:lnTo>
                  <a:lnTo>
                    <a:pt x="288" y="106"/>
                  </a:lnTo>
                  <a:lnTo>
                    <a:pt x="291" y="117"/>
                  </a:lnTo>
                  <a:lnTo>
                    <a:pt x="293" y="128"/>
                  </a:lnTo>
                  <a:lnTo>
                    <a:pt x="295" y="139"/>
                  </a:lnTo>
                  <a:lnTo>
                    <a:pt x="296" y="150"/>
                  </a:lnTo>
                  <a:lnTo>
                    <a:pt x="296" y="161"/>
                  </a:lnTo>
                  <a:lnTo>
                    <a:pt x="296" y="171"/>
                  </a:lnTo>
                  <a:lnTo>
                    <a:pt x="295" y="179"/>
                  </a:lnTo>
                  <a:lnTo>
                    <a:pt x="294" y="187"/>
                  </a:lnTo>
                  <a:lnTo>
                    <a:pt x="292" y="195"/>
                  </a:lnTo>
                  <a:lnTo>
                    <a:pt x="403" y="62"/>
                  </a:lnTo>
                  <a:lnTo>
                    <a:pt x="405" y="61"/>
                  </a:lnTo>
                  <a:lnTo>
                    <a:pt x="406" y="60"/>
                  </a:lnTo>
                  <a:lnTo>
                    <a:pt x="408" y="61"/>
                  </a:lnTo>
                  <a:lnTo>
                    <a:pt x="410" y="61"/>
                  </a:lnTo>
                  <a:lnTo>
                    <a:pt x="411" y="63"/>
                  </a:lnTo>
                  <a:lnTo>
                    <a:pt x="411" y="64"/>
                  </a:lnTo>
                  <a:lnTo>
                    <a:pt x="411" y="66"/>
                  </a:lnTo>
                  <a:lnTo>
                    <a:pt x="410" y="68"/>
                  </a:lnTo>
                  <a:lnTo>
                    <a:pt x="291" y="210"/>
                  </a:lnTo>
                  <a:lnTo>
                    <a:pt x="304" y="204"/>
                  </a:lnTo>
                  <a:lnTo>
                    <a:pt x="316" y="198"/>
                  </a:lnTo>
                  <a:lnTo>
                    <a:pt x="339" y="185"/>
                  </a:lnTo>
                  <a:lnTo>
                    <a:pt x="351" y="178"/>
                  </a:lnTo>
                  <a:lnTo>
                    <a:pt x="362" y="171"/>
                  </a:lnTo>
                  <a:lnTo>
                    <a:pt x="373" y="163"/>
                  </a:lnTo>
                  <a:lnTo>
                    <a:pt x="383" y="155"/>
                  </a:lnTo>
                  <a:lnTo>
                    <a:pt x="394" y="147"/>
                  </a:lnTo>
                  <a:lnTo>
                    <a:pt x="404" y="138"/>
                  </a:lnTo>
                  <a:lnTo>
                    <a:pt x="423" y="120"/>
                  </a:lnTo>
                  <a:lnTo>
                    <a:pt x="432" y="110"/>
                  </a:lnTo>
                  <a:lnTo>
                    <a:pt x="441" y="99"/>
                  </a:lnTo>
                  <a:lnTo>
                    <a:pt x="449" y="89"/>
                  </a:lnTo>
                  <a:lnTo>
                    <a:pt x="458" y="78"/>
                  </a:lnTo>
                  <a:lnTo>
                    <a:pt x="459" y="76"/>
                  </a:lnTo>
                  <a:lnTo>
                    <a:pt x="461" y="76"/>
                  </a:lnTo>
                  <a:lnTo>
                    <a:pt x="463" y="76"/>
                  </a:lnTo>
                  <a:lnTo>
                    <a:pt x="464" y="77"/>
                  </a:lnTo>
                  <a:lnTo>
                    <a:pt x="466" y="78"/>
                  </a:lnTo>
                  <a:lnTo>
                    <a:pt x="466" y="80"/>
                  </a:lnTo>
                  <a:lnTo>
                    <a:pt x="466" y="81"/>
                  </a:lnTo>
                  <a:lnTo>
                    <a:pt x="465" y="83"/>
                  </a:lnTo>
                  <a:lnTo>
                    <a:pt x="457" y="94"/>
                  </a:lnTo>
                  <a:lnTo>
                    <a:pt x="449" y="105"/>
                  </a:lnTo>
                  <a:lnTo>
                    <a:pt x="440" y="115"/>
                  </a:lnTo>
                  <a:lnTo>
                    <a:pt x="431" y="125"/>
                  </a:lnTo>
                  <a:lnTo>
                    <a:pt x="422" y="134"/>
                  </a:lnTo>
                  <a:lnTo>
                    <a:pt x="412" y="143"/>
                  </a:lnTo>
                  <a:lnTo>
                    <a:pt x="402" y="152"/>
                  </a:lnTo>
                  <a:lnTo>
                    <a:pt x="392" y="160"/>
                  </a:lnTo>
                  <a:lnTo>
                    <a:pt x="382" y="168"/>
                  </a:lnTo>
                  <a:lnTo>
                    <a:pt x="371" y="176"/>
                  </a:lnTo>
                  <a:lnTo>
                    <a:pt x="349" y="191"/>
                  </a:lnTo>
                  <a:lnTo>
                    <a:pt x="326" y="204"/>
                  </a:lnTo>
                  <a:lnTo>
                    <a:pt x="314" y="210"/>
                  </a:lnTo>
                  <a:lnTo>
                    <a:pt x="302" y="216"/>
                  </a:lnTo>
                  <a:lnTo>
                    <a:pt x="316" y="215"/>
                  </a:lnTo>
                  <a:lnTo>
                    <a:pt x="330" y="215"/>
                  </a:lnTo>
                  <a:lnTo>
                    <a:pt x="343" y="213"/>
                  </a:lnTo>
                  <a:lnTo>
                    <a:pt x="357" y="212"/>
                  </a:lnTo>
                  <a:lnTo>
                    <a:pt x="370" y="210"/>
                  </a:lnTo>
                  <a:lnTo>
                    <a:pt x="384" y="208"/>
                  </a:lnTo>
                  <a:lnTo>
                    <a:pt x="410" y="203"/>
                  </a:lnTo>
                  <a:lnTo>
                    <a:pt x="436" y="196"/>
                  </a:lnTo>
                  <a:lnTo>
                    <a:pt x="462" y="188"/>
                  </a:lnTo>
                  <a:lnTo>
                    <a:pt x="475" y="183"/>
                  </a:lnTo>
                  <a:lnTo>
                    <a:pt x="488" y="178"/>
                  </a:lnTo>
                  <a:lnTo>
                    <a:pt x="500" y="172"/>
                  </a:lnTo>
                  <a:lnTo>
                    <a:pt x="513" y="166"/>
                  </a:lnTo>
                  <a:lnTo>
                    <a:pt x="515" y="166"/>
                  </a:lnTo>
                  <a:lnTo>
                    <a:pt x="517" y="166"/>
                  </a:lnTo>
                  <a:lnTo>
                    <a:pt x="519" y="167"/>
                  </a:lnTo>
                  <a:lnTo>
                    <a:pt x="520" y="168"/>
                  </a:lnTo>
                  <a:lnTo>
                    <a:pt x="520" y="170"/>
                  </a:lnTo>
                  <a:lnTo>
                    <a:pt x="520" y="172"/>
                  </a:lnTo>
                  <a:lnTo>
                    <a:pt x="519" y="173"/>
                  </a:lnTo>
                  <a:lnTo>
                    <a:pt x="517" y="175"/>
                  </a:lnTo>
                  <a:lnTo>
                    <a:pt x="507" y="180"/>
                  </a:lnTo>
                  <a:lnTo>
                    <a:pt x="496" y="185"/>
                  </a:lnTo>
                  <a:lnTo>
                    <a:pt x="473" y="194"/>
                  </a:lnTo>
                  <a:lnTo>
                    <a:pt x="451" y="202"/>
                  </a:lnTo>
                  <a:lnTo>
                    <a:pt x="440" y="205"/>
                  </a:lnTo>
                  <a:lnTo>
                    <a:pt x="429" y="208"/>
                  </a:lnTo>
                  <a:lnTo>
                    <a:pt x="406" y="214"/>
                  </a:lnTo>
                  <a:lnTo>
                    <a:pt x="383" y="218"/>
                  </a:lnTo>
                  <a:lnTo>
                    <a:pt x="360" y="221"/>
                  </a:lnTo>
                  <a:lnTo>
                    <a:pt x="337" y="224"/>
                  </a:lnTo>
                  <a:lnTo>
                    <a:pt x="360" y="224"/>
                  </a:lnTo>
                  <a:lnTo>
                    <a:pt x="372" y="223"/>
                  </a:lnTo>
                  <a:lnTo>
                    <a:pt x="384" y="223"/>
                  </a:lnTo>
                  <a:lnTo>
                    <a:pt x="407" y="221"/>
                  </a:lnTo>
                  <a:lnTo>
                    <a:pt x="430" y="217"/>
                  </a:lnTo>
                  <a:lnTo>
                    <a:pt x="453" y="213"/>
                  </a:lnTo>
                  <a:lnTo>
                    <a:pt x="476" y="207"/>
                  </a:lnTo>
                  <a:lnTo>
                    <a:pt x="498" y="200"/>
                  </a:lnTo>
                  <a:lnTo>
                    <a:pt x="509" y="196"/>
                  </a:lnTo>
                  <a:lnTo>
                    <a:pt x="520" y="192"/>
                  </a:lnTo>
                  <a:lnTo>
                    <a:pt x="522" y="191"/>
                  </a:lnTo>
                  <a:lnTo>
                    <a:pt x="524" y="192"/>
                  </a:lnTo>
                  <a:lnTo>
                    <a:pt x="525" y="193"/>
                  </a:lnTo>
                  <a:lnTo>
                    <a:pt x="526" y="194"/>
                  </a:lnTo>
                  <a:lnTo>
                    <a:pt x="527" y="196"/>
                  </a:lnTo>
                  <a:lnTo>
                    <a:pt x="526" y="198"/>
                  </a:lnTo>
                  <a:lnTo>
                    <a:pt x="525" y="199"/>
                  </a:lnTo>
                  <a:lnTo>
                    <a:pt x="524" y="200"/>
                  </a:lnTo>
                  <a:lnTo>
                    <a:pt x="513" y="205"/>
                  </a:lnTo>
                  <a:lnTo>
                    <a:pt x="502" y="209"/>
                  </a:lnTo>
                  <a:lnTo>
                    <a:pt x="491" y="212"/>
                  </a:lnTo>
                  <a:lnTo>
                    <a:pt x="479" y="216"/>
                  </a:lnTo>
                  <a:lnTo>
                    <a:pt x="468" y="219"/>
                  </a:lnTo>
                  <a:lnTo>
                    <a:pt x="457" y="222"/>
                  </a:lnTo>
                  <a:lnTo>
                    <a:pt x="434" y="226"/>
                  </a:lnTo>
                  <a:lnTo>
                    <a:pt x="411" y="230"/>
                  </a:lnTo>
                  <a:lnTo>
                    <a:pt x="388" y="232"/>
                  </a:lnTo>
                  <a:lnTo>
                    <a:pt x="376" y="233"/>
                  </a:lnTo>
                  <a:lnTo>
                    <a:pt x="365" y="233"/>
                  </a:lnTo>
                  <a:lnTo>
                    <a:pt x="341" y="233"/>
                  </a:lnTo>
                  <a:lnTo>
                    <a:pt x="366" y="238"/>
                  </a:lnTo>
                  <a:lnTo>
                    <a:pt x="378" y="240"/>
                  </a:lnTo>
                  <a:lnTo>
                    <a:pt x="391" y="242"/>
                  </a:lnTo>
                  <a:lnTo>
                    <a:pt x="403" y="243"/>
                  </a:lnTo>
                  <a:lnTo>
                    <a:pt x="416" y="244"/>
                  </a:lnTo>
                  <a:lnTo>
                    <a:pt x="428" y="244"/>
                  </a:lnTo>
                  <a:lnTo>
                    <a:pt x="441" y="244"/>
                  </a:lnTo>
                  <a:lnTo>
                    <a:pt x="453" y="244"/>
                  </a:lnTo>
                  <a:lnTo>
                    <a:pt x="464" y="245"/>
                  </a:lnTo>
                  <a:lnTo>
                    <a:pt x="474" y="247"/>
                  </a:lnTo>
                  <a:lnTo>
                    <a:pt x="484" y="251"/>
                  </a:lnTo>
                  <a:lnTo>
                    <a:pt x="494" y="255"/>
                  </a:lnTo>
                  <a:lnTo>
                    <a:pt x="504" y="260"/>
                  </a:lnTo>
                  <a:lnTo>
                    <a:pt x="513" y="266"/>
                  </a:lnTo>
                  <a:lnTo>
                    <a:pt x="522" y="273"/>
                  </a:lnTo>
                  <a:lnTo>
                    <a:pt x="523" y="275"/>
                  </a:lnTo>
                  <a:lnTo>
                    <a:pt x="524" y="277"/>
                  </a:lnTo>
                  <a:lnTo>
                    <a:pt x="523" y="279"/>
                  </a:lnTo>
                  <a:lnTo>
                    <a:pt x="522" y="280"/>
                  </a:lnTo>
                  <a:lnTo>
                    <a:pt x="521" y="281"/>
                  </a:lnTo>
                  <a:lnTo>
                    <a:pt x="519" y="282"/>
                  </a:lnTo>
                  <a:lnTo>
                    <a:pt x="518" y="282"/>
                  </a:lnTo>
                  <a:lnTo>
                    <a:pt x="516" y="281"/>
                  </a:lnTo>
                  <a:lnTo>
                    <a:pt x="507" y="274"/>
                  </a:lnTo>
                  <a:lnTo>
                    <a:pt x="499" y="269"/>
                  </a:lnTo>
                  <a:lnTo>
                    <a:pt x="490" y="264"/>
                  </a:lnTo>
                  <a:lnTo>
                    <a:pt x="481" y="260"/>
                  </a:lnTo>
                  <a:lnTo>
                    <a:pt x="472" y="257"/>
                  </a:lnTo>
                  <a:lnTo>
                    <a:pt x="462" y="255"/>
                  </a:lnTo>
                  <a:lnTo>
                    <a:pt x="452" y="253"/>
                  </a:lnTo>
                  <a:lnTo>
                    <a:pt x="442" y="253"/>
                  </a:lnTo>
                  <a:lnTo>
                    <a:pt x="419" y="253"/>
                  </a:lnTo>
                  <a:lnTo>
                    <a:pt x="396" y="252"/>
                  </a:lnTo>
                  <a:lnTo>
                    <a:pt x="374" y="249"/>
                  </a:lnTo>
                  <a:lnTo>
                    <a:pt x="352" y="245"/>
                  </a:lnTo>
                  <a:lnTo>
                    <a:pt x="502" y="307"/>
                  </a:lnTo>
                  <a:lnTo>
                    <a:pt x="504" y="309"/>
                  </a:lnTo>
                  <a:lnTo>
                    <a:pt x="505" y="310"/>
                  </a:lnTo>
                  <a:lnTo>
                    <a:pt x="505" y="312"/>
                  </a:lnTo>
                  <a:lnTo>
                    <a:pt x="505" y="314"/>
                  </a:lnTo>
                  <a:lnTo>
                    <a:pt x="504" y="315"/>
                  </a:lnTo>
                  <a:lnTo>
                    <a:pt x="502" y="316"/>
                  </a:lnTo>
                  <a:lnTo>
                    <a:pt x="501" y="317"/>
                  </a:lnTo>
                  <a:lnTo>
                    <a:pt x="500" y="316"/>
                  </a:lnTo>
                  <a:lnTo>
                    <a:pt x="499" y="316"/>
                  </a:lnTo>
                  <a:lnTo>
                    <a:pt x="380" y="267"/>
                  </a:lnTo>
                  <a:lnTo>
                    <a:pt x="477" y="317"/>
                  </a:lnTo>
                  <a:lnTo>
                    <a:pt x="479" y="319"/>
                  </a:lnTo>
                  <a:lnTo>
                    <a:pt x="480" y="320"/>
                  </a:lnTo>
                  <a:lnTo>
                    <a:pt x="480" y="322"/>
                  </a:lnTo>
                  <a:lnTo>
                    <a:pt x="479" y="324"/>
                  </a:lnTo>
                  <a:lnTo>
                    <a:pt x="478" y="325"/>
                  </a:lnTo>
                  <a:lnTo>
                    <a:pt x="477" y="326"/>
                  </a:lnTo>
                  <a:lnTo>
                    <a:pt x="475" y="326"/>
                  </a:lnTo>
                  <a:lnTo>
                    <a:pt x="473" y="326"/>
                  </a:lnTo>
                  <a:lnTo>
                    <a:pt x="304" y="238"/>
                  </a:lnTo>
                  <a:lnTo>
                    <a:pt x="418" y="347"/>
                  </a:lnTo>
                  <a:lnTo>
                    <a:pt x="419" y="349"/>
                  </a:lnTo>
                  <a:lnTo>
                    <a:pt x="420" y="350"/>
                  </a:lnTo>
                  <a:lnTo>
                    <a:pt x="419" y="352"/>
                  </a:lnTo>
                  <a:lnTo>
                    <a:pt x="418" y="354"/>
                  </a:lnTo>
                  <a:lnTo>
                    <a:pt x="417" y="355"/>
                  </a:lnTo>
                  <a:lnTo>
                    <a:pt x="415" y="355"/>
                  </a:lnTo>
                  <a:lnTo>
                    <a:pt x="413" y="355"/>
                  </a:lnTo>
                  <a:lnTo>
                    <a:pt x="412" y="355"/>
                  </a:lnTo>
                  <a:lnTo>
                    <a:pt x="412" y="354"/>
                  </a:lnTo>
                  <a:lnTo>
                    <a:pt x="302" y="249"/>
                  </a:lnTo>
                  <a:lnTo>
                    <a:pt x="348" y="331"/>
                  </a:lnTo>
                  <a:lnTo>
                    <a:pt x="349" y="333"/>
                  </a:lnTo>
                  <a:lnTo>
                    <a:pt x="349" y="335"/>
                  </a:lnTo>
                  <a:lnTo>
                    <a:pt x="348" y="337"/>
                  </a:lnTo>
                  <a:lnTo>
                    <a:pt x="347" y="338"/>
                  </a:lnTo>
                  <a:lnTo>
                    <a:pt x="345" y="338"/>
                  </a:lnTo>
                  <a:lnTo>
                    <a:pt x="343" y="338"/>
                  </a:lnTo>
                  <a:lnTo>
                    <a:pt x="342" y="337"/>
                  </a:lnTo>
                  <a:lnTo>
                    <a:pt x="340" y="336"/>
                  </a:lnTo>
                  <a:lnTo>
                    <a:pt x="307" y="278"/>
                  </a:lnTo>
                  <a:lnTo>
                    <a:pt x="333" y="342"/>
                  </a:lnTo>
                  <a:lnTo>
                    <a:pt x="333" y="344"/>
                  </a:lnTo>
                  <a:lnTo>
                    <a:pt x="332" y="345"/>
                  </a:lnTo>
                  <a:lnTo>
                    <a:pt x="331" y="347"/>
                  </a:lnTo>
                  <a:lnTo>
                    <a:pt x="330" y="348"/>
                  </a:lnTo>
                  <a:lnTo>
                    <a:pt x="328" y="348"/>
                  </a:lnTo>
                  <a:lnTo>
                    <a:pt x="326" y="348"/>
                  </a:lnTo>
                  <a:lnTo>
                    <a:pt x="325" y="347"/>
                  </a:lnTo>
                  <a:lnTo>
                    <a:pt x="324" y="345"/>
                  </a:lnTo>
                  <a:lnTo>
                    <a:pt x="277"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0" name="Freeform 1958"/>
            <p:cNvSpPr>
              <a:spLocks/>
            </p:cNvSpPr>
            <p:nvPr userDrawn="1"/>
          </p:nvSpPr>
          <p:spPr bwMode="auto">
            <a:xfrm>
              <a:off x="1065835" y="1882775"/>
              <a:ext cx="2381250" cy="3765550"/>
            </a:xfrm>
            <a:custGeom>
              <a:avLst/>
              <a:gdLst>
                <a:gd name="T0" fmla="*/ 460 w 1500"/>
                <a:gd name="T1" fmla="*/ 1507 h 2372"/>
                <a:gd name="T2" fmla="*/ 542 w 1500"/>
                <a:gd name="T3" fmla="*/ 1919 h 2372"/>
                <a:gd name="T4" fmla="*/ 668 w 1500"/>
                <a:gd name="T5" fmla="*/ 2372 h 2372"/>
                <a:gd name="T6" fmla="*/ 518 w 1500"/>
                <a:gd name="T7" fmla="*/ 1889 h 2372"/>
                <a:gd name="T8" fmla="*/ 444 w 1500"/>
                <a:gd name="T9" fmla="*/ 1510 h 2372"/>
                <a:gd name="T10" fmla="*/ 385 w 1500"/>
                <a:gd name="T11" fmla="*/ 1153 h 2372"/>
                <a:gd name="T12" fmla="*/ 186 w 1500"/>
                <a:gd name="T13" fmla="*/ 1111 h 2372"/>
                <a:gd name="T14" fmla="*/ 72 w 1500"/>
                <a:gd name="T15" fmla="*/ 1082 h 2372"/>
                <a:gd name="T16" fmla="*/ 262 w 1500"/>
                <a:gd name="T17" fmla="*/ 1056 h 2372"/>
                <a:gd name="T18" fmla="*/ 37 w 1500"/>
                <a:gd name="T19" fmla="*/ 916 h 2372"/>
                <a:gd name="T20" fmla="*/ 333 w 1500"/>
                <a:gd name="T21" fmla="*/ 1080 h 2372"/>
                <a:gd name="T22" fmla="*/ 332 w 1500"/>
                <a:gd name="T23" fmla="*/ 1001 h 2372"/>
                <a:gd name="T24" fmla="*/ 222 w 1500"/>
                <a:gd name="T25" fmla="*/ 883 h 2372"/>
                <a:gd name="T26" fmla="*/ 63 w 1500"/>
                <a:gd name="T27" fmla="*/ 779 h 2372"/>
                <a:gd name="T28" fmla="*/ 98 w 1500"/>
                <a:gd name="T29" fmla="*/ 779 h 2372"/>
                <a:gd name="T30" fmla="*/ 280 w 1500"/>
                <a:gd name="T31" fmla="*/ 917 h 2372"/>
                <a:gd name="T32" fmla="*/ 387 w 1500"/>
                <a:gd name="T33" fmla="*/ 1059 h 2372"/>
                <a:gd name="T34" fmla="*/ 276 w 1500"/>
                <a:gd name="T35" fmla="*/ 150 h 2372"/>
                <a:gd name="T36" fmla="*/ 439 w 1500"/>
                <a:gd name="T37" fmla="*/ 1081 h 2372"/>
                <a:gd name="T38" fmla="*/ 524 w 1500"/>
                <a:gd name="T39" fmla="*/ 734 h 2372"/>
                <a:gd name="T40" fmla="*/ 551 w 1500"/>
                <a:gd name="T41" fmla="*/ 405 h 2372"/>
                <a:gd name="T42" fmla="*/ 535 w 1500"/>
                <a:gd name="T43" fmla="*/ 157 h 2372"/>
                <a:gd name="T44" fmla="*/ 512 w 1500"/>
                <a:gd name="T45" fmla="*/ 0 h 2372"/>
                <a:gd name="T46" fmla="*/ 542 w 1500"/>
                <a:gd name="T47" fmla="*/ 99 h 2372"/>
                <a:gd name="T48" fmla="*/ 567 w 1500"/>
                <a:gd name="T49" fmla="*/ 405 h 2372"/>
                <a:gd name="T50" fmla="*/ 540 w 1500"/>
                <a:gd name="T51" fmla="*/ 736 h 2372"/>
                <a:gd name="T52" fmla="*/ 448 w 1500"/>
                <a:gd name="T53" fmla="*/ 1104 h 2372"/>
                <a:gd name="T54" fmla="*/ 688 w 1500"/>
                <a:gd name="T55" fmla="*/ 800 h 2372"/>
                <a:gd name="T56" fmla="*/ 865 w 1500"/>
                <a:gd name="T57" fmla="*/ 506 h 2372"/>
                <a:gd name="T58" fmla="*/ 969 w 1500"/>
                <a:gd name="T59" fmla="*/ 260 h 2372"/>
                <a:gd name="T60" fmla="*/ 1023 w 1500"/>
                <a:gd name="T61" fmla="*/ 99 h 2372"/>
                <a:gd name="T62" fmla="*/ 1012 w 1500"/>
                <a:gd name="T63" fmla="*/ 176 h 2372"/>
                <a:gd name="T64" fmla="*/ 920 w 1500"/>
                <a:gd name="T65" fmla="*/ 429 h 2372"/>
                <a:gd name="T66" fmla="*/ 774 w 1500"/>
                <a:gd name="T67" fmla="*/ 700 h 2372"/>
                <a:gd name="T68" fmla="*/ 533 w 1500"/>
                <a:gd name="T69" fmla="*/ 1031 h 2372"/>
                <a:gd name="T70" fmla="*/ 623 w 1500"/>
                <a:gd name="T71" fmla="*/ 967 h 2372"/>
                <a:gd name="T72" fmla="*/ 853 w 1500"/>
                <a:gd name="T73" fmla="*/ 694 h 2372"/>
                <a:gd name="T74" fmla="*/ 1044 w 1500"/>
                <a:gd name="T75" fmla="*/ 378 h 2372"/>
                <a:gd name="T76" fmla="*/ 1135 w 1500"/>
                <a:gd name="T77" fmla="*/ 160 h 2372"/>
                <a:gd name="T78" fmla="*/ 1147 w 1500"/>
                <a:gd name="T79" fmla="*/ 169 h 2372"/>
                <a:gd name="T80" fmla="*/ 989 w 1500"/>
                <a:gd name="T81" fmla="*/ 512 h 2372"/>
                <a:gd name="T82" fmla="*/ 747 w 1500"/>
                <a:gd name="T83" fmla="*/ 851 h 2372"/>
                <a:gd name="T84" fmla="*/ 635 w 1500"/>
                <a:gd name="T85" fmla="*/ 1001 h 2372"/>
                <a:gd name="T86" fmla="*/ 946 w 1500"/>
                <a:gd name="T87" fmla="*/ 756 h 2372"/>
                <a:gd name="T88" fmla="*/ 1109 w 1500"/>
                <a:gd name="T89" fmla="*/ 580 h 2372"/>
                <a:gd name="T90" fmla="*/ 1260 w 1500"/>
                <a:gd name="T91" fmla="*/ 483 h 2372"/>
                <a:gd name="T92" fmla="*/ 1390 w 1500"/>
                <a:gd name="T93" fmla="*/ 445 h 2372"/>
                <a:gd name="T94" fmla="*/ 1432 w 1500"/>
                <a:gd name="T95" fmla="*/ 452 h 2372"/>
                <a:gd name="T96" fmla="*/ 1280 w 1500"/>
                <a:gd name="T97" fmla="*/ 492 h 2372"/>
                <a:gd name="T98" fmla="*/ 1126 w 1500"/>
                <a:gd name="T99" fmla="*/ 585 h 2372"/>
                <a:gd name="T100" fmla="*/ 987 w 1500"/>
                <a:gd name="T101" fmla="*/ 738 h 2372"/>
                <a:gd name="T102" fmla="*/ 731 w 1500"/>
                <a:gd name="T103" fmla="*/ 953 h 2372"/>
                <a:gd name="T104" fmla="*/ 1497 w 1500"/>
                <a:gd name="T105" fmla="*/ 623 h 2372"/>
                <a:gd name="T106" fmla="*/ 1019 w 1500"/>
                <a:gd name="T107" fmla="*/ 905 h 2372"/>
                <a:gd name="T108" fmla="*/ 1452 w 1500"/>
                <a:gd name="T109" fmla="*/ 758 h 2372"/>
                <a:gd name="T110" fmla="*/ 1357 w 1500"/>
                <a:gd name="T111" fmla="*/ 1064 h 2372"/>
                <a:gd name="T112" fmla="*/ 1058 w 1500"/>
                <a:gd name="T113" fmla="*/ 1265 h 2372"/>
                <a:gd name="T114" fmla="*/ 1059 w 1500"/>
                <a:gd name="T115" fmla="*/ 1281 h 2372"/>
                <a:gd name="T116" fmla="*/ 1045 w 1500"/>
                <a:gd name="T117" fmla="*/ 1370 h 2372"/>
                <a:gd name="T118" fmla="*/ 431 w 1500"/>
                <a:gd name="T119" fmla="*/ 1156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0" h="2372">
                  <a:moveTo>
                    <a:pt x="429" y="1155"/>
                  </a:moveTo>
                  <a:lnTo>
                    <a:pt x="431" y="1210"/>
                  </a:lnTo>
                  <a:lnTo>
                    <a:pt x="434" y="1261"/>
                  </a:lnTo>
                  <a:lnTo>
                    <a:pt x="437" y="1310"/>
                  </a:lnTo>
                  <a:lnTo>
                    <a:pt x="442" y="1357"/>
                  </a:lnTo>
                  <a:lnTo>
                    <a:pt x="447" y="1405"/>
                  </a:lnTo>
                  <a:lnTo>
                    <a:pt x="450" y="1429"/>
                  </a:lnTo>
                  <a:lnTo>
                    <a:pt x="453" y="1454"/>
                  </a:lnTo>
                  <a:lnTo>
                    <a:pt x="460" y="1507"/>
                  </a:lnTo>
                  <a:lnTo>
                    <a:pt x="469" y="1564"/>
                  </a:lnTo>
                  <a:lnTo>
                    <a:pt x="475" y="1605"/>
                  </a:lnTo>
                  <a:lnTo>
                    <a:pt x="482" y="1645"/>
                  </a:lnTo>
                  <a:lnTo>
                    <a:pt x="495" y="1719"/>
                  </a:lnTo>
                  <a:lnTo>
                    <a:pt x="502" y="1754"/>
                  </a:lnTo>
                  <a:lnTo>
                    <a:pt x="510" y="1787"/>
                  </a:lnTo>
                  <a:lnTo>
                    <a:pt x="525" y="1853"/>
                  </a:lnTo>
                  <a:lnTo>
                    <a:pt x="533" y="1886"/>
                  </a:lnTo>
                  <a:lnTo>
                    <a:pt x="542" y="1919"/>
                  </a:lnTo>
                  <a:lnTo>
                    <a:pt x="551" y="1952"/>
                  </a:lnTo>
                  <a:lnTo>
                    <a:pt x="560" y="1986"/>
                  </a:lnTo>
                  <a:lnTo>
                    <a:pt x="581" y="2058"/>
                  </a:lnTo>
                  <a:lnTo>
                    <a:pt x="605" y="2136"/>
                  </a:lnTo>
                  <a:lnTo>
                    <a:pt x="625" y="2200"/>
                  </a:lnTo>
                  <a:lnTo>
                    <a:pt x="645" y="2261"/>
                  </a:lnTo>
                  <a:lnTo>
                    <a:pt x="665" y="2318"/>
                  </a:lnTo>
                  <a:lnTo>
                    <a:pt x="685" y="2372"/>
                  </a:lnTo>
                  <a:lnTo>
                    <a:pt x="668" y="2372"/>
                  </a:lnTo>
                  <a:lnTo>
                    <a:pt x="649" y="2319"/>
                  </a:lnTo>
                  <a:lnTo>
                    <a:pt x="629" y="2263"/>
                  </a:lnTo>
                  <a:lnTo>
                    <a:pt x="609" y="2204"/>
                  </a:lnTo>
                  <a:lnTo>
                    <a:pt x="600" y="2172"/>
                  </a:lnTo>
                  <a:lnTo>
                    <a:pt x="590" y="2140"/>
                  </a:lnTo>
                  <a:lnTo>
                    <a:pt x="566" y="2062"/>
                  </a:lnTo>
                  <a:lnTo>
                    <a:pt x="545" y="1990"/>
                  </a:lnTo>
                  <a:lnTo>
                    <a:pt x="526" y="1922"/>
                  </a:lnTo>
                  <a:lnTo>
                    <a:pt x="518" y="1889"/>
                  </a:lnTo>
                  <a:lnTo>
                    <a:pt x="509" y="1857"/>
                  </a:lnTo>
                  <a:lnTo>
                    <a:pt x="494" y="1791"/>
                  </a:lnTo>
                  <a:lnTo>
                    <a:pt x="487" y="1757"/>
                  </a:lnTo>
                  <a:lnTo>
                    <a:pt x="480" y="1722"/>
                  </a:lnTo>
                  <a:lnTo>
                    <a:pt x="473" y="1686"/>
                  </a:lnTo>
                  <a:lnTo>
                    <a:pt x="466" y="1647"/>
                  </a:lnTo>
                  <a:lnTo>
                    <a:pt x="459" y="1608"/>
                  </a:lnTo>
                  <a:lnTo>
                    <a:pt x="453" y="1567"/>
                  </a:lnTo>
                  <a:lnTo>
                    <a:pt x="444" y="1510"/>
                  </a:lnTo>
                  <a:lnTo>
                    <a:pt x="437" y="1457"/>
                  </a:lnTo>
                  <a:lnTo>
                    <a:pt x="431" y="1408"/>
                  </a:lnTo>
                  <a:lnTo>
                    <a:pt x="426" y="1361"/>
                  </a:lnTo>
                  <a:lnTo>
                    <a:pt x="422" y="1313"/>
                  </a:lnTo>
                  <a:lnTo>
                    <a:pt x="418" y="1265"/>
                  </a:lnTo>
                  <a:lnTo>
                    <a:pt x="415" y="1214"/>
                  </a:lnTo>
                  <a:lnTo>
                    <a:pt x="413" y="1160"/>
                  </a:lnTo>
                  <a:lnTo>
                    <a:pt x="410" y="1160"/>
                  </a:lnTo>
                  <a:lnTo>
                    <a:pt x="385" y="1153"/>
                  </a:lnTo>
                  <a:lnTo>
                    <a:pt x="0" y="1195"/>
                  </a:lnTo>
                  <a:lnTo>
                    <a:pt x="0" y="1178"/>
                  </a:lnTo>
                  <a:lnTo>
                    <a:pt x="340" y="1142"/>
                  </a:lnTo>
                  <a:lnTo>
                    <a:pt x="320" y="1137"/>
                  </a:lnTo>
                  <a:lnTo>
                    <a:pt x="300" y="1133"/>
                  </a:lnTo>
                  <a:lnTo>
                    <a:pt x="280" y="1128"/>
                  </a:lnTo>
                  <a:lnTo>
                    <a:pt x="261" y="1125"/>
                  </a:lnTo>
                  <a:lnTo>
                    <a:pt x="224" y="1118"/>
                  </a:lnTo>
                  <a:lnTo>
                    <a:pt x="186" y="1111"/>
                  </a:lnTo>
                  <a:lnTo>
                    <a:pt x="167" y="1109"/>
                  </a:lnTo>
                  <a:lnTo>
                    <a:pt x="148" y="1106"/>
                  </a:lnTo>
                  <a:lnTo>
                    <a:pt x="108" y="1102"/>
                  </a:lnTo>
                  <a:lnTo>
                    <a:pt x="65" y="1097"/>
                  </a:lnTo>
                  <a:lnTo>
                    <a:pt x="19" y="1094"/>
                  </a:lnTo>
                  <a:lnTo>
                    <a:pt x="0" y="1092"/>
                  </a:lnTo>
                  <a:lnTo>
                    <a:pt x="0" y="1076"/>
                  </a:lnTo>
                  <a:lnTo>
                    <a:pt x="21" y="1078"/>
                  </a:lnTo>
                  <a:lnTo>
                    <a:pt x="72" y="1082"/>
                  </a:lnTo>
                  <a:lnTo>
                    <a:pt x="120" y="1087"/>
                  </a:lnTo>
                  <a:lnTo>
                    <a:pt x="164" y="1092"/>
                  </a:lnTo>
                  <a:lnTo>
                    <a:pt x="207" y="1098"/>
                  </a:lnTo>
                  <a:lnTo>
                    <a:pt x="0" y="1048"/>
                  </a:lnTo>
                  <a:lnTo>
                    <a:pt x="0" y="1032"/>
                  </a:lnTo>
                  <a:lnTo>
                    <a:pt x="364" y="1120"/>
                  </a:lnTo>
                  <a:lnTo>
                    <a:pt x="338" y="1103"/>
                  </a:lnTo>
                  <a:lnTo>
                    <a:pt x="312" y="1086"/>
                  </a:lnTo>
                  <a:lnTo>
                    <a:pt x="262" y="1056"/>
                  </a:lnTo>
                  <a:lnTo>
                    <a:pt x="237" y="1041"/>
                  </a:lnTo>
                  <a:lnTo>
                    <a:pt x="210" y="1026"/>
                  </a:lnTo>
                  <a:lnTo>
                    <a:pt x="182" y="1010"/>
                  </a:lnTo>
                  <a:lnTo>
                    <a:pt x="151" y="993"/>
                  </a:lnTo>
                  <a:lnTo>
                    <a:pt x="71" y="951"/>
                  </a:lnTo>
                  <a:lnTo>
                    <a:pt x="35" y="933"/>
                  </a:lnTo>
                  <a:lnTo>
                    <a:pt x="0" y="916"/>
                  </a:lnTo>
                  <a:lnTo>
                    <a:pt x="0" y="899"/>
                  </a:lnTo>
                  <a:lnTo>
                    <a:pt x="37" y="916"/>
                  </a:lnTo>
                  <a:lnTo>
                    <a:pt x="75" y="935"/>
                  </a:lnTo>
                  <a:lnTo>
                    <a:pt x="115" y="956"/>
                  </a:lnTo>
                  <a:lnTo>
                    <a:pt x="158" y="979"/>
                  </a:lnTo>
                  <a:lnTo>
                    <a:pt x="208" y="1006"/>
                  </a:lnTo>
                  <a:lnTo>
                    <a:pt x="230" y="1018"/>
                  </a:lnTo>
                  <a:lnTo>
                    <a:pt x="251" y="1030"/>
                  </a:lnTo>
                  <a:lnTo>
                    <a:pt x="272" y="1043"/>
                  </a:lnTo>
                  <a:lnTo>
                    <a:pt x="292" y="1055"/>
                  </a:lnTo>
                  <a:lnTo>
                    <a:pt x="333" y="1080"/>
                  </a:lnTo>
                  <a:lnTo>
                    <a:pt x="0" y="817"/>
                  </a:lnTo>
                  <a:lnTo>
                    <a:pt x="0" y="797"/>
                  </a:lnTo>
                  <a:lnTo>
                    <a:pt x="393" y="1108"/>
                  </a:lnTo>
                  <a:lnTo>
                    <a:pt x="379" y="1078"/>
                  </a:lnTo>
                  <a:lnTo>
                    <a:pt x="371" y="1064"/>
                  </a:lnTo>
                  <a:lnTo>
                    <a:pt x="364" y="1051"/>
                  </a:lnTo>
                  <a:lnTo>
                    <a:pt x="348" y="1025"/>
                  </a:lnTo>
                  <a:lnTo>
                    <a:pt x="340" y="1013"/>
                  </a:lnTo>
                  <a:lnTo>
                    <a:pt x="332" y="1001"/>
                  </a:lnTo>
                  <a:lnTo>
                    <a:pt x="323" y="989"/>
                  </a:lnTo>
                  <a:lnTo>
                    <a:pt x="313" y="977"/>
                  </a:lnTo>
                  <a:lnTo>
                    <a:pt x="303" y="965"/>
                  </a:lnTo>
                  <a:lnTo>
                    <a:pt x="293" y="953"/>
                  </a:lnTo>
                  <a:lnTo>
                    <a:pt x="282" y="941"/>
                  </a:lnTo>
                  <a:lnTo>
                    <a:pt x="270" y="929"/>
                  </a:lnTo>
                  <a:lnTo>
                    <a:pt x="258" y="917"/>
                  </a:lnTo>
                  <a:lnTo>
                    <a:pt x="245" y="904"/>
                  </a:lnTo>
                  <a:lnTo>
                    <a:pt x="222" y="883"/>
                  </a:lnTo>
                  <a:lnTo>
                    <a:pt x="201" y="865"/>
                  </a:lnTo>
                  <a:lnTo>
                    <a:pt x="180" y="848"/>
                  </a:lnTo>
                  <a:lnTo>
                    <a:pt x="170" y="841"/>
                  </a:lnTo>
                  <a:lnTo>
                    <a:pt x="160" y="834"/>
                  </a:lnTo>
                  <a:lnTo>
                    <a:pt x="149" y="826"/>
                  </a:lnTo>
                  <a:lnTo>
                    <a:pt x="138" y="820"/>
                  </a:lnTo>
                  <a:lnTo>
                    <a:pt x="115" y="806"/>
                  </a:lnTo>
                  <a:lnTo>
                    <a:pt x="91" y="793"/>
                  </a:lnTo>
                  <a:lnTo>
                    <a:pt x="63" y="779"/>
                  </a:lnTo>
                  <a:lnTo>
                    <a:pt x="31" y="763"/>
                  </a:lnTo>
                  <a:lnTo>
                    <a:pt x="15" y="756"/>
                  </a:lnTo>
                  <a:lnTo>
                    <a:pt x="0" y="750"/>
                  </a:lnTo>
                  <a:lnTo>
                    <a:pt x="0" y="732"/>
                  </a:lnTo>
                  <a:lnTo>
                    <a:pt x="17" y="739"/>
                  </a:lnTo>
                  <a:lnTo>
                    <a:pt x="34" y="747"/>
                  </a:lnTo>
                  <a:lnTo>
                    <a:pt x="52" y="755"/>
                  </a:lnTo>
                  <a:lnTo>
                    <a:pt x="70" y="764"/>
                  </a:lnTo>
                  <a:lnTo>
                    <a:pt x="98" y="779"/>
                  </a:lnTo>
                  <a:lnTo>
                    <a:pt x="123" y="792"/>
                  </a:lnTo>
                  <a:lnTo>
                    <a:pt x="147" y="806"/>
                  </a:lnTo>
                  <a:lnTo>
                    <a:pt x="169" y="820"/>
                  </a:lnTo>
                  <a:lnTo>
                    <a:pt x="190" y="836"/>
                  </a:lnTo>
                  <a:lnTo>
                    <a:pt x="211" y="852"/>
                  </a:lnTo>
                  <a:lnTo>
                    <a:pt x="233" y="871"/>
                  </a:lnTo>
                  <a:lnTo>
                    <a:pt x="256" y="893"/>
                  </a:lnTo>
                  <a:lnTo>
                    <a:pt x="268" y="905"/>
                  </a:lnTo>
                  <a:lnTo>
                    <a:pt x="280" y="917"/>
                  </a:lnTo>
                  <a:lnTo>
                    <a:pt x="303" y="940"/>
                  </a:lnTo>
                  <a:lnTo>
                    <a:pt x="313" y="952"/>
                  </a:lnTo>
                  <a:lnTo>
                    <a:pt x="323" y="963"/>
                  </a:lnTo>
                  <a:lnTo>
                    <a:pt x="341" y="986"/>
                  </a:lnTo>
                  <a:lnTo>
                    <a:pt x="349" y="998"/>
                  </a:lnTo>
                  <a:lnTo>
                    <a:pt x="357" y="1009"/>
                  </a:lnTo>
                  <a:lnTo>
                    <a:pt x="373" y="1034"/>
                  </a:lnTo>
                  <a:lnTo>
                    <a:pt x="380" y="1046"/>
                  </a:lnTo>
                  <a:lnTo>
                    <a:pt x="387" y="1059"/>
                  </a:lnTo>
                  <a:lnTo>
                    <a:pt x="401" y="1087"/>
                  </a:lnTo>
                  <a:lnTo>
                    <a:pt x="335" y="623"/>
                  </a:lnTo>
                  <a:lnTo>
                    <a:pt x="269" y="159"/>
                  </a:lnTo>
                  <a:lnTo>
                    <a:pt x="269" y="157"/>
                  </a:lnTo>
                  <a:lnTo>
                    <a:pt x="270" y="156"/>
                  </a:lnTo>
                  <a:lnTo>
                    <a:pt x="270" y="154"/>
                  </a:lnTo>
                  <a:lnTo>
                    <a:pt x="271" y="153"/>
                  </a:lnTo>
                  <a:lnTo>
                    <a:pt x="273" y="151"/>
                  </a:lnTo>
                  <a:lnTo>
                    <a:pt x="276" y="150"/>
                  </a:lnTo>
                  <a:lnTo>
                    <a:pt x="279" y="150"/>
                  </a:lnTo>
                  <a:lnTo>
                    <a:pt x="282" y="151"/>
                  </a:lnTo>
                  <a:lnTo>
                    <a:pt x="284" y="154"/>
                  </a:lnTo>
                  <a:lnTo>
                    <a:pt x="285" y="157"/>
                  </a:lnTo>
                  <a:lnTo>
                    <a:pt x="353" y="637"/>
                  </a:lnTo>
                  <a:lnTo>
                    <a:pt x="421" y="1117"/>
                  </a:lnTo>
                  <a:lnTo>
                    <a:pt x="424" y="1117"/>
                  </a:lnTo>
                  <a:lnTo>
                    <a:pt x="425" y="1119"/>
                  </a:lnTo>
                  <a:lnTo>
                    <a:pt x="439" y="1081"/>
                  </a:lnTo>
                  <a:lnTo>
                    <a:pt x="450" y="1045"/>
                  </a:lnTo>
                  <a:lnTo>
                    <a:pt x="461" y="1011"/>
                  </a:lnTo>
                  <a:lnTo>
                    <a:pt x="471" y="977"/>
                  </a:lnTo>
                  <a:lnTo>
                    <a:pt x="480" y="943"/>
                  </a:lnTo>
                  <a:lnTo>
                    <a:pt x="488" y="908"/>
                  </a:lnTo>
                  <a:lnTo>
                    <a:pt x="497" y="870"/>
                  </a:lnTo>
                  <a:lnTo>
                    <a:pt x="506" y="828"/>
                  </a:lnTo>
                  <a:lnTo>
                    <a:pt x="516" y="779"/>
                  </a:lnTo>
                  <a:lnTo>
                    <a:pt x="524" y="734"/>
                  </a:lnTo>
                  <a:lnTo>
                    <a:pt x="531" y="691"/>
                  </a:lnTo>
                  <a:lnTo>
                    <a:pt x="537" y="650"/>
                  </a:lnTo>
                  <a:lnTo>
                    <a:pt x="542" y="608"/>
                  </a:lnTo>
                  <a:lnTo>
                    <a:pt x="544" y="587"/>
                  </a:lnTo>
                  <a:lnTo>
                    <a:pt x="546" y="565"/>
                  </a:lnTo>
                  <a:lnTo>
                    <a:pt x="548" y="519"/>
                  </a:lnTo>
                  <a:lnTo>
                    <a:pt x="550" y="469"/>
                  </a:lnTo>
                  <a:lnTo>
                    <a:pt x="551" y="436"/>
                  </a:lnTo>
                  <a:lnTo>
                    <a:pt x="551" y="405"/>
                  </a:lnTo>
                  <a:lnTo>
                    <a:pt x="551" y="375"/>
                  </a:lnTo>
                  <a:lnTo>
                    <a:pt x="551" y="346"/>
                  </a:lnTo>
                  <a:lnTo>
                    <a:pt x="550" y="318"/>
                  </a:lnTo>
                  <a:lnTo>
                    <a:pt x="549" y="291"/>
                  </a:lnTo>
                  <a:lnTo>
                    <a:pt x="547" y="264"/>
                  </a:lnTo>
                  <a:lnTo>
                    <a:pt x="545" y="237"/>
                  </a:lnTo>
                  <a:lnTo>
                    <a:pt x="542" y="211"/>
                  </a:lnTo>
                  <a:lnTo>
                    <a:pt x="539" y="184"/>
                  </a:lnTo>
                  <a:lnTo>
                    <a:pt x="535" y="157"/>
                  </a:lnTo>
                  <a:lnTo>
                    <a:pt x="531" y="130"/>
                  </a:lnTo>
                  <a:lnTo>
                    <a:pt x="526" y="102"/>
                  </a:lnTo>
                  <a:lnTo>
                    <a:pt x="521" y="72"/>
                  </a:lnTo>
                  <a:lnTo>
                    <a:pt x="508" y="10"/>
                  </a:lnTo>
                  <a:lnTo>
                    <a:pt x="507" y="6"/>
                  </a:lnTo>
                  <a:lnTo>
                    <a:pt x="509" y="3"/>
                  </a:lnTo>
                  <a:lnTo>
                    <a:pt x="510" y="2"/>
                  </a:lnTo>
                  <a:lnTo>
                    <a:pt x="511" y="1"/>
                  </a:lnTo>
                  <a:lnTo>
                    <a:pt x="512" y="0"/>
                  </a:lnTo>
                  <a:lnTo>
                    <a:pt x="514" y="0"/>
                  </a:lnTo>
                  <a:lnTo>
                    <a:pt x="517" y="0"/>
                  </a:lnTo>
                  <a:lnTo>
                    <a:pt x="519" y="1"/>
                  </a:lnTo>
                  <a:lnTo>
                    <a:pt x="522" y="3"/>
                  </a:lnTo>
                  <a:lnTo>
                    <a:pt x="523" y="4"/>
                  </a:lnTo>
                  <a:lnTo>
                    <a:pt x="523" y="6"/>
                  </a:lnTo>
                  <a:lnTo>
                    <a:pt x="530" y="39"/>
                  </a:lnTo>
                  <a:lnTo>
                    <a:pt x="536" y="69"/>
                  </a:lnTo>
                  <a:lnTo>
                    <a:pt x="542" y="99"/>
                  </a:lnTo>
                  <a:lnTo>
                    <a:pt x="547" y="128"/>
                  </a:lnTo>
                  <a:lnTo>
                    <a:pt x="555" y="182"/>
                  </a:lnTo>
                  <a:lnTo>
                    <a:pt x="561" y="236"/>
                  </a:lnTo>
                  <a:lnTo>
                    <a:pt x="563" y="262"/>
                  </a:lnTo>
                  <a:lnTo>
                    <a:pt x="565" y="290"/>
                  </a:lnTo>
                  <a:lnTo>
                    <a:pt x="566" y="318"/>
                  </a:lnTo>
                  <a:lnTo>
                    <a:pt x="567" y="346"/>
                  </a:lnTo>
                  <a:lnTo>
                    <a:pt x="567" y="375"/>
                  </a:lnTo>
                  <a:lnTo>
                    <a:pt x="567" y="405"/>
                  </a:lnTo>
                  <a:lnTo>
                    <a:pt x="567" y="436"/>
                  </a:lnTo>
                  <a:lnTo>
                    <a:pt x="566" y="469"/>
                  </a:lnTo>
                  <a:lnTo>
                    <a:pt x="564" y="520"/>
                  </a:lnTo>
                  <a:lnTo>
                    <a:pt x="562" y="566"/>
                  </a:lnTo>
                  <a:lnTo>
                    <a:pt x="560" y="588"/>
                  </a:lnTo>
                  <a:lnTo>
                    <a:pt x="558" y="610"/>
                  </a:lnTo>
                  <a:lnTo>
                    <a:pt x="553" y="652"/>
                  </a:lnTo>
                  <a:lnTo>
                    <a:pt x="547" y="693"/>
                  </a:lnTo>
                  <a:lnTo>
                    <a:pt x="540" y="736"/>
                  </a:lnTo>
                  <a:lnTo>
                    <a:pt x="531" y="782"/>
                  </a:lnTo>
                  <a:lnTo>
                    <a:pt x="521" y="832"/>
                  </a:lnTo>
                  <a:lnTo>
                    <a:pt x="505" y="907"/>
                  </a:lnTo>
                  <a:lnTo>
                    <a:pt x="497" y="941"/>
                  </a:lnTo>
                  <a:lnTo>
                    <a:pt x="488" y="973"/>
                  </a:lnTo>
                  <a:lnTo>
                    <a:pt x="480" y="1005"/>
                  </a:lnTo>
                  <a:lnTo>
                    <a:pt x="470" y="1037"/>
                  </a:lnTo>
                  <a:lnTo>
                    <a:pt x="459" y="1069"/>
                  </a:lnTo>
                  <a:lnTo>
                    <a:pt x="448" y="1104"/>
                  </a:lnTo>
                  <a:lnTo>
                    <a:pt x="473" y="1076"/>
                  </a:lnTo>
                  <a:lnTo>
                    <a:pt x="496" y="1050"/>
                  </a:lnTo>
                  <a:lnTo>
                    <a:pt x="518" y="1024"/>
                  </a:lnTo>
                  <a:lnTo>
                    <a:pt x="539" y="998"/>
                  </a:lnTo>
                  <a:lnTo>
                    <a:pt x="561" y="971"/>
                  </a:lnTo>
                  <a:lnTo>
                    <a:pt x="583" y="943"/>
                  </a:lnTo>
                  <a:lnTo>
                    <a:pt x="630" y="880"/>
                  </a:lnTo>
                  <a:lnTo>
                    <a:pt x="660" y="838"/>
                  </a:lnTo>
                  <a:lnTo>
                    <a:pt x="688" y="800"/>
                  </a:lnTo>
                  <a:lnTo>
                    <a:pt x="714" y="763"/>
                  </a:lnTo>
                  <a:lnTo>
                    <a:pt x="738" y="728"/>
                  </a:lnTo>
                  <a:lnTo>
                    <a:pt x="761" y="691"/>
                  </a:lnTo>
                  <a:lnTo>
                    <a:pt x="772" y="673"/>
                  </a:lnTo>
                  <a:lnTo>
                    <a:pt x="784" y="653"/>
                  </a:lnTo>
                  <a:lnTo>
                    <a:pt x="808" y="612"/>
                  </a:lnTo>
                  <a:lnTo>
                    <a:pt x="833" y="567"/>
                  </a:lnTo>
                  <a:lnTo>
                    <a:pt x="850" y="536"/>
                  </a:lnTo>
                  <a:lnTo>
                    <a:pt x="865" y="506"/>
                  </a:lnTo>
                  <a:lnTo>
                    <a:pt x="879" y="477"/>
                  </a:lnTo>
                  <a:lnTo>
                    <a:pt x="893" y="449"/>
                  </a:lnTo>
                  <a:lnTo>
                    <a:pt x="906" y="422"/>
                  </a:lnTo>
                  <a:lnTo>
                    <a:pt x="917" y="395"/>
                  </a:lnTo>
                  <a:lnTo>
                    <a:pt x="929" y="369"/>
                  </a:lnTo>
                  <a:lnTo>
                    <a:pt x="939" y="343"/>
                  </a:lnTo>
                  <a:lnTo>
                    <a:pt x="950" y="316"/>
                  </a:lnTo>
                  <a:lnTo>
                    <a:pt x="960" y="289"/>
                  </a:lnTo>
                  <a:lnTo>
                    <a:pt x="969" y="260"/>
                  </a:lnTo>
                  <a:lnTo>
                    <a:pt x="979" y="232"/>
                  </a:lnTo>
                  <a:lnTo>
                    <a:pt x="988" y="202"/>
                  </a:lnTo>
                  <a:lnTo>
                    <a:pt x="997" y="172"/>
                  </a:lnTo>
                  <a:lnTo>
                    <a:pt x="1006" y="139"/>
                  </a:lnTo>
                  <a:lnTo>
                    <a:pt x="1016" y="105"/>
                  </a:lnTo>
                  <a:lnTo>
                    <a:pt x="1016" y="103"/>
                  </a:lnTo>
                  <a:lnTo>
                    <a:pt x="1017" y="102"/>
                  </a:lnTo>
                  <a:lnTo>
                    <a:pt x="1020" y="100"/>
                  </a:lnTo>
                  <a:lnTo>
                    <a:pt x="1023" y="99"/>
                  </a:lnTo>
                  <a:lnTo>
                    <a:pt x="1026" y="100"/>
                  </a:lnTo>
                  <a:lnTo>
                    <a:pt x="1028" y="101"/>
                  </a:lnTo>
                  <a:lnTo>
                    <a:pt x="1030" y="103"/>
                  </a:lnTo>
                  <a:lnTo>
                    <a:pt x="1031" y="104"/>
                  </a:lnTo>
                  <a:lnTo>
                    <a:pt x="1031" y="106"/>
                  </a:lnTo>
                  <a:lnTo>
                    <a:pt x="1032" y="108"/>
                  </a:lnTo>
                  <a:lnTo>
                    <a:pt x="1031" y="109"/>
                  </a:lnTo>
                  <a:lnTo>
                    <a:pt x="1022" y="144"/>
                  </a:lnTo>
                  <a:lnTo>
                    <a:pt x="1012" y="176"/>
                  </a:lnTo>
                  <a:lnTo>
                    <a:pt x="1003" y="207"/>
                  </a:lnTo>
                  <a:lnTo>
                    <a:pt x="994" y="237"/>
                  </a:lnTo>
                  <a:lnTo>
                    <a:pt x="984" y="266"/>
                  </a:lnTo>
                  <a:lnTo>
                    <a:pt x="975" y="294"/>
                  </a:lnTo>
                  <a:lnTo>
                    <a:pt x="965" y="322"/>
                  </a:lnTo>
                  <a:lnTo>
                    <a:pt x="954" y="348"/>
                  </a:lnTo>
                  <a:lnTo>
                    <a:pt x="944" y="375"/>
                  </a:lnTo>
                  <a:lnTo>
                    <a:pt x="932" y="402"/>
                  </a:lnTo>
                  <a:lnTo>
                    <a:pt x="920" y="429"/>
                  </a:lnTo>
                  <a:lnTo>
                    <a:pt x="907" y="456"/>
                  </a:lnTo>
                  <a:lnTo>
                    <a:pt x="894" y="484"/>
                  </a:lnTo>
                  <a:lnTo>
                    <a:pt x="879" y="513"/>
                  </a:lnTo>
                  <a:lnTo>
                    <a:pt x="847" y="574"/>
                  </a:lnTo>
                  <a:lnTo>
                    <a:pt x="835" y="598"/>
                  </a:lnTo>
                  <a:lnTo>
                    <a:pt x="822" y="620"/>
                  </a:lnTo>
                  <a:lnTo>
                    <a:pt x="810" y="641"/>
                  </a:lnTo>
                  <a:lnTo>
                    <a:pt x="799" y="662"/>
                  </a:lnTo>
                  <a:lnTo>
                    <a:pt x="774" y="700"/>
                  </a:lnTo>
                  <a:lnTo>
                    <a:pt x="751" y="736"/>
                  </a:lnTo>
                  <a:lnTo>
                    <a:pt x="727" y="772"/>
                  </a:lnTo>
                  <a:lnTo>
                    <a:pt x="701" y="809"/>
                  </a:lnTo>
                  <a:lnTo>
                    <a:pt x="674" y="847"/>
                  </a:lnTo>
                  <a:lnTo>
                    <a:pt x="643" y="889"/>
                  </a:lnTo>
                  <a:lnTo>
                    <a:pt x="596" y="951"/>
                  </a:lnTo>
                  <a:lnTo>
                    <a:pt x="575" y="979"/>
                  </a:lnTo>
                  <a:lnTo>
                    <a:pt x="554" y="1005"/>
                  </a:lnTo>
                  <a:lnTo>
                    <a:pt x="533" y="1031"/>
                  </a:lnTo>
                  <a:lnTo>
                    <a:pt x="512" y="1056"/>
                  </a:lnTo>
                  <a:lnTo>
                    <a:pt x="489" y="1082"/>
                  </a:lnTo>
                  <a:lnTo>
                    <a:pt x="465" y="1109"/>
                  </a:lnTo>
                  <a:lnTo>
                    <a:pt x="472" y="1106"/>
                  </a:lnTo>
                  <a:lnTo>
                    <a:pt x="514" y="1070"/>
                  </a:lnTo>
                  <a:lnTo>
                    <a:pt x="552" y="1035"/>
                  </a:lnTo>
                  <a:lnTo>
                    <a:pt x="588" y="1001"/>
                  </a:lnTo>
                  <a:lnTo>
                    <a:pt x="606" y="984"/>
                  </a:lnTo>
                  <a:lnTo>
                    <a:pt x="623" y="967"/>
                  </a:lnTo>
                  <a:lnTo>
                    <a:pt x="640" y="949"/>
                  </a:lnTo>
                  <a:lnTo>
                    <a:pt x="657" y="931"/>
                  </a:lnTo>
                  <a:lnTo>
                    <a:pt x="691" y="893"/>
                  </a:lnTo>
                  <a:lnTo>
                    <a:pt x="727" y="851"/>
                  </a:lnTo>
                  <a:lnTo>
                    <a:pt x="765" y="805"/>
                  </a:lnTo>
                  <a:lnTo>
                    <a:pt x="798" y="766"/>
                  </a:lnTo>
                  <a:lnTo>
                    <a:pt x="827" y="729"/>
                  </a:lnTo>
                  <a:lnTo>
                    <a:pt x="840" y="712"/>
                  </a:lnTo>
                  <a:lnTo>
                    <a:pt x="853" y="694"/>
                  </a:lnTo>
                  <a:lnTo>
                    <a:pt x="878" y="660"/>
                  </a:lnTo>
                  <a:lnTo>
                    <a:pt x="890" y="643"/>
                  </a:lnTo>
                  <a:lnTo>
                    <a:pt x="902" y="625"/>
                  </a:lnTo>
                  <a:lnTo>
                    <a:pt x="926" y="588"/>
                  </a:lnTo>
                  <a:lnTo>
                    <a:pt x="950" y="548"/>
                  </a:lnTo>
                  <a:lnTo>
                    <a:pt x="976" y="504"/>
                  </a:lnTo>
                  <a:lnTo>
                    <a:pt x="1001" y="459"/>
                  </a:lnTo>
                  <a:lnTo>
                    <a:pt x="1023" y="418"/>
                  </a:lnTo>
                  <a:lnTo>
                    <a:pt x="1044" y="378"/>
                  </a:lnTo>
                  <a:lnTo>
                    <a:pt x="1062" y="339"/>
                  </a:lnTo>
                  <a:lnTo>
                    <a:pt x="1071" y="320"/>
                  </a:lnTo>
                  <a:lnTo>
                    <a:pt x="1080" y="300"/>
                  </a:lnTo>
                  <a:lnTo>
                    <a:pt x="1088" y="280"/>
                  </a:lnTo>
                  <a:lnTo>
                    <a:pt x="1096" y="258"/>
                  </a:lnTo>
                  <a:lnTo>
                    <a:pt x="1113" y="214"/>
                  </a:lnTo>
                  <a:lnTo>
                    <a:pt x="1131" y="165"/>
                  </a:lnTo>
                  <a:lnTo>
                    <a:pt x="1133" y="162"/>
                  </a:lnTo>
                  <a:lnTo>
                    <a:pt x="1135" y="160"/>
                  </a:lnTo>
                  <a:lnTo>
                    <a:pt x="1137" y="160"/>
                  </a:lnTo>
                  <a:lnTo>
                    <a:pt x="1138" y="160"/>
                  </a:lnTo>
                  <a:lnTo>
                    <a:pt x="1141" y="160"/>
                  </a:lnTo>
                  <a:lnTo>
                    <a:pt x="1143" y="161"/>
                  </a:lnTo>
                  <a:lnTo>
                    <a:pt x="1144" y="162"/>
                  </a:lnTo>
                  <a:lnTo>
                    <a:pt x="1146" y="164"/>
                  </a:lnTo>
                  <a:lnTo>
                    <a:pt x="1146" y="165"/>
                  </a:lnTo>
                  <a:lnTo>
                    <a:pt x="1147" y="167"/>
                  </a:lnTo>
                  <a:lnTo>
                    <a:pt x="1147" y="169"/>
                  </a:lnTo>
                  <a:lnTo>
                    <a:pt x="1146" y="170"/>
                  </a:lnTo>
                  <a:lnTo>
                    <a:pt x="1128" y="219"/>
                  </a:lnTo>
                  <a:lnTo>
                    <a:pt x="1111" y="264"/>
                  </a:lnTo>
                  <a:lnTo>
                    <a:pt x="1094" y="306"/>
                  </a:lnTo>
                  <a:lnTo>
                    <a:pt x="1077" y="346"/>
                  </a:lnTo>
                  <a:lnTo>
                    <a:pt x="1058" y="385"/>
                  </a:lnTo>
                  <a:lnTo>
                    <a:pt x="1038" y="425"/>
                  </a:lnTo>
                  <a:lnTo>
                    <a:pt x="1015" y="467"/>
                  </a:lnTo>
                  <a:lnTo>
                    <a:pt x="989" y="512"/>
                  </a:lnTo>
                  <a:lnTo>
                    <a:pt x="964" y="557"/>
                  </a:lnTo>
                  <a:lnTo>
                    <a:pt x="939" y="597"/>
                  </a:lnTo>
                  <a:lnTo>
                    <a:pt x="915" y="634"/>
                  </a:lnTo>
                  <a:lnTo>
                    <a:pt x="891" y="669"/>
                  </a:lnTo>
                  <a:lnTo>
                    <a:pt x="866" y="704"/>
                  </a:lnTo>
                  <a:lnTo>
                    <a:pt x="840" y="739"/>
                  </a:lnTo>
                  <a:lnTo>
                    <a:pt x="810" y="776"/>
                  </a:lnTo>
                  <a:lnTo>
                    <a:pt x="777" y="816"/>
                  </a:lnTo>
                  <a:lnTo>
                    <a:pt x="747" y="851"/>
                  </a:lnTo>
                  <a:lnTo>
                    <a:pt x="719" y="885"/>
                  </a:lnTo>
                  <a:lnTo>
                    <a:pt x="692" y="916"/>
                  </a:lnTo>
                  <a:lnTo>
                    <a:pt x="666" y="945"/>
                  </a:lnTo>
                  <a:lnTo>
                    <a:pt x="639" y="973"/>
                  </a:lnTo>
                  <a:lnTo>
                    <a:pt x="613" y="1000"/>
                  </a:lnTo>
                  <a:lnTo>
                    <a:pt x="585" y="1026"/>
                  </a:lnTo>
                  <a:lnTo>
                    <a:pt x="557" y="1053"/>
                  </a:lnTo>
                  <a:lnTo>
                    <a:pt x="610" y="1018"/>
                  </a:lnTo>
                  <a:lnTo>
                    <a:pt x="635" y="1001"/>
                  </a:lnTo>
                  <a:lnTo>
                    <a:pt x="659" y="985"/>
                  </a:lnTo>
                  <a:lnTo>
                    <a:pt x="682" y="968"/>
                  </a:lnTo>
                  <a:lnTo>
                    <a:pt x="706" y="951"/>
                  </a:lnTo>
                  <a:lnTo>
                    <a:pt x="751" y="917"/>
                  </a:lnTo>
                  <a:lnTo>
                    <a:pt x="774" y="900"/>
                  </a:lnTo>
                  <a:lnTo>
                    <a:pt x="798" y="881"/>
                  </a:lnTo>
                  <a:lnTo>
                    <a:pt x="845" y="843"/>
                  </a:lnTo>
                  <a:lnTo>
                    <a:pt x="894" y="802"/>
                  </a:lnTo>
                  <a:lnTo>
                    <a:pt x="946" y="756"/>
                  </a:lnTo>
                  <a:lnTo>
                    <a:pt x="962" y="741"/>
                  </a:lnTo>
                  <a:lnTo>
                    <a:pt x="977" y="726"/>
                  </a:lnTo>
                  <a:lnTo>
                    <a:pt x="992" y="710"/>
                  </a:lnTo>
                  <a:lnTo>
                    <a:pt x="1006" y="695"/>
                  </a:lnTo>
                  <a:lnTo>
                    <a:pt x="1059" y="632"/>
                  </a:lnTo>
                  <a:lnTo>
                    <a:pt x="1073" y="617"/>
                  </a:lnTo>
                  <a:lnTo>
                    <a:pt x="1087" y="602"/>
                  </a:lnTo>
                  <a:lnTo>
                    <a:pt x="1101" y="587"/>
                  </a:lnTo>
                  <a:lnTo>
                    <a:pt x="1109" y="580"/>
                  </a:lnTo>
                  <a:lnTo>
                    <a:pt x="1116" y="572"/>
                  </a:lnTo>
                  <a:lnTo>
                    <a:pt x="1132" y="559"/>
                  </a:lnTo>
                  <a:lnTo>
                    <a:pt x="1150" y="545"/>
                  </a:lnTo>
                  <a:lnTo>
                    <a:pt x="1168" y="533"/>
                  </a:lnTo>
                  <a:lnTo>
                    <a:pt x="1187" y="521"/>
                  </a:lnTo>
                  <a:lnTo>
                    <a:pt x="1218" y="504"/>
                  </a:lnTo>
                  <a:lnTo>
                    <a:pt x="1232" y="497"/>
                  </a:lnTo>
                  <a:lnTo>
                    <a:pt x="1246" y="490"/>
                  </a:lnTo>
                  <a:lnTo>
                    <a:pt x="1260" y="483"/>
                  </a:lnTo>
                  <a:lnTo>
                    <a:pt x="1274" y="478"/>
                  </a:lnTo>
                  <a:lnTo>
                    <a:pt x="1281" y="475"/>
                  </a:lnTo>
                  <a:lnTo>
                    <a:pt x="1288" y="472"/>
                  </a:lnTo>
                  <a:lnTo>
                    <a:pt x="1301" y="467"/>
                  </a:lnTo>
                  <a:lnTo>
                    <a:pt x="1315" y="463"/>
                  </a:lnTo>
                  <a:lnTo>
                    <a:pt x="1329" y="459"/>
                  </a:lnTo>
                  <a:lnTo>
                    <a:pt x="1344" y="455"/>
                  </a:lnTo>
                  <a:lnTo>
                    <a:pt x="1358" y="451"/>
                  </a:lnTo>
                  <a:lnTo>
                    <a:pt x="1390" y="445"/>
                  </a:lnTo>
                  <a:lnTo>
                    <a:pt x="1424" y="440"/>
                  </a:lnTo>
                  <a:lnTo>
                    <a:pt x="1426" y="440"/>
                  </a:lnTo>
                  <a:lnTo>
                    <a:pt x="1428" y="440"/>
                  </a:lnTo>
                  <a:lnTo>
                    <a:pt x="1429" y="441"/>
                  </a:lnTo>
                  <a:lnTo>
                    <a:pt x="1430" y="441"/>
                  </a:lnTo>
                  <a:lnTo>
                    <a:pt x="1432" y="444"/>
                  </a:lnTo>
                  <a:lnTo>
                    <a:pt x="1433" y="447"/>
                  </a:lnTo>
                  <a:lnTo>
                    <a:pt x="1433" y="450"/>
                  </a:lnTo>
                  <a:lnTo>
                    <a:pt x="1432" y="452"/>
                  </a:lnTo>
                  <a:lnTo>
                    <a:pt x="1430" y="454"/>
                  </a:lnTo>
                  <a:lnTo>
                    <a:pt x="1426" y="456"/>
                  </a:lnTo>
                  <a:lnTo>
                    <a:pt x="1393" y="461"/>
                  </a:lnTo>
                  <a:lnTo>
                    <a:pt x="1362" y="467"/>
                  </a:lnTo>
                  <a:lnTo>
                    <a:pt x="1334" y="474"/>
                  </a:lnTo>
                  <a:lnTo>
                    <a:pt x="1320" y="478"/>
                  </a:lnTo>
                  <a:lnTo>
                    <a:pt x="1306" y="483"/>
                  </a:lnTo>
                  <a:lnTo>
                    <a:pt x="1293" y="487"/>
                  </a:lnTo>
                  <a:lnTo>
                    <a:pt x="1280" y="492"/>
                  </a:lnTo>
                  <a:lnTo>
                    <a:pt x="1267" y="498"/>
                  </a:lnTo>
                  <a:lnTo>
                    <a:pt x="1253" y="504"/>
                  </a:lnTo>
                  <a:lnTo>
                    <a:pt x="1225" y="518"/>
                  </a:lnTo>
                  <a:lnTo>
                    <a:pt x="1195" y="535"/>
                  </a:lnTo>
                  <a:lnTo>
                    <a:pt x="1176" y="546"/>
                  </a:lnTo>
                  <a:lnTo>
                    <a:pt x="1158" y="559"/>
                  </a:lnTo>
                  <a:lnTo>
                    <a:pt x="1142" y="572"/>
                  </a:lnTo>
                  <a:lnTo>
                    <a:pt x="1134" y="579"/>
                  </a:lnTo>
                  <a:lnTo>
                    <a:pt x="1126" y="585"/>
                  </a:lnTo>
                  <a:lnTo>
                    <a:pt x="1111" y="600"/>
                  </a:lnTo>
                  <a:lnTo>
                    <a:pt x="1104" y="607"/>
                  </a:lnTo>
                  <a:lnTo>
                    <a:pt x="1097" y="614"/>
                  </a:lnTo>
                  <a:lnTo>
                    <a:pt x="1083" y="629"/>
                  </a:lnTo>
                  <a:lnTo>
                    <a:pt x="1069" y="645"/>
                  </a:lnTo>
                  <a:lnTo>
                    <a:pt x="1043" y="676"/>
                  </a:lnTo>
                  <a:lnTo>
                    <a:pt x="1016" y="707"/>
                  </a:lnTo>
                  <a:lnTo>
                    <a:pt x="1002" y="723"/>
                  </a:lnTo>
                  <a:lnTo>
                    <a:pt x="987" y="738"/>
                  </a:lnTo>
                  <a:lnTo>
                    <a:pt x="972" y="753"/>
                  </a:lnTo>
                  <a:lnTo>
                    <a:pt x="957" y="768"/>
                  </a:lnTo>
                  <a:lnTo>
                    <a:pt x="907" y="811"/>
                  </a:lnTo>
                  <a:lnTo>
                    <a:pt x="884" y="831"/>
                  </a:lnTo>
                  <a:lnTo>
                    <a:pt x="861" y="850"/>
                  </a:lnTo>
                  <a:lnTo>
                    <a:pt x="839" y="869"/>
                  </a:lnTo>
                  <a:lnTo>
                    <a:pt x="817" y="886"/>
                  </a:lnTo>
                  <a:lnTo>
                    <a:pt x="773" y="920"/>
                  </a:lnTo>
                  <a:lnTo>
                    <a:pt x="731" y="953"/>
                  </a:lnTo>
                  <a:lnTo>
                    <a:pt x="687" y="984"/>
                  </a:lnTo>
                  <a:lnTo>
                    <a:pt x="643" y="1015"/>
                  </a:lnTo>
                  <a:lnTo>
                    <a:pt x="619" y="1031"/>
                  </a:lnTo>
                  <a:lnTo>
                    <a:pt x="595" y="1047"/>
                  </a:lnTo>
                  <a:lnTo>
                    <a:pt x="1042" y="834"/>
                  </a:lnTo>
                  <a:lnTo>
                    <a:pt x="1488" y="622"/>
                  </a:lnTo>
                  <a:lnTo>
                    <a:pt x="1492" y="621"/>
                  </a:lnTo>
                  <a:lnTo>
                    <a:pt x="1495" y="622"/>
                  </a:lnTo>
                  <a:lnTo>
                    <a:pt x="1497" y="623"/>
                  </a:lnTo>
                  <a:lnTo>
                    <a:pt x="1499" y="626"/>
                  </a:lnTo>
                  <a:lnTo>
                    <a:pt x="1500" y="629"/>
                  </a:lnTo>
                  <a:lnTo>
                    <a:pt x="1499" y="632"/>
                  </a:lnTo>
                  <a:lnTo>
                    <a:pt x="1499" y="633"/>
                  </a:lnTo>
                  <a:lnTo>
                    <a:pt x="1498" y="634"/>
                  </a:lnTo>
                  <a:lnTo>
                    <a:pt x="1495" y="636"/>
                  </a:lnTo>
                  <a:lnTo>
                    <a:pt x="1045" y="850"/>
                  </a:lnTo>
                  <a:lnTo>
                    <a:pt x="595" y="1065"/>
                  </a:lnTo>
                  <a:lnTo>
                    <a:pt x="1019" y="905"/>
                  </a:lnTo>
                  <a:lnTo>
                    <a:pt x="1442" y="746"/>
                  </a:lnTo>
                  <a:lnTo>
                    <a:pt x="1444" y="746"/>
                  </a:lnTo>
                  <a:lnTo>
                    <a:pt x="1445" y="746"/>
                  </a:lnTo>
                  <a:lnTo>
                    <a:pt x="1448" y="747"/>
                  </a:lnTo>
                  <a:lnTo>
                    <a:pt x="1451" y="749"/>
                  </a:lnTo>
                  <a:lnTo>
                    <a:pt x="1452" y="751"/>
                  </a:lnTo>
                  <a:lnTo>
                    <a:pt x="1453" y="754"/>
                  </a:lnTo>
                  <a:lnTo>
                    <a:pt x="1452" y="757"/>
                  </a:lnTo>
                  <a:lnTo>
                    <a:pt x="1452" y="758"/>
                  </a:lnTo>
                  <a:lnTo>
                    <a:pt x="1451" y="760"/>
                  </a:lnTo>
                  <a:lnTo>
                    <a:pt x="1448" y="761"/>
                  </a:lnTo>
                  <a:lnTo>
                    <a:pt x="959" y="945"/>
                  </a:lnTo>
                  <a:lnTo>
                    <a:pt x="469" y="1129"/>
                  </a:lnTo>
                  <a:lnTo>
                    <a:pt x="910" y="1095"/>
                  </a:lnTo>
                  <a:lnTo>
                    <a:pt x="1351" y="1062"/>
                  </a:lnTo>
                  <a:lnTo>
                    <a:pt x="1352" y="1062"/>
                  </a:lnTo>
                  <a:lnTo>
                    <a:pt x="1354" y="1062"/>
                  </a:lnTo>
                  <a:lnTo>
                    <a:pt x="1357" y="1064"/>
                  </a:lnTo>
                  <a:lnTo>
                    <a:pt x="1358" y="1066"/>
                  </a:lnTo>
                  <a:lnTo>
                    <a:pt x="1359" y="1069"/>
                  </a:lnTo>
                  <a:lnTo>
                    <a:pt x="1359" y="1072"/>
                  </a:lnTo>
                  <a:lnTo>
                    <a:pt x="1358" y="1075"/>
                  </a:lnTo>
                  <a:lnTo>
                    <a:pt x="1355" y="1077"/>
                  </a:lnTo>
                  <a:lnTo>
                    <a:pt x="1352" y="1078"/>
                  </a:lnTo>
                  <a:lnTo>
                    <a:pt x="927" y="1111"/>
                  </a:lnTo>
                  <a:lnTo>
                    <a:pt x="502" y="1144"/>
                  </a:lnTo>
                  <a:lnTo>
                    <a:pt x="1058" y="1265"/>
                  </a:lnTo>
                  <a:lnTo>
                    <a:pt x="1060" y="1266"/>
                  </a:lnTo>
                  <a:lnTo>
                    <a:pt x="1062" y="1266"/>
                  </a:lnTo>
                  <a:lnTo>
                    <a:pt x="1064" y="1269"/>
                  </a:lnTo>
                  <a:lnTo>
                    <a:pt x="1065" y="1272"/>
                  </a:lnTo>
                  <a:lnTo>
                    <a:pt x="1065" y="1273"/>
                  </a:lnTo>
                  <a:lnTo>
                    <a:pt x="1064" y="1275"/>
                  </a:lnTo>
                  <a:lnTo>
                    <a:pt x="1063" y="1277"/>
                  </a:lnTo>
                  <a:lnTo>
                    <a:pt x="1061" y="1279"/>
                  </a:lnTo>
                  <a:lnTo>
                    <a:pt x="1059" y="1281"/>
                  </a:lnTo>
                  <a:lnTo>
                    <a:pt x="1055" y="1281"/>
                  </a:lnTo>
                  <a:lnTo>
                    <a:pt x="519" y="1164"/>
                  </a:lnTo>
                  <a:lnTo>
                    <a:pt x="1042" y="1357"/>
                  </a:lnTo>
                  <a:lnTo>
                    <a:pt x="1045" y="1359"/>
                  </a:lnTo>
                  <a:lnTo>
                    <a:pt x="1047" y="1361"/>
                  </a:lnTo>
                  <a:lnTo>
                    <a:pt x="1047" y="1364"/>
                  </a:lnTo>
                  <a:lnTo>
                    <a:pt x="1047" y="1367"/>
                  </a:lnTo>
                  <a:lnTo>
                    <a:pt x="1046" y="1369"/>
                  </a:lnTo>
                  <a:lnTo>
                    <a:pt x="1045" y="1370"/>
                  </a:lnTo>
                  <a:lnTo>
                    <a:pt x="1043" y="1372"/>
                  </a:lnTo>
                  <a:lnTo>
                    <a:pt x="1040" y="1373"/>
                  </a:lnTo>
                  <a:lnTo>
                    <a:pt x="1038" y="1372"/>
                  </a:lnTo>
                  <a:lnTo>
                    <a:pt x="1036" y="1372"/>
                  </a:lnTo>
                  <a:lnTo>
                    <a:pt x="441" y="1152"/>
                  </a:lnTo>
                  <a:lnTo>
                    <a:pt x="439" y="1154"/>
                  </a:lnTo>
                  <a:lnTo>
                    <a:pt x="436" y="1156"/>
                  </a:lnTo>
                  <a:lnTo>
                    <a:pt x="433" y="1156"/>
                  </a:lnTo>
                  <a:lnTo>
                    <a:pt x="431" y="1156"/>
                  </a:lnTo>
                  <a:lnTo>
                    <a:pt x="429" y="1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Title 1"/>
          <p:cNvSpPr>
            <a:spLocks noGrp="1"/>
          </p:cNvSpPr>
          <p:nvPr>
            <p:ph type="ctrTitle"/>
          </p:nvPr>
        </p:nvSpPr>
        <p:spPr>
          <a:xfrm>
            <a:off x="623887" y="1916832"/>
            <a:ext cx="10944226" cy="1512168"/>
          </a:xfrm>
        </p:spPr>
        <p:txBody>
          <a:bodyPr anchor="b"/>
          <a:lstStyle>
            <a:lvl1pPr algn="ctr">
              <a:defRPr sz="4000" b="1" spc="-100" baseline="0">
                <a:solidFill>
                  <a:schemeClr val="bg1"/>
                </a:solidFill>
              </a:defRPr>
            </a:lvl1pPr>
          </a:lstStyle>
          <a:p>
            <a:r>
              <a:rPr lang="en-US"/>
              <a:t>Click to edit Master title style</a:t>
            </a:r>
            <a:endParaRPr lang="fi-FI" dirty="0"/>
          </a:p>
        </p:txBody>
      </p:sp>
      <p:sp>
        <p:nvSpPr>
          <p:cNvPr id="3" name="Subtitle 2"/>
          <p:cNvSpPr>
            <a:spLocks noGrp="1"/>
          </p:cNvSpPr>
          <p:nvPr>
            <p:ph type="subTitle" idx="1"/>
          </p:nvPr>
        </p:nvSpPr>
        <p:spPr>
          <a:xfrm>
            <a:off x="623887" y="3645024"/>
            <a:ext cx="10944225" cy="1584201"/>
          </a:xfrm>
        </p:spPr>
        <p:txBody>
          <a:bodyPr/>
          <a:lstStyle>
            <a:lvl1pPr marL="0" indent="0" algn="ctr">
              <a:buNone/>
              <a:defRPr sz="14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
        <p:nvSpPr>
          <p:cNvPr id="4" name="Date Placeholder 3"/>
          <p:cNvSpPr>
            <a:spLocks noGrp="1"/>
          </p:cNvSpPr>
          <p:nvPr>
            <p:ph type="dt" sz="half" idx="10"/>
          </p:nvPr>
        </p:nvSpPr>
        <p:spPr/>
        <p:txBody>
          <a:bodyPr/>
          <a:lstStyle>
            <a:lvl1pPr>
              <a:defRPr>
                <a:noFill/>
              </a:defRPr>
            </a:lvl1pPr>
          </a:lstStyle>
          <a:p>
            <a:fld id="{F73E6245-837A-4F8F-A31D-8742A9E5DBA8}" type="datetime4">
              <a:rPr lang="en-GB" smtClean="0"/>
              <a:t>16 February 2023</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CONFIDENTIAL</a:t>
            </a:r>
          </a:p>
        </p:txBody>
      </p:sp>
      <p:sp>
        <p:nvSpPr>
          <p:cNvPr id="6" name="Slide Number Placeholder 5"/>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1" name="Text Placeholder 11"/>
          <p:cNvSpPr>
            <a:spLocks noGrp="1"/>
          </p:cNvSpPr>
          <p:nvPr>
            <p:ph type="body" sz="quarter" idx="14" hasCustomPrompt="1"/>
          </p:nvPr>
        </p:nvSpPr>
        <p:spPr>
          <a:xfrm>
            <a:off x="623889" y="5445224"/>
            <a:ext cx="10944224" cy="432048"/>
          </a:xfrm>
        </p:spPr>
        <p:txBody>
          <a:bodyPr anchor="t" anchorCtr="0"/>
          <a:lstStyle>
            <a:lvl1pPr marL="0" indent="0" algn="ctr">
              <a:lnSpc>
                <a:spcPct val="100000"/>
              </a:lnSpc>
              <a:spcBef>
                <a:spcPts val="200"/>
              </a:spcBef>
              <a:buFontTx/>
              <a:buNone/>
              <a:defRPr sz="1200" b="0" cap="none" baseline="0">
                <a:solidFill>
                  <a:schemeClr val="bg1"/>
                </a:solidFill>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Date Place or other additional info</a:t>
            </a:r>
          </a:p>
        </p:txBody>
      </p:sp>
      <p:pic>
        <p:nvPicPr>
          <p:cNvPr id="21" name="Graphic 20">
            <a:extLst>
              <a:ext uri="{FF2B5EF4-FFF2-40B4-BE49-F238E27FC236}">
                <a16:creationId xmlns:a16="http://schemas.microsoft.com/office/drawing/2014/main" id="{30504189-3C92-4E56-9C56-E911C2E419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634852"/>
            <a:ext cx="2301994" cy="920798"/>
          </a:xfrm>
          <a:prstGeom prst="rect">
            <a:avLst/>
          </a:prstGeom>
        </p:spPr>
      </p:pic>
    </p:spTree>
    <p:extLst>
      <p:ext uri="{BB962C8B-B14F-4D97-AF65-F5344CB8AC3E}">
        <p14:creationId xmlns:p14="http://schemas.microsoft.com/office/powerpoint/2010/main" val="60884483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Terracotta">
    <p:bg>
      <p:bgPr>
        <a:solidFill>
          <a:schemeClr val="accent5"/>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0" y="1988840"/>
            <a:ext cx="10200456" cy="4869160"/>
            <a:chOff x="1065835" y="779165"/>
            <a:chExt cx="10200456" cy="4869160"/>
          </a:xfrm>
          <a:solidFill>
            <a:srgbClr val="FFFFFF">
              <a:alpha val="20000"/>
            </a:srgbClr>
          </a:solidFill>
        </p:grpSpPr>
        <p:sp>
          <p:nvSpPr>
            <p:cNvPr id="13" name="Freeform 1951"/>
            <p:cNvSpPr>
              <a:spLocks noEditPoints="1"/>
            </p:cNvSpPr>
            <p:nvPr userDrawn="1"/>
          </p:nvSpPr>
          <p:spPr bwMode="auto">
            <a:xfrm>
              <a:off x="2774729" y="779165"/>
              <a:ext cx="1074738" cy="912813"/>
            </a:xfrm>
            <a:custGeom>
              <a:avLst/>
              <a:gdLst>
                <a:gd name="T0" fmla="*/ 205 w 677"/>
                <a:gd name="T1" fmla="*/ 414 h 575"/>
                <a:gd name="T2" fmla="*/ 622 w 677"/>
                <a:gd name="T3" fmla="*/ 61 h 575"/>
                <a:gd name="T4" fmla="*/ 621 w 677"/>
                <a:gd name="T5" fmla="*/ 79 h 575"/>
                <a:gd name="T6" fmla="*/ 662 w 677"/>
                <a:gd name="T7" fmla="*/ 22 h 575"/>
                <a:gd name="T8" fmla="*/ 625 w 677"/>
                <a:gd name="T9" fmla="*/ 35 h 575"/>
                <a:gd name="T10" fmla="*/ 247 w 677"/>
                <a:gd name="T11" fmla="*/ 334 h 575"/>
                <a:gd name="T12" fmla="*/ 368 w 677"/>
                <a:gd name="T13" fmla="*/ 270 h 575"/>
                <a:gd name="T14" fmla="*/ 560 w 677"/>
                <a:gd name="T15" fmla="*/ 107 h 575"/>
                <a:gd name="T16" fmla="*/ 596 w 677"/>
                <a:gd name="T17" fmla="*/ 48 h 575"/>
                <a:gd name="T18" fmla="*/ 644 w 677"/>
                <a:gd name="T19" fmla="*/ 12 h 575"/>
                <a:gd name="T20" fmla="*/ 677 w 677"/>
                <a:gd name="T21" fmla="*/ 5 h 575"/>
                <a:gd name="T22" fmla="*/ 647 w 677"/>
                <a:gd name="T23" fmla="*/ 65 h 575"/>
                <a:gd name="T24" fmla="*/ 594 w 677"/>
                <a:gd name="T25" fmla="*/ 106 h 575"/>
                <a:gd name="T26" fmla="*/ 457 w 677"/>
                <a:gd name="T27" fmla="*/ 215 h 575"/>
                <a:gd name="T28" fmla="*/ 344 w 677"/>
                <a:gd name="T29" fmla="*/ 296 h 575"/>
                <a:gd name="T30" fmla="*/ 251 w 677"/>
                <a:gd name="T31" fmla="*/ 343 h 575"/>
                <a:gd name="T32" fmla="*/ 332 w 677"/>
                <a:gd name="T33" fmla="*/ 526 h 575"/>
                <a:gd name="T34" fmla="*/ 263 w 677"/>
                <a:gd name="T35" fmla="*/ 415 h 575"/>
                <a:gd name="T36" fmla="*/ 301 w 677"/>
                <a:gd name="T37" fmla="*/ 508 h 575"/>
                <a:gd name="T38" fmla="*/ 307 w 677"/>
                <a:gd name="T39" fmla="*/ 533 h 575"/>
                <a:gd name="T40" fmla="*/ 272 w 677"/>
                <a:gd name="T41" fmla="*/ 469 h 575"/>
                <a:gd name="T42" fmla="*/ 270 w 677"/>
                <a:gd name="T43" fmla="*/ 550 h 575"/>
                <a:gd name="T44" fmla="*/ 242 w 677"/>
                <a:gd name="T45" fmla="*/ 372 h 575"/>
                <a:gd name="T46" fmla="*/ 232 w 677"/>
                <a:gd name="T47" fmla="*/ 495 h 575"/>
                <a:gd name="T48" fmla="*/ 243 w 677"/>
                <a:gd name="T49" fmla="*/ 573 h 575"/>
                <a:gd name="T50" fmla="*/ 230 w 677"/>
                <a:gd name="T51" fmla="*/ 551 h 575"/>
                <a:gd name="T52" fmla="*/ 224 w 677"/>
                <a:gd name="T53" fmla="*/ 425 h 575"/>
                <a:gd name="T54" fmla="*/ 208 w 677"/>
                <a:gd name="T55" fmla="*/ 507 h 575"/>
                <a:gd name="T56" fmla="*/ 180 w 677"/>
                <a:gd name="T57" fmla="*/ 545 h 575"/>
                <a:gd name="T58" fmla="*/ 171 w 677"/>
                <a:gd name="T59" fmla="*/ 544 h 575"/>
                <a:gd name="T60" fmla="*/ 194 w 677"/>
                <a:gd name="T61" fmla="*/ 420 h 575"/>
                <a:gd name="T62" fmla="*/ 68 w 677"/>
                <a:gd name="T63" fmla="*/ 440 h 575"/>
                <a:gd name="T64" fmla="*/ 62 w 677"/>
                <a:gd name="T65" fmla="*/ 433 h 575"/>
                <a:gd name="T66" fmla="*/ 160 w 677"/>
                <a:gd name="T67" fmla="*/ 352 h 575"/>
                <a:gd name="T68" fmla="*/ 71 w 677"/>
                <a:gd name="T69" fmla="*/ 379 h 575"/>
                <a:gd name="T70" fmla="*/ 18 w 677"/>
                <a:gd name="T71" fmla="*/ 405 h 575"/>
                <a:gd name="T72" fmla="*/ 42 w 677"/>
                <a:gd name="T73" fmla="*/ 383 h 575"/>
                <a:gd name="T74" fmla="*/ 128 w 677"/>
                <a:gd name="T75" fmla="*/ 349 h 575"/>
                <a:gd name="T76" fmla="*/ 193 w 677"/>
                <a:gd name="T77" fmla="*/ 326 h 575"/>
                <a:gd name="T78" fmla="*/ 88 w 677"/>
                <a:gd name="T79" fmla="*/ 303 h 575"/>
                <a:gd name="T80" fmla="*/ 1 w 677"/>
                <a:gd name="T81" fmla="*/ 301 h 575"/>
                <a:gd name="T82" fmla="*/ 28 w 677"/>
                <a:gd name="T83" fmla="*/ 291 h 575"/>
                <a:gd name="T84" fmla="*/ 156 w 677"/>
                <a:gd name="T85" fmla="*/ 305 h 575"/>
                <a:gd name="T86" fmla="*/ 101 w 677"/>
                <a:gd name="T87" fmla="*/ 286 h 575"/>
                <a:gd name="T88" fmla="*/ 8 w 677"/>
                <a:gd name="T89" fmla="*/ 276 h 575"/>
                <a:gd name="T90" fmla="*/ 6 w 677"/>
                <a:gd name="T91" fmla="*/ 267 h 575"/>
                <a:gd name="T92" fmla="*/ 112 w 677"/>
                <a:gd name="T93" fmla="*/ 279 h 575"/>
                <a:gd name="T94" fmla="*/ 144 w 677"/>
                <a:gd name="T95" fmla="*/ 276 h 575"/>
                <a:gd name="T96" fmla="*/ 75 w 677"/>
                <a:gd name="T97" fmla="*/ 244 h 575"/>
                <a:gd name="T98" fmla="*/ 37 w 677"/>
                <a:gd name="T99" fmla="*/ 196 h 575"/>
                <a:gd name="T100" fmla="*/ 51 w 677"/>
                <a:gd name="T101" fmla="*/ 204 h 575"/>
                <a:gd name="T102" fmla="*/ 104 w 677"/>
                <a:gd name="T103" fmla="*/ 248 h 575"/>
                <a:gd name="T104" fmla="*/ 68 w 677"/>
                <a:gd name="T105" fmla="*/ 175 h 575"/>
                <a:gd name="T106" fmla="*/ 73 w 677"/>
                <a:gd name="T107" fmla="*/ 167 h 575"/>
                <a:gd name="T108" fmla="*/ 94 w 677"/>
                <a:gd name="T109" fmla="*/ 170 h 575"/>
                <a:gd name="T110" fmla="*/ 161 w 677"/>
                <a:gd name="T111" fmla="*/ 170 h 575"/>
                <a:gd name="T112" fmla="*/ 168 w 677"/>
                <a:gd name="T113" fmla="*/ 164 h 575"/>
                <a:gd name="T114" fmla="*/ 223 w 677"/>
                <a:gd name="T115" fmla="*/ 206 h 575"/>
                <a:gd name="T116" fmla="*/ 238 w 677"/>
                <a:gd name="T117" fmla="*/ 205 h 575"/>
                <a:gd name="T118" fmla="*/ 248 w 677"/>
                <a:gd name="T119" fmla="*/ 207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7" h="575">
                  <a:moveTo>
                    <a:pt x="231" y="362"/>
                  </a:moveTo>
                  <a:lnTo>
                    <a:pt x="225" y="369"/>
                  </a:lnTo>
                  <a:lnTo>
                    <a:pt x="220" y="378"/>
                  </a:lnTo>
                  <a:lnTo>
                    <a:pt x="215" y="386"/>
                  </a:lnTo>
                  <a:lnTo>
                    <a:pt x="211" y="395"/>
                  </a:lnTo>
                  <a:lnTo>
                    <a:pt x="208" y="404"/>
                  </a:lnTo>
                  <a:lnTo>
                    <a:pt x="205" y="414"/>
                  </a:lnTo>
                  <a:lnTo>
                    <a:pt x="203" y="424"/>
                  </a:lnTo>
                  <a:lnTo>
                    <a:pt x="202" y="434"/>
                  </a:lnTo>
                  <a:lnTo>
                    <a:pt x="201" y="444"/>
                  </a:lnTo>
                  <a:lnTo>
                    <a:pt x="201" y="453"/>
                  </a:lnTo>
                  <a:lnTo>
                    <a:pt x="231" y="362"/>
                  </a:lnTo>
                  <a:close/>
                  <a:moveTo>
                    <a:pt x="662" y="22"/>
                  </a:moveTo>
                  <a:lnTo>
                    <a:pt x="622" y="61"/>
                  </a:lnTo>
                  <a:lnTo>
                    <a:pt x="602" y="81"/>
                  </a:lnTo>
                  <a:lnTo>
                    <a:pt x="582" y="100"/>
                  </a:lnTo>
                  <a:lnTo>
                    <a:pt x="589" y="97"/>
                  </a:lnTo>
                  <a:lnTo>
                    <a:pt x="597" y="94"/>
                  </a:lnTo>
                  <a:lnTo>
                    <a:pt x="605" y="90"/>
                  </a:lnTo>
                  <a:lnTo>
                    <a:pt x="613" y="84"/>
                  </a:lnTo>
                  <a:lnTo>
                    <a:pt x="621" y="79"/>
                  </a:lnTo>
                  <a:lnTo>
                    <a:pt x="628" y="72"/>
                  </a:lnTo>
                  <a:lnTo>
                    <a:pt x="635" y="65"/>
                  </a:lnTo>
                  <a:lnTo>
                    <a:pt x="641" y="57"/>
                  </a:lnTo>
                  <a:lnTo>
                    <a:pt x="647" y="49"/>
                  </a:lnTo>
                  <a:lnTo>
                    <a:pt x="653" y="40"/>
                  </a:lnTo>
                  <a:lnTo>
                    <a:pt x="658" y="31"/>
                  </a:lnTo>
                  <a:lnTo>
                    <a:pt x="662" y="22"/>
                  </a:lnTo>
                  <a:close/>
                  <a:moveTo>
                    <a:pt x="577" y="92"/>
                  </a:moveTo>
                  <a:lnTo>
                    <a:pt x="615" y="55"/>
                  </a:lnTo>
                  <a:lnTo>
                    <a:pt x="634" y="36"/>
                  </a:lnTo>
                  <a:lnTo>
                    <a:pt x="653" y="17"/>
                  </a:lnTo>
                  <a:lnTo>
                    <a:pt x="641" y="23"/>
                  </a:lnTo>
                  <a:lnTo>
                    <a:pt x="630" y="31"/>
                  </a:lnTo>
                  <a:lnTo>
                    <a:pt x="625" y="35"/>
                  </a:lnTo>
                  <a:lnTo>
                    <a:pt x="619" y="39"/>
                  </a:lnTo>
                  <a:lnTo>
                    <a:pt x="609" y="48"/>
                  </a:lnTo>
                  <a:lnTo>
                    <a:pt x="600" y="58"/>
                  </a:lnTo>
                  <a:lnTo>
                    <a:pt x="591" y="69"/>
                  </a:lnTo>
                  <a:lnTo>
                    <a:pt x="583" y="80"/>
                  </a:lnTo>
                  <a:lnTo>
                    <a:pt x="577" y="92"/>
                  </a:lnTo>
                  <a:close/>
                  <a:moveTo>
                    <a:pt x="247" y="334"/>
                  </a:moveTo>
                  <a:lnTo>
                    <a:pt x="263" y="327"/>
                  </a:lnTo>
                  <a:lnTo>
                    <a:pt x="278" y="320"/>
                  </a:lnTo>
                  <a:lnTo>
                    <a:pt x="294" y="312"/>
                  </a:lnTo>
                  <a:lnTo>
                    <a:pt x="309" y="304"/>
                  </a:lnTo>
                  <a:lnTo>
                    <a:pt x="324" y="296"/>
                  </a:lnTo>
                  <a:lnTo>
                    <a:pt x="339" y="288"/>
                  </a:lnTo>
                  <a:lnTo>
                    <a:pt x="368" y="270"/>
                  </a:lnTo>
                  <a:lnTo>
                    <a:pt x="396" y="250"/>
                  </a:lnTo>
                  <a:lnTo>
                    <a:pt x="424" y="230"/>
                  </a:lnTo>
                  <a:lnTo>
                    <a:pt x="437" y="219"/>
                  </a:lnTo>
                  <a:lnTo>
                    <a:pt x="450" y="208"/>
                  </a:lnTo>
                  <a:lnTo>
                    <a:pt x="476" y="185"/>
                  </a:lnTo>
                  <a:lnTo>
                    <a:pt x="518" y="146"/>
                  </a:lnTo>
                  <a:lnTo>
                    <a:pt x="560" y="107"/>
                  </a:lnTo>
                  <a:lnTo>
                    <a:pt x="564" y="98"/>
                  </a:lnTo>
                  <a:lnTo>
                    <a:pt x="568" y="89"/>
                  </a:lnTo>
                  <a:lnTo>
                    <a:pt x="573" y="80"/>
                  </a:lnTo>
                  <a:lnTo>
                    <a:pt x="578" y="71"/>
                  </a:lnTo>
                  <a:lnTo>
                    <a:pt x="584" y="63"/>
                  </a:lnTo>
                  <a:lnTo>
                    <a:pt x="590" y="55"/>
                  </a:lnTo>
                  <a:lnTo>
                    <a:pt x="596" y="48"/>
                  </a:lnTo>
                  <a:lnTo>
                    <a:pt x="603" y="41"/>
                  </a:lnTo>
                  <a:lnTo>
                    <a:pt x="611" y="34"/>
                  </a:lnTo>
                  <a:lnTo>
                    <a:pt x="618" y="28"/>
                  </a:lnTo>
                  <a:lnTo>
                    <a:pt x="626" y="22"/>
                  </a:lnTo>
                  <a:lnTo>
                    <a:pt x="631" y="19"/>
                  </a:lnTo>
                  <a:lnTo>
                    <a:pt x="635" y="17"/>
                  </a:lnTo>
                  <a:lnTo>
                    <a:pt x="644" y="12"/>
                  </a:lnTo>
                  <a:lnTo>
                    <a:pt x="653" y="7"/>
                  </a:lnTo>
                  <a:lnTo>
                    <a:pt x="662" y="3"/>
                  </a:lnTo>
                  <a:lnTo>
                    <a:pt x="671" y="0"/>
                  </a:lnTo>
                  <a:lnTo>
                    <a:pt x="674" y="0"/>
                  </a:lnTo>
                  <a:lnTo>
                    <a:pt x="675" y="2"/>
                  </a:lnTo>
                  <a:lnTo>
                    <a:pt x="676" y="3"/>
                  </a:lnTo>
                  <a:lnTo>
                    <a:pt x="677" y="5"/>
                  </a:lnTo>
                  <a:lnTo>
                    <a:pt x="673" y="18"/>
                  </a:lnTo>
                  <a:lnTo>
                    <a:pt x="671" y="24"/>
                  </a:lnTo>
                  <a:lnTo>
                    <a:pt x="668" y="30"/>
                  </a:lnTo>
                  <a:lnTo>
                    <a:pt x="662" y="42"/>
                  </a:lnTo>
                  <a:lnTo>
                    <a:pt x="655" y="54"/>
                  </a:lnTo>
                  <a:lnTo>
                    <a:pt x="651" y="60"/>
                  </a:lnTo>
                  <a:lnTo>
                    <a:pt x="647" y="65"/>
                  </a:lnTo>
                  <a:lnTo>
                    <a:pt x="638" y="75"/>
                  </a:lnTo>
                  <a:lnTo>
                    <a:pt x="634" y="80"/>
                  </a:lnTo>
                  <a:lnTo>
                    <a:pt x="629" y="84"/>
                  </a:lnTo>
                  <a:lnTo>
                    <a:pt x="624" y="88"/>
                  </a:lnTo>
                  <a:lnTo>
                    <a:pt x="618" y="92"/>
                  </a:lnTo>
                  <a:lnTo>
                    <a:pt x="606" y="100"/>
                  </a:lnTo>
                  <a:lnTo>
                    <a:pt x="594" y="106"/>
                  </a:lnTo>
                  <a:lnTo>
                    <a:pt x="588" y="108"/>
                  </a:lnTo>
                  <a:lnTo>
                    <a:pt x="582" y="110"/>
                  </a:lnTo>
                  <a:lnTo>
                    <a:pt x="575" y="112"/>
                  </a:lnTo>
                  <a:lnTo>
                    <a:pt x="568" y="113"/>
                  </a:lnTo>
                  <a:lnTo>
                    <a:pt x="526" y="153"/>
                  </a:lnTo>
                  <a:lnTo>
                    <a:pt x="483" y="192"/>
                  </a:lnTo>
                  <a:lnTo>
                    <a:pt x="457" y="215"/>
                  </a:lnTo>
                  <a:lnTo>
                    <a:pt x="443" y="226"/>
                  </a:lnTo>
                  <a:lnTo>
                    <a:pt x="430" y="237"/>
                  </a:lnTo>
                  <a:lnTo>
                    <a:pt x="402" y="258"/>
                  </a:lnTo>
                  <a:lnTo>
                    <a:pt x="388" y="268"/>
                  </a:lnTo>
                  <a:lnTo>
                    <a:pt x="373" y="278"/>
                  </a:lnTo>
                  <a:lnTo>
                    <a:pt x="358" y="287"/>
                  </a:lnTo>
                  <a:lnTo>
                    <a:pt x="344" y="296"/>
                  </a:lnTo>
                  <a:lnTo>
                    <a:pt x="329" y="304"/>
                  </a:lnTo>
                  <a:lnTo>
                    <a:pt x="313" y="313"/>
                  </a:lnTo>
                  <a:lnTo>
                    <a:pt x="298" y="321"/>
                  </a:lnTo>
                  <a:lnTo>
                    <a:pt x="282" y="328"/>
                  </a:lnTo>
                  <a:lnTo>
                    <a:pt x="267" y="336"/>
                  </a:lnTo>
                  <a:lnTo>
                    <a:pt x="259" y="339"/>
                  </a:lnTo>
                  <a:lnTo>
                    <a:pt x="251" y="343"/>
                  </a:lnTo>
                  <a:lnTo>
                    <a:pt x="251" y="346"/>
                  </a:lnTo>
                  <a:lnTo>
                    <a:pt x="336" y="519"/>
                  </a:lnTo>
                  <a:lnTo>
                    <a:pt x="337" y="521"/>
                  </a:lnTo>
                  <a:lnTo>
                    <a:pt x="336" y="523"/>
                  </a:lnTo>
                  <a:lnTo>
                    <a:pt x="335" y="524"/>
                  </a:lnTo>
                  <a:lnTo>
                    <a:pt x="334" y="525"/>
                  </a:lnTo>
                  <a:lnTo>
                    <a:pt x="332" y="526"/>
                  </a:lnTo>
                  <a:lnTo>
                    <a:pt x="330" y="526"/>
                  </a:lnTo>
                  <a:lnTo>
                    <a:pt x="329" y="525"/>
                  </a:lnTo>
                  <a:lnTo>
                    <a:pt x="327" y="523"/>
                  </a:lnTo>
                  <a:lnTo>
                    <a:pt x="255" y="375"/>
                  </a:lnTo>
                  <a:lnTo>
                    <a:pt x="257" y="385"/>
                  </a:lnTo>
                  <a:lnTo>
                    <a:pt x="259" y="395"/>
                  </a:lnTo>
                  <a:lnTo>
                    <a:pt x="263" y="415"/>
                  </a:lnTo>
                  <a:lnTo>
                    <a:pt x="266" y="424"/>
                  </a:lnTo>
                  <a:lnTo>
                    <a:pt x="269" y="434"/>
                  </a:lnTo>
                  <a:lnTo>
                    <a:pt x="276" y="453"/>
                  </a:lnTo>
                  <a:lnTo>
                    <a:pt x="283" y="472"/>
                  </a:lnTo>
                  <a:lnTo>
                    <a:pt x="292" y="490"/>
                  </a:lnTo>
                  <a:lnTo>
                    <a:pt x="296" y="499"/>
                  </a:lnTo>
                  <a:lnTo>
                    <a:pt x="301" y="508"/>
                  </a:lnTo>
                  <a:lnTo>
                    <a:pt x="311" y="526"/>
                  </a:lnTo>
                  <a:lnTo>
                    <a:pt x="312" y="528"/>
                  </a:lnTo>
                  <a:lnTo>
                    <a:pt x="312" y="529"/>
                  </a:lnTo>
                  <a:lnTo>
                    <a:pt x="311" y="531"/>
                  </a:lnTo>
                  <a:lnTo>
                    <a:pt x="310" y="532"/>
                  </a:lnTo>
                  <a:lnTo>
                    <a:pt x="308" y="533"/>
                  </a:lnTo>
                  <a:lnTo>
                    <a:pt x="307" y="533"/>
                  </a:lnTo>
                  <a:lnTo>
                    <a:pt x="305" y="532"/>
                  </a:lnTo>
                  <a:lnTo>
                    <a:pt x="303" y="531"/>
                  </a:lnTo>
                  <a:lnTo>
                    <a:pt x="296" y="519"/>
                  </a:lnTo>
                  <a:lnTo>
                    <a:pt x="289" y="507"/>
                  </a:lnTo>
                  <a:lnTo>
                    <a:pt x="283" y="495"/>
                  </a:lnTo>
                  <a:lnTo>
                    <a:pt x="277" y="482"/>
                  </a:lnTo>
                  <a:lnTo>
                    <a:pt x="272" y="469"/>
                  </a:lnTo>
                  <a:lnTo>
                    <a:pt x="267" y="457"/>
                  </a:lnTo>
                  <a:lnTo>
                    <a:pt x="264" y="450"/>
                  </a:lnTo>
                  <a:lnTo>
                    <a:pt x="262" y="444"/>
                  </a:lnTo>
                  <a:lnTo>
                    <a:pt x="258" y="431"/>
                  </a:lnTo>
                  <a:lnTo>
                    <a:pt x="271" y="546"/>
                  </a:lnTo>
                  <a:lnTo>
                    <a:pt x="271" y="548"/>
                  </a:lnTo>
                  <a:lnTo>
                    <a:pt x="270" y="550"/>
                  </a:lnTo>
                  <a:lnTo>
                    <a:pt x="268" y="551"/>
                  </a:lnTo>
                  <a:lnTo>
                    <a:pt x="267" y="551"/>
                  </a:lnTo>
                  <a:lnTo>
                    <a:pt x="265" y="551"/>
                  </a:lnTo>
                  <a:lnTo>
                    <a:pt x="263" y="550"/>
                  </a:lnTo>
                  <a:lnTo>
                    <a:pt x="262" y="549"/>
                  </a:lnTo>
                  <a:lnTo>
                    <a:pt x="261" y="547"/>
                  </a:lnTo>
                  <a:lnTo>
                    <a:pt x="242" y="372"/>
                  </a:lnTo>
                  <a:lnTo>
                    <a:pt x="237" y="396"/>
                  </a:lnTo>
                  <a:lnTo>
                    <a:pt x="236" y="409"/>
                  </a:lnTo>
                  <a:lnTo>
                    <a:pt x="234" y="421"/>
                  </a:lnTo>
                  <a:lnTo>
                    <a:pt x="233" y="433"/>
                  </a:lnTo>
                  <a:lnTo>
                    <a:pt x="232" y="446"/>
                  </a:lnTo>
                  <a:lnTo>
                    <a:pt x="231" y="470"/>
                  </a:lnTo>
                  <a:lnTo>
                    <a:pt x="232" y="495"/>
                  </a:lnTo>
                  <a:lnTo>
                    <a:pt x="234" y="520"/>
                  </a:lnTo>
                  <a:lnTo>
                    <a:pt x="238" y="545"/>
                  </a:lnTo>
                  <a:lnTo>
                    <a:pt x="241" y="557"/>
                  </a:lnTo>
                  <a:lnTo>
                    <a:pt x="244" y="570"/>
                  </a:lnTo>
                  <a:lnTo>
                    <a:pt x="244" y="572"/>
                  </a:lnTo>
                  <a:lnTo>
                    <a:pt x="244" y="573"/>
                  </a:lnTo>
                  <a:lnTo>
                    <a:pt x="243" y="573"/>
                  </a:lnTo>
                  <a:lnTo>
                    <a:pt x="242" y="575"/>
                  </a:lnTo>
                  <a:lnTo>
                    <a:pt x="240" y="575"/>
                  </a:lnTo>
                  <a:lnTo>
                    <a:pt x="238" y="575"/>
                  </a:lnTo>
                  <a:lnTo>
                    <a:pt x="237" y="575"/>
                  </a:lnTo>
                  <a:lnTo>
                    <a:pt x="235" y="574"/>
                  </a:lnTo>
                  <a:lnTo>
                    <a:pt x="234" y="572"/>
                  </a:lnTo>
                  <a:lnTo>
                    <a:pt x="230" y="551"/>
                  </a:lnTo>
                  <a:lnTo>
                    <a:pt x="228" y="540"/>
                  </a:lnTo>
                  <a:lnTo>
                    <a:pt x="226" y="530"/>
                  </a:lnTo>
                  <a:lnTo>
                    <a:pt x="224" y="509"/>
                  </a:lnTo>
                  <a:lnTo>
                    <a:pt x="222" y="488"/>
                  </a:lnTo>
                  <a:lnTo>
                    <a:pt x="222" y="467"/>
                  </a:lnTo>
                  <a:lnTo>
                    <a:pt x="223" y="446"/>
                  </a:lnTo>
                  <a:lnTo>
                    <a:pt x="224" y="425"/>
                  </a:lnTo>
                  <a:lnTo>
                    <a:pt x="227" y="405"/>
                  </a:lnTo>
                  <a:lnTo>
                    <a:pt x="203" y="477"/>
                  </a:lnTo>
                  <a:lnTo>
                    <a:pt x="205" y="489"/>
                  </a:lnTo>
                  <a:lnTo>
                    <a:pt x="209" y="502"/>
                  </a:lnTo>
                  <a:lnTo>
                    <a:pt x="210" y="504"/>
                  </a:lnTo>
                  <a:lnTo>
                    <a:pt x="209" y="505"/>
                  </a:lnTo>
                  <a:lnTo>
                    <a:pt x="208" y="507"/>
                  </a:lnTo>
                  <a:lnTo>
                    <a:pt x="206" y="508"/>
                  </a:lnTo>
                  <a:lnTo>
                    <a:pt x="205" y="508"/>
                  </a:lnTo>
                  <a:lnTo>
                    <a:pt x="203" y="508"/>
                  </a:lnTo>
                  <a:lnTo>
                    <a:pt x="201" y="507"/>
                  </a:lnTo>
                  <a:lnTo>
                    <a:pt x="200" y="505"/>
                  </a:lnTo>
                  <a:lnTo>
                    <a:pt x="197" y="494"/>
                  </a:lnTo>
                  <a:lnTo>
                    <a:pt x="180" y="545"/>
                  </a:lnTo>
                  <a:lnTo>
                    <a:pt x="179" y="547"/>
                  </a:lnTo>
                  <a:lnTo>
                    <a:pt x="178" y="548"/>
                  </a:lnTo>
                  <a:lnTo>
                    <a:pt x="176" y="548"/>
                  </a:lnTo>
                  <a:lnTo>
                    <a:pt x="174" y="548"/>
                  </a:lnTo>
                  <a:lnTo>
                    <a:pt x="173" y="547"/>
                  </a:lnTo>
                  <a:lnTo>
                    <a:pt x="171" y="546"/>
                  </a:lnTo>
                  <a:lnTo>
                    <a:pt x="171" y="544"/>
                  </a:lnTo>
                  <a:lnTo>
                    <a:pt x="171" y="542"/>
                  </a:lnTo>
                  <a:lnTo>
                    <a:pt x="193" y="475"/>
                  </a:lnTo>
                  <a:lnTo>
                    <a:pt x="192" y="464"/>
                  </a:lnTo>
                  <a:lnTo>
                    <a:pt x="191" y="453"/>
                  </a:lnTo>
                  <a:lnTo>
                    <a:pt x="191" y="442"/>
                  </a:lnTo>
                  <a:lnTo>
                    <a:pt x="192" y="431"/>
                  </a:lnTo>
                  <a:lnTo>
                    <a:pt x="194" y="420"/>
                  </a:lnTo>
                  <a:lnTo>
                    <a:pt x="197" y="409"/>
                  </a:lnTo>
                  <a:lnTo>
                    <a:pt x="200" y="398"/>
                  </a:lnTo>
                  <a:lnTo>
                    <a:pt x="204" y="388"/>
                  </a:lnTo>
                  <a:lnTo>
                    <a:pt x="208" y="379"/>
                  </a:lnTo>
                  <a:lnTo>
                    <a:pt x="212" y="372"/>
                  </a:lnTo>
                  <a:lnTo>
                    <a:pt x="221" y="359"/>
                  </a:lnTo>
                  <a:lnTo>
                    <a:pt x="68" y="440"/>
                  </a:lnTo>
                  <a:lnTo>
                    <a:pt x="66" y="441"/>
                  </a:lnTo>
                  <a:lnTo>
                    <a:pt x="64" y="440"/>
                  </a:lnTo>
                  <a:lnTo>
                    <a:pt x="63" y="439"/>
                  </a:lnTo>
                  <a:lnTo>
                    <a:pt x="62" y="438"/>
                  </a:lnTo>
                  <a:lnTo>
                    <a:pt x="61" y="436"/>
                  </a:lnTo>
                  <a:lnTo>
                    <a:pt x="61" y="435"/>
                  </a:lnTo>
                  <a:lnTo>
                    <a:pt x="62" y="433"/>
                  </a:lnTo>
                  <a:lnTo>
                    <a:pt x="64" y="432"/>
                  </a:lnTo>
                  <a:lnTo>
                    <a:pt x="227" y="344"/>
                  </a:lnTo>
                  <a:lnTo>
                    <a:pt x="213" y="345"/>
                  </a:lnTo>
                  <a:lnTo>
                    <a:pt x="200" y="346"/>
                  </a:lnTo>
                  <a:lnTo>
                    <a:pt x="187" y="348"/>
                  </a:lnTo>
                  <a:lnTo>
                    <a:pt x="173" y="349"/>
                  </a:lnTo>
                  <a:lnTo>
                    <a:pt x="160" y="352"/>
                  </a:lnTo>
                  <a:lnTo>
                    <a:pt x="147" y="354"/>
                  </a:lnTo>
                  <a:lnTo>
                    <a:pt x="134" y="357"/>
                  </a:lnTo>
                  <a:lnTo>
                    <a:pt x="121" y="361"/>
                  </a:lnTo>
                  <a:lnTo>
                    <a:pt x="109" y="365"/>
                  </a:lnTo>
                  <a:lnTo>
                    <a:pt x="96" y="369"/>
                  </a:lnTo>
                  <a:lnTo>
                    <a:pt x="83" y="374"/>
                  </a:lnTo>
                  <a:lnTo>
                    <a:pt x="71" y="379"/>
                  </a:lnTo>
                  <a:lnTo>
                    <a:pt x="59" y="385"/>
                  </a:lnTo>
                  <a:lnTo>
                    <a:pt x="47" y="391"/>
                  </a:lnTo>
                  <a:lnTo>
                    <a:pt x="35" y="398"/>
                  </a:lnTo>
                  <a:lnTo>
                    <a:pt x="23" y="405"/>
                  </a:lnTo>
                  <a:lnTo>
                    <a:pt x="21" y="406"/>
                  </a:lnTo>
                  <a:lnTo>
                    <a:pt x="19" y="406"/>
                  </a:lnTo>
                  <a:lnTo>
                    <a:pt x="18" y="405"/>
                  </a:lnTo>
                  <a:lnTo>
                    <a:pt x="17" y="403"/>
                  </a:lnTo>
                  <a:lnTo>
                    <a:pt x="16" y="402"/>
                  </a:lnTo>
                  <a:lnTo>
                    <a:pt x="16" y="400"/>
                  </a:lnTo>
                  <a:lnTo>
                    <a:pt x="17" y="398"/>
                  </a:lnTo>
                  <a:lnTo>
                    <a:pt x="18" y="397"/>
                  </a:lnTo>
                  <a:lnTo>
                    <a:pt x="30" y="390"/>
                  </a:lnTo>
                  <a:lnTo>
                    <a:pt x="42" y="383"/>
                  </a:lnTo>
                  <a:lnTo>
                    <a:pt x="53" y="377"/>
                  </a:lnTo>
                  <a:lnTo>
                    <a:pt x="65" y="371"/>
                  </a:lnTo>
                  <a:lnTo>
                    <a:pt x="78" y="366"/>
                  </a:lnTo>
                  <a:lnTo>
                    <a:pt x="90" y="361"/>
                  </a:lnTo>
                  <a:lnTo>
                    <a:pt x="102" y="357"/>
                  </a:lnTo>
                  <a:lnTo>
                    <a:pt x="115" y="353"/>
                  </a:lnTo>
                  <a:lnTo>
                    <a:pt x="128" y="349"/>
                  </a:lnTo>
                  <a:lnTo>
                    <a:pt x="140" y="346"/>
                  </a:lnTo>
                  <a:lnTo>
                    <a:pt x="166" y="341"/>
                  </a:lnTo>
                  <a:lnTo>
                    <a:pt x="179" y="339"/>
                  </a:lnTo>
                  <a:lnTo>
                    <a:pt x="192" y="337"/>
                  </a:lnTo>
                  <a:lnTo>
                    <a:pt x="206" y="336"/>
                  </a:lnTo>
                  <a:lnTo>
                    <a:pt x="219" y="335"/>
                  </a:lnTo>
                  <a:lnTo>
                    <a:pt x="193" y="326"/>
                  </a:lnTo>
                  <a:lnTo>
                    <a:pt x="167" y="318"/>
                  </a:lnTo>
                  <a:lnTo>
                    <a:pt x="154" y="315"/>
                  </a:lnTo>
                  <a:lnTo>
                    <a:pt x="141" y="312"/>
                  </a:lnTo>
                  <a:lnTo>
                    <a:pt x="128" y="309"/>
                  </a:lnTo>
                  <a:lnTo>
                    <a:pt x="114" y="306"/>
                  </a:lnTo>
                  <a:lnTo>
                    <a:pt x="101" y="304"/>
                  </a:lnTo>
                  <a:lnTo>
                    <a:pt x="88" y="303"/>
                  </a:lnTo>
                  <a:lnTo>
                    <a:pt x="74" y="302"/>
                  </a:lnTo>
                  <a:lnTo>
                    <a:pt x="60" y="301"/>
                  </a:lnTo>
                  <a:lnTo>
                    <a:pt x="47" y="301"/>
                  </a:lnTo>
                  <a:lnTo>
                    <a:pt x="33" y="301"/>
                  </a:lnTo>
                  <a:lnTo>
                    <a:pt x="5" y="302"/>
                  </a:lnTo>
                  <a:lnTo>
                    <a:pt x="3" y="302"/>
                  </a:lnTo>
                  <a:lnTo>
                    <a:pt x="1" y="301"/>
                  </a:lnTo>
                  <a:lnTo>
                    <a:pt x="0" y="299"/>
                  </a:lnTo>
                  <a:lnTo>
                    <a:pt x="0" y="298"/>
                  </a:lnTo>
                  <a:lnTo>
                    <a:pt x="0" y="296"/>
                  </a:lnTo>
                  <a:lnTo>
                    <a:pt x="1" y="294"/>
                  </a:lnTo>
                  <a:lnTo>
                    <a:pt x="2" y="293"/>
                  </a:lnTo>
                  <a:lnTo>
                    <a:pt x="4" y="293"/>
                  </a:lnTo>
                  <a:lnTo>
                    <a:pt x="28" y="291"/>
                  </a:lnTo>
                  <a:lnTo>
                    <a:pt x="52" y="291"/>
                  </a:lnTo>
                  <a:lnTo>
                    <a:pt x="64" y="292"/>
                  </a:lnTo>
                  <a:lnTo>
                    <a:pt x="76" y="292"/>
                  </a:lnTo>
                  <a:lnTo>
                    <a:pt x="99" y="295"/>
                  </a:lnTo>
                  <a:lnTo>
                    <a:pt x="122" y="298"/>
                  </a:lnTo>
                  <a:lnTo>
                    <a:pt x="145" y="303"/>
                  </a:lnTo>
                  <a:lnTo>
                    <a:pt x="156" y="305"/>
                  </a:lnTo>
                  <a:lnTo>
                    <a:pt x="167" y="308"/>
                  </a:lnTo>
                  <a:lnTo>
                    <a:pt x="190" y="315"/>
                  </a:lnTo>
                  <a:lnTo>
                    <a:pt x="168" y="306"/>
                  </a:lnTo>
                  <a:lnTo>
                    <a:pt x="146" y="298"/>
                  </a:lnTo>
                  <a:lnTo>
                    <a:pt x="124" y="291"/>
                  </a:lnTo>
                  <a:lnTo>
                    <a:pt x="112" y="288"/>
                  </a:lnTo>
                  <a:lnTo>
                    <a:pt x="101" y="286"/>
                  </a:lnTo>
                  <a:lnTo>
                    <a:pt x="90" y="283"/>
                  </a:lnTo>
                  <a:lnTo>
                    <a:pt x="78" y="281"/>
                  </a:lnTo>
                  <a:lnTo>
                    <a:pt x="55" y="278"/>
                  </a:lnTo>
                  <a:lnTo>
                    <a:pt x="43" y="277"/>
                  </a:lnTo>
                  <a:lnTo>
                    <a:pt x="32" y="276"/>
                  </a:lnTo>
                  <a:lnTo>
                    <a:pt x="20" y="276"/>
                  </a:lnTo>
                  <a:lnTo>
                    <a:pt x="8" y="276"/>
                  </a:lnTo>
                  <a:lnTo>
                    <a:pt x="6" y="276"/>
                  </a:lnTo>
                  <a:lnTo>
                    <a:pt x="4" y="275"/>
                  </a:lnTo>
                  <a:lnTo>
                    <a:pt x="4" y="273"/>
                  </a:lnTo>
                  <a:lnTo>
                    <a:pt x="3" y="271"/>
                  </a:lnTo>
                  <a:lnTo>
                    <a:pt x="4" y="270"/>
                  </a:lnTo>
                  <a:lnTo>
                    <a:pt x="4" y="268"/>
                  </a:lnTo>
                  <a:lnTo>
                    <a:pt x="6" y="267"/>
                  </a:lnTo>
                  <a:lnTo>
                    <a:pt x="8" y="266"/>
                  </a:lnTo>
                  <a:lnTo>
                    <a:pt x="20" y="267"/>
                  </a:lnTo>
                  <a:lnTo>
                    <a:pt x="32" y="267"/>
                  </a:lnTo>
                  <a:lnTo>
                    <a:pt x="55" y="269"/>
                  </a:lnTo>
                  <a:lnTo>
                    <a:pt x="78" y="272"/>
                  </a:lnTo>
                  <a:lnTo>
                    <a:pt x="101" y="276"/>
                  </a:lnTo>
                  <a:lnTo>
                    <a:pt x="112" y="279"/>
                  </a:lnTo>
                  <a:lnTo>
                    <a:pt x="124" y="282"/>
                  </a:lnTo>
                  <a:lnTo>
                    <a:pt x="146" y="288"/>
                  </a:lnTo>
                  <a:lnTo>
                    <a:pt x="168" y="296"/>
                  </a:lnTo>
                  <a:lnTo>
                    <a:pt x="190" y="305"/>
                  </a:lnTo>
                  <a:lnTo>
                    <a:pt x="172" y="292"/>
                  </a:lnTo>
                  <a:lnTo>
                    <a:pt x="153" y="281"/>
                  </a:lnTo>
                  <a:lnTo>
                    <a:pt x="144" y="276"/>
                  </a:lnTo>
                  <a:lnTo>
                    <a:pt x="134" y="271"/>
                  </a:lnTo>
                  <a:lnTo>
                    <a:pt x="116" y="263"/>
                  </a:lnTo>
                  <a:lnTo>
                    <a:pt x="103" y="258"/>
                  </a:lnTo>
                  <a:lnTo>
                    <a:pt x="92" y="254"/>
                  </a:lnTo>
                  <a:lnTo>
                    <a:pt x="86" y="251"/>
                  </a:lnTo>
                  <a:lnTo>
                    <a:pt x="81" y="248"/>
                  </a:lnTo>
                  <a:lnTo>
                    <a:pt x="75" y="244"/>
                  </a:lnTo>
                  <a:lnTo>
                    <a:pt x="70" y="240"/>
                  </a:lnTo>
                  <a:lnTo>
                    <a:pt x="59" y="231"/>
                  </a:lnTo>
                  <a:lnTo>
                    <a:pt x="51" y="221"/>
                  </a:lnTo>
                  <a:lnTo>
                    <a:pt x="44" y="211"/>
                  </a:lnTo>
                  <a:lnTo>
                    <a:pt x="37" y="199"/>
                  </a:lnTo>
                  <a:lnTo>
                    <a:pt x="36" y="197"/>
                  </a:lnTo>
                  <a:lnTo>
                    <a:pt x="37" y="196"/>
                  </a:lnTo>
                  <a:lnTo>
                    <a:pt x="38" y="194"/>
                  </a:lnTo>
                  <a:lnTo>
                    <a:pt x="39" y="193"/>
                  </a:lnTo>
                  <a:lnTo>
                    <a:pt x="41" y="192"/>
                  </a:lnTo>
                  <a:lnTo>
                    <a:pt x="42" y="193"/>
                  </a:lnTo>
                  <a:lnTo>
                    <a:pt x="44" y="193"/>
                  </a:lnTo>
                  <a:lnTo>
                    <a:pt x="45" y="195"/>
                  </a:lnTo>
                  <a:lnTo>
                    <a:pt x="51" y="204"/>
                  </a:lnTo>
                  <a:lnTo>
                    <a:pt x="56" y="213"/>
                  </a:lnTo>
                  <a:lnTo>
                    <a:pt x="63" y="220"/>
                  </a:lnTo>
                  <a:lnTo>
                    <a:pt x="70" y="227"/>
                  </a:lnTo>
                  <a:lnTo>
                    <a:pt x="77" y="234"/>
                  </a:lnTo>
                  <a:lnTo>
                    <a:pt x="85" y="239"/>
                  </a:lnTo>
                  <a:lnTo>
                    <a:pt x="94" y="244"/>
                  </a:lnTo>
                  <a:lnTo>
                    <a:pt x="104" y="248"/>
                  </a:lnTo>
                  <a:lnTo>
                    <a:pt x="120" y="254"/>
                  </a:lnTo>
                  <a:lnTo>
                    <a:pt x="128" y="258"/>
                  </a:lnTo>
                  <a:lnTo>
                    <a:pt x="136" y="262"/>
                  </a:lnTo>
                  <a:lnTo>
                    <a:pt x="150" y="269"/>
                  </a:lnTo>
                  <a:lnTo>
                    <a:pt x="162" y="276"/>
                  </a:lnTo>
                  <a:lnTo>
                    <a:pt x="184" y="290"/>
                  </a:lnTo>
                  <a:lnTo>
                    <a:pt x="68" y="175"/>
                  </a:lnTo>
                  <a:lnTo>
                    <a:pt x="67" y="174"/>
                  </a:lnTo>
                  <a:lnTo>
                    <a:pt x="66" y="172"/>
                  </a:lnTo>
                  <a:lnTo>
                    <a:pt x="67" y="170"/>
                  </a:lnTo>
                  <a:lnTo>
                    <a:pt x="68" y="169"/>
                  </a:lnTo>
                  <a:lnTo>
                    <a:pt x="69" y="168"/>
                  </a:lnTo>
                  <a:lnTo>
                    <a:pt x="71" y="167"/>
                  </a:lnTo>
                  <a:lnTo>
                    <a:pt x="73" y="167"/>
                  </a:lnTo>
                  <a:lnTo>
                    <a:pt x="74" y="168"/>
                  </a:lnTo>
                  <a:lnTo>
                    <a:pt x="75" y="169"/>
                  </a:lnTo>
                  <a:lnTo>
                    <a:pt x="166" y="259"/>
                  </a:lnTo>
                  <a:lnTo>
                    <a:pt x="95" y="175"/>
                  </a:lnTo>
                  <a:lnTo>
                    <a:pt x="94" y="173"/>
                  </a:lnTo>
                  <a:lnTo>
                    <a:pt x="93" y="172"/>
                  </a:lnTo>
                  <a:lnTo>
                    <a:pt x="94" y="170"/>
                  </a:lnTo>
                  <a:lnTo>
                    <a:pt x="95" y="169"/>
                  </a:lnTo>
                  <a:lnTo>
                    <a:pt x="97" y="168"/>
                  </a:lnTo>
                  <a:lnTo>
                    <a:pt x="98" y="167"/>
                  </a:lnTo>
                  <a:lnTo>
                    <a:pt x="100" y="168"/>
                  </a:lnTo>
                  <a:lnTo>
                    <a:pt x="102" y="169"/>
                  </a:lnTo>
                  <a:lnTo>
                    <a:pt x="226" y="314"/>
                  </a:lnTo>
                  <a:lnTo>
                    <a:pt x="161" y="170"/>
                  </a:lnTo>
                  <a:lnTo>
                    <a:pt x="160" y="168"/>
                  </a:lnTo>
                  <a:lnTo>
                    <a:pt x="161" y="166"/>
                  </a:lnTo>
                  <a:lnTo>
                    <a:pt x="162" y="165"/>
                  </a:lnTo>
                  <a:lnTo>
                    <a:pt x="163" y="164"/>
                  </a:lnTo>
                  <a:lnTo>
                    <a:pt x="165" y="163"/>
                  </a:lnTo>
                  <a:lnTo>
                    <a:pt x="167" y="164"/>
                  </a:lnTo>
                  <a:lnTo>
                    <a:pt x="168" y="164"/>
                  </a:lnTo>
                  <a:lnTo>
                    <a:pt x="169" y="166"/>
                  </a:lnTo>
                  <a:lnTo>
                    <a:pt x="232" y="304"/>
                  </a:lnTo>
                  <a:lnTo>
                    <a:pt x="219" y="211"/>
                  </a:lnTo>
                  <a:lnTo>
                    <a:pt x="220" y="209"/>
                  </a:lnTo>
                  <a:lnTo>
                    <a:pt x="220" y="207"/>
                  </a:lnTo>
                  <a:lnTo>
                    <a:pt x="222" y="206"/>
                  </a:lnTo>
                  <a:lnTo>
                    <a:pt x="223" y="206"/>
                  </a:lnTo>
                  <a:lnTo>
                    <a:pt x="225" y="206"/>
                  </a:lnTo>
                  <a:lnTo>
                    <a:pt x="227" y="206"/>
                  </a:lnTo>
                  <a:lnTo>
                    <a:pt x="228" y="208"/>
                  </a:lnTo>
                  <a:lnTo>
                    <a:pt x="229" y="210"/>
                  </a:lnTo>
                  <a:lnTo>
                    <a:pt x="238" y="275"/>
                  </a:lnTo>
                  <a:lnTo>
                    <a:pt x="238" y="207"/>
                  </a:lnTo>
                  <a:lnTo>
                    <a:pt x="238" y="205"/>
                  </a:lnTo>
                  <a:lnTo>
                    <a:pt x="240" y="204"/>
                  </a:lnTo>
                  <a:lnTo>
                    <a:pt x="241" y="203"/>
                  </a:lnTo>
                  <a:lnTo>
                    <a:pt x="243" y="202"/>
                  </a:lnTo>
                  <a:lnTo>
                    <a:pt x="245" y="203"/>
                  </a:lnTo>
                  <a:lnTo>
                    <a:pt x="246" y="204"/>
                  </a:lnTo>
                  <a:lnTo>
                    <a:pt x="247" y="205"/>
                  </a:lnTo>
                  <a:lnTo>
                    <a:pt x="248" y="207"/>
                  </a:lnTo>
                  <a:lnTo>
                    <a:pt x="247"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1952"/>
            <p:cNvSpPr>
              <a:spLocks noEditPoints="1"/>
            </p:cNvSpPr>
            <p:nvPr userDrawn="1"/>
          </p:nvSpPr>
          <p:spPr bwMode="auto">
            <a:xfrm>
              <a:off x="3709988" y="2746375"/>
              <a:ext cx="1168400" cy="687388"/>
            </a:xfrm>
            <a:custGeom>
              <a:avLst/>
              <a:gdLst>
                <a:gd name="T0" fmla="*/ 608 w 736"/>
                <a:gd name="T1" fmla="*/ 169 h 433"/>
                <a:gd name="T2" fmla="*/ 82 w 736"/>
                <a:gd name="T3" fmla="*/ 31 h 433"/>
                <a:gd name="T4" fmla="*/ 85 w 736"/>
                <a:gd name="T5" fmla="*/ 19 h 433"/>
                <a:gd name="T6" fmla="*/ 25 w 736"/>
                <a:gd name="T7" fmla="*/ 20 h 433"/>
                <a:gd name="T8" fmla="*/ 38 w 736"/>
                <a:gd name="T9" fmla="*/ 36 h 433"/>
                <a:gd name="T10" fmla="*/ 117 w 736"/>
                <a:gd name="T11" fmla="*/ 51 h 433"/>
                <a:gd name="T12" fmla="*/ 409 w 736"/>
                <a:gd name="T13" fmla="*/ 125 h 433"/>
                <a:gd name="T14" fmla="*/ 265 w 736"/>
                <a:gd name="T15" fmla="*/ 79 h 433"/>
                <a:gd name="T16" fmla="*/ 103 w 736"/>
                <a:gd name="T17" fmla="*/ 61 h 433"/>
                <a:gd name="T18" fmla="*/ 36 w 736"/>
                <a:gd name="T19" fmla="*/ 46 h 433"/>
                <a:gd name="T20" fmla="*/ 1 w 736"/>
                <a:gd name="T21" fmla="*/ 19 h 433"/>
                <a:gd name="T22" fmla="*/ 68 w 736"/>
                <a:gd name="T23" fmla="*/ 8 h 433"/>
                <a:gd name="T24" fmla="*/ 114 w 736"/>
                <a:gd name="T25" fmla="*/ 19 h 433"/>
                <a:gd name="T26" fmla="*/ 192 w 736"/>
                <a:gd name="T27" fmla="*/ 54 h 433"/>
                <a:gd name="T28" fmla="*/ 366 w 736"/>
                <a:gd name="T29" fmla="*/ 98 h 433"/>
                <a:gd name="T30" fmla="*/ 523 w 736"/>
                <a:gd name="T31" fmla="*/ 173 h 433"/>
                <a:gd name="T32" fmla="*/ 626 w 736"/>
                <a:gd name="T33" fmla="*/ 1 h 433"/>
                <a:gd name="T34" fmla="*/ 588 w 736"/>
                <a:gd name="T35" fmla="*/ 106 h 433"/>
                <a:gd name="T36" fmla="*/ 639 w 736"/>
                <a:gd name="T37" fmla="*/ 17 h 433"/>
                <a:gd name="T38" fmla="*/ 647 w 736"/>
                <a:gd name="T39" fmla="*/ 21 h 433"/>
                <a:gd name="T40" fmla="*/ 591 w 736"/>
                <a:gd name="T41" fmla="*/ 117 h 433"/>
                <a:gd name="T42" fmla="*/ 686 w 736"/>
                <a:gd name="T43" fmla="*/ 44 h 433"/>
                <a:gd name="T44" fmla="*/ 618 w 736"/>
                <a:gd name="T45" fmla="*/ 129 h 433"/>
                <a:gd name="T46" fmla="*/ 705 w 736"/>
                <a:gd name="T47" fmla="*/ 58 h 433"/>
                <a:gd name="T48" fmla="*/ 722 w 736"/>
                <a:gd name="T49" fmla="*/ 51 h 433"/>
                <a:gd name="T50" fmla="*/ 642 w 736"/>
                <a:gd name="T51" fmla="*/ 125 h 433"/>
                <a:gd name="T52" fmla="*/ 679 w 736"/>
                <a:gd name="T53" fmla="*/ 114 h 433"/>
                <a:gd name="T54" fmla="*/ 685 w 736"/>
                <a:gd name="T55" fmla="*/ 121 h 433"/>
                <a:gd name="T56" fmla="*/ 736 w 736"/>
                <a:gd name="T57" fmla="*/ 120 h 433"/>
                <a:gd name="T58" fmla="*/ 648 w 736"/>
                <a:gd name="T59" fmla="*/ 159 h 433"/>
                <a:gd name="T60" fmla="*/ 578 w 736"/>
                <a:gd name="T61" fmla="*/ 187 h 433"/>
                <a:gd name="T62" fmla="*/ 710 w 736"/>
                <a:gd name="T63" fmla="*/ 270 h 433"/>
                <a:gd name="T64" fmla="*/ 538 w 736"/>
                <a:gd name="T65" fmla="*/ 192 h 433"/>
                <a:gd name="T66" fmla="*/ 602 w 736"/>
                <a:gd name="T67" fmla="*/ 260 h 433"/>
                <a:gd name="T68" fmla="*/ 680 w 736"/>
                <a:gd name="T69" fmla="*/ 312 h 433"/>
                <a:gd name="T70" fmla="*/ 706 w 736"/>
                <a:gd name="T71" fmla="*/ 332 h 433"/>
                <a:gd name="T72" fmla="*/ 665 w 736"/>
                <a:gd name="T73" fmla="*/ 315 h 433"/>
                <a:gd name="T74" fmla="*/ 580 w 736"/>
                <a:gd name="T75" fmla="*/ 253 h 433"/>
                <a:gd name="T76" fmla="*/ 556 w 736"/>
                <a:gd name="T77" fmla="*/ 269 h 433"/>
                <a:gd name="T78" fmla="*/ 598 w 736"/>
                <a:gd name="T79" fmla="*/ 353 h 433"/>
                <a:gd name="T80" fmla="*/ 630 w 736"/>
                <a:gd name="T81" fmla="*/ 405 h 433"/>
                <a:gd name="T82" fmla="*/ 588 w 736"/>
                <a:gd name="T83" fmla="*/ 355 h 433"/>
                <a:gd name="T84" fmla="*/ 535 w 736"/>
                <a:gd name="T85" fmla="*/ 239 h 433"/>
                <a:gd name="T86" fmla="*/ 572 w 736"/>
                <a:gd name="T87" fmla="*/ 350 h 433"/>
                <a:gd name="T88" fmla="*/ 607 w 736"/>
                <a:gd name="T89" fmla="*/ 417 h 433"/>
                <a:gd name="T90" fmla="*/ 575 w 736"/>
                <a:gd name="T91" fmla="*/ 376 h 433"/>
                <a:gd name="T92" fmla="*/ 530 w 736"/>
                <a:gd name="T93" fmla="*/ 257 h 433"/>
                <a:gd name="T94" fmla="*/ 542 w 736"/>
                <a:gd name="T95" fmla="*/ 356 h 433"/>
                <a:gd name="T96" fmla="*/ 528 w 736"/>
                <a:gd name="T97" fmla="*/ 430 h 433"/>
                <a:gd name="T98" fmla="*/ 519 w 736"/>
                <a:gd name="T99" fmla="*/ 428 h 433"/>
                <a:gd name="T100" fmla="*/ 534 w 736"/>
                <a:gd name="T101" fmla="*/ 378 h 433"/>
                <a:gd name="T102" fmla="*/ 523 w 736"/>
                <a:gd name="T103" fmla="*/ 314 h 433"/>
                <a:gd name="T104" fmla="*/ 487 w 736"/>
                <a:gd name="T105" fmla="*/ 423 h 433"/>
                <a:gd name="T106" fmla="*/ 503 w 736"/>
                <a:gd name="T107" fmla="*/ 291 h 433"/>
                <a:gd name="T108" fmla="*/ 467 w 736"/>
                <a:gd name="T109" fmla="*/ 398 h 433"/>
                <a:gd name="T110" fmla="*/ 429 w 736"/>
                <a:gd name="T111" fmla="*/ 348 h 433"/>
                <a:gd name="T112" fmla="*/ 433 w 736"/>
                <a:gd name="T113" fmla="*/ 274 h 433"/>
                <a:gd name="T114" fmla="*/ 425 w 736"/>
                <a:gd name="T115" fmla="*/ 269 h 433"/>
                <a:gd name="T116" fmla="*/ 413 w 736"/>
                <a:gd name="T117" fmla="*/ 26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6" h="433">
                  <a:moveTo>
                    <a:pt x="550" y="179"/>
                  </a:moveTo>
                  <a:lnTo>
                    <a:pt x="560" y="179"/>
                  </a:lnTo>
                  <a:lnTo>
                    <a:pt x="570" y="178"/>
                  </a:lnTo>
                  <a:lnTo>
                    <a:pt x="579" y="177"/>
                  </a:lnTo>
                  <a:lnTo>
                    <a:pt x="589" y="175"/>
                  </a:lnTo>
                  <a:lnTo>
                    <a:pt x="598" y="173"/>
                  </a:lnTo>
                  <a:lnTo>
                    <a:pt x="608" y="169"/>
                  </a:lnTo>
                  <a:lnTo>
                    <a:pt x="617" y="165"/>
                  </a:lnTo>
                  <a:lnTo>
                    <a:pt x="626" y="161"/>
                  </a:lnTo>
                  <a:lnTo>
                    <a:pt x="635" y="156"/>
                  </a:lnTo>
                  <a:lnTo>
                    <a:pt x="642" y="151"/>
                  </a:lnTo>
                  <a:lnTo>
                    <a:pt x="550" y="179"/>
                  </a:lnTo>
                  <a:close/>
                  <a:moveTo>
                    <a:pt x="25" y="20"/>
                  </a:moveTo>
                  <a:lnTo>
                    <a:pt x="82" y="31"/>
                  </a:lnTo>
                  <a:lnTo>
                    <a:pt x="135" y="41"/>
                  </a:lnTo>
                  <a:lnTo>
                    <a:pt x="128" y="36"/>
                  </a:lnTo>
                  <a:lnTo>
                    <a:pt x="121" y="32"/>
                  </a:lnTo>
                  <a:lnTo>
                    <a:pt x="113" y="28"/>
                  </a:lnTo>
                  <a:lnTo>
                    <a:pt x="104" y="25"/>
                  </a:lnTo>
                  <a:lnTo>
                    <a:pt x="95" y="22"/>
                  </a:lnTo>
                  <a:lnTo>
                    <a:pt x="85" y="19"/>
                  </a:lnTo>
                  <a:lnTo>
                    <a:pt x="80" y="19"/>
                  </a:lnTo>
                  <a:lnTo>
                    <a:pt x="75" y="18"/>
                  </a:lnTo>
                  <a:lnTo>
                    <a:pt x="65" y="17"/>
                  </a:lnTo>
                  <a:lnTo>
                    <a:pt x="55" y="17"/>
                  </a:lnTo>
                  <a:lnTo>
                    <a:pt x="45" y="17"/>
                  </a:lnTo>
                  <a:lnTo>
                    <a:pt x="35" y="18"/>
                  </a:lnTo>
                  <a:lnTo>
                    <a:pt x="25" y="20"/>
                  </a:lnTo>
                  <a:close/>
                  <a:moveTo>
                    <a:pt x="131" y="50"/>
                  </a:moveTo>
                  <a:lnTo>
                    <a:pt x="105" y="45"/>
                  </a:lnTo>
                  <a:lnTo>
                    <a:pt x="80" y="40"/>
                  </a:lnTo>
                  <a:lnTo>
                    <a:pt x="54" y="35"/>
                  </a:lnTo>
                  <a:lnTo>
                    <a:pt x="26" y="30"/>
                  </a:lnTo>
                  <a:lnTo>
                    <a:pt x="31" y="33"/>
                  </a:lnTo>
                  <a:lnTo>
                    <a:pt x="38" y="36"/>
                  </a:lnTo>
                  <a:lnTo>
                    <a:pt x="50" y="41"/>
                  </a:lnTo>
                  <a:lnTo>
                    <a:pt x="63" y="45"/>
                  </a:lnTo>
                  <a:lnTo>
                    <a:pt x="76" y="48"/>
                  </a:lnTo>
                  <a:lnTo>
                    <a:pt x="90" y="51"/>
                  </a:lnTo>
                  <a:lnTo>
                    <a:pt x="104" y="51"/>
                  </a:lnTo>
                  <a:lnTo>
                    <a:pt x="111" y="52"/>
                  </a:lnTo>
                  <a:lnTo>
                    <a:pt x="117" y="51"/>
                  </a:lnTo>
                  <a:lnTo>
                    <a:pt x="131" y="50"/>
                  </a:lnTo>
                  <a:close/>
                  <a:moveTo>
                    <a:pt x="518" y="181"/>
                  </a:moveTo>
                  <a:lnTo>
                    <a:pt x="497" y="168"/>
                  </a:lnTo>
                  <a:lnTo>
                    <a:pt x="475" y="156"/>
                  </a:lnTo>
                  <a:lnTo>
                    <a:pt x="453" y="145"/>
                  </a:lnTo>
                  <a:lnTo>
                    <a:pt x="431" y="134"/>
                  </a:lnTo>
                  <a:lnTo>
                    <a:pt x="409" y="125"/>
                  </a:lnTo>
                  <a:lnTo>
                    <a:pt x="386" y="116"/>
                  </a:lnTo>
                  <a:lnTo>
                    <a:pt x="363" y="107"/>
                  </a:lnTo>
                  <a:lnTo>
                    <a:pt x="338" y="99"/>
                  </a:lnTo>
                  <a:lnTo>
                    <a:pt x="318" y="92"/>
                  </a:lnTo>
                  <a:lnTo>
                    <a:pt x="299" y="87"/>
                  </a:lnTo>
                  <a:lnTo>
                    <a:pt x="282" y="83"/>
                  </a:lnTo>
                  <a:lnTo>
                    <a:pt x="265" y="79"/>
                  </a:lnTo>
                  <a:lnTo>
                    <a:pt x="190" y="63"/>
                  </a:lnTo>
                  <a:lnTo>
                    <a:pt x="153" y="55"/>
                  </a:lnTo>
                  <a:lnTo>
                    <a:pt x="143" y="57"/>
                  </a:lnTo>
                  <a:lnTo>
                    <a:pt x="133" y="59"/>
                  </a:lnTo>
                  <a:lnTo>
                    <a:pt x="123" y="60"/>
                  </a:lnTo>
                  <a:lnTo>
                    <a:pt x="113" y="61"/>
                  </a:lnTo>
                  <a:lnTo>
                    <a:pt x="103" y="61"/>
                  </a:lnTo>
                  <a:lnTo>
                    <a:pt x="93" y="60"/>
                  </a:lnTo>
                  <a:lnTo>
                    <a:pt x="83" y="59"/>
                  </a:lnTo>
                  <a:lnTo>
                    <a:pt x="74" y="58"/>
                  </a:lnTo>
                  <a:lnTo>
                    <a:pt x="64" y="55"/>
                  </a:lnTo>
                  <a:lnTo>
                    <a:pt x="54" y="53"/>
                  </a:lnTo>
                  <a:lnTo>
                    <a:pt x="45" y="49"/>
                  </a:lnTo>
                  <a:lnTo>
                    <a:pt x="36" y="46"/>
                  </a:lnTo>
                  <a:lnTo>
                    <a:pt x="27" y="41"/>
                  </a:lnTo>
                  <a:lnTo>
                    <a:pt x="18" y="36"/>
                  </a:lnTo>
                  <a:lnTo>
                    <a:pt x="9" y="31"/>
                  </a:lnTo>
                  <a:lnTo>
                    <a:pt x="1" y="25"/>
                  </a:lnTo>
                  <a:lnTo>
                    <a:pt x="0" y="23"/>
                  </a:lnTo>
                  <a:lnTo>
                    <a:pt x="0" y="21"/>
                  </a:lnTo>
                  <a:lnTo>
                    <a:pt x="1" y="19"/>
                  </a:lnTo>
                  <a:lnTo>
                    <a:pt x="2" y="18"/>
                  </a:lnTo>
                  <a:lnTo>
                    <a:pt x="15" y="14"/>
                  </a:lnTo>
                  <a:lnTo>
                    <a:pt x="28" y="11"/>
                  </a:lnTo>
                  <a:lnTo>
                    <a:pt x="41" y="8"/>
                  </a:lnTo>
                  <a:lnTo>
                    <a:pt x="55" y="7"/>
                  </a:lnTo>
                  <a:lnTo>
                    <a:pt x="62" y="7"/>
                  </a:lnTo>
                  <a:lnTo>
                    <a:pt x="68" y="8"/>
                  </a:lnTo>
                  <a:lnTo>
                    <a:pt x="75" y="8"/>
                  </a:lnTo>
                  <a:lnTo>
                    <a:pt x="82" y="9"/>
                  </a:lnTo>
                  <a:lnTo>
                    <a:pt x="88" y="10"/>
                  </a:lnTo>
                  <a:lnTo>
                    <a:pt x="95" y="12"/>
                  </a:lnTo>
                  <a:lnTo>
                    <a:pt x="101" y="14"/>
                  </a:lnTo>
                  <a:lnTo>
                    <a:pt x="107" y="16"/>
                  </a:lnTo>
                  <a:lnTo>
                    <a:pt x="114" y="19"/>
                  </a:lnTo>
                  <a:lnTo>
                    <a:pt x="121" y="21"/>
                  </a:lnTo>
                  <a:lnTo>
                    <a:pt x="132" y="28"/>
                  </a:lnTo>
                  <a:lnTo>
                    <a:pt x="137" y="31"/>
                  </a:lnTo>
                  <a:lnTo>
                    <a:pt x="143" y="35"/>
                  </a:lnTo>
                  <a:lnTo>
                    <a:pt x="148" y="40"/>
                  </a:lnTo>
                  <a:lnTo>
                    <a:pt x="153" y="45"/>
                  </a:lnTo>
                  <a:lnTo>
                    <a:pt x="192" y="54"/>
                  </a:lnTo>
                  <a:lnTo>
                    <a:pt x="232" y="62"/>
                  </a:lnTo>
                  <a:lnTo>
                    <a:pt x="267" y="70"/>
                  </a:lnTo>
                  <a:lnTo>
                    <a:pt x="284" y="74"/>
                  </a:lnTo>
                  <a:lnTo>
                    <a:pt x="302" y="78"/>
                  </a:lnTo>
                  <a:lnTo>
                    <a:pt x="321" y="83"/>
                  </a:lnTo>
                  <a:lnTo>
                    <a:pt x="341" y="90"/>
                  </a:lnTo>
                  <a:lnTo>
                    <a:pt x="366" y="98"/>
                  </a:lnTo>
                  <a:lnTo>
                    <a:pt x="390" y="107"/>
                  </a:lnTo>
                  <a:lnTo>
                    <a:pt x="413" y="116"/>
                  </a:lnTo>
                  <a:lnTo>
                    <a:pt x="435" y="126"/>
                  </a:lnTo>
                  <a:lnTo>
                    <a:pt x="457" y="136"/>
                  </a:lnTo>
                  <a:lnTo>
                    <a:pt x="479" y="148"/>
                  </a:lnTo>
                  <a:lnTo>
                    <a:pt x="501" y="160"/>
                  </a:lnTo>
                  <a:lnTo>
                    <a:pt x="523" y="173"/>
                  </a:lnTo>
                  <a:lnTo>
                    <a:pt x="526" y="171"/>
                  </a:lnTo>
                  <a:lnTo>
                    <a:pt x="619" y="2"/>
                  </a:lnTo>
                  <a:lnTo>
                    <a:pt x="620" y="1"/>
                  </a:lnTo>
                  <a:lnTo>
                    <a:pt x="622" y="0"/>
                  </a:lnTo>
                  <a:lnTo>
                    <a:pt x="623" y="0"/>
                  </a:lnTo>
                  <a:lnTo>
                    <a:pt x="625" y="0"/>
                  </a:lnTo>
                  <a:lnTo>
                    <a:pt x="626" y="1"/>
                  </a:lnTo>
                  <a:lnTo>
                    <a:pt x="627" y="3"/>
                  </a:lnTo>
                  <a:lnTo>
                    <a:pt x="628" y="5"/>
                  </a:lnTo>
                  <a:lnTo>
                    <a:pt x="627" y="7"/>
                  </a:lnTo>
                  <a:lnTo>
                    <a:pt x="547" y="151"/>
                  </a:lnTo>
                  <a:lnTo>
                    <a:pt x="562" y="137"/>
                  </a:lnTo>
                  <a:lnTo>
                    <a:pt x="575" y="121"/>
                  </a:lnTo>
                  <a:lnTo>
                    <a:pt x="588" y="106"/>
                  </a:lnTo>
                  <a:lnTo>
                    <a:pt x="599" y="89"/>
                  </a:lnTo>
                  <a:lnTo>
                    <a:pt x="610" y="72"/>
                  </a:lnTo>
                  <a:lnTo>
                    <a:pt x="621" y="55"/>
                  </a:lnTo>
                  <a:lnTo>
                    <a:pt x="630" y="37"/>
                  </a:lnTo>
                  <a:lnTo>
                    <a:pt x="634" y="28"/>
                  </a:lnTo>
                  <a:lnTo>
                    <a:pt x="638" y="19"/>
                  </a:lnTo>
                  <a:lnTo>
                    <a:pt x="639" y="17"/>
                  </a:lnTo>
                  <a:lnTo>
                    <a:pt x="641" y="16"/>
                  </a:lnTo>
                  <a:lnTo>
                    <a:pt x="643" y="16"/>
                  </a:lnTo>
                  <a:lnTo>
                    <a:pt x="644" y="16"/>
                  </a:lnTo>
                  <a:lnTo>
                    <a:pt x="646" y="17"/>
                  </a:lnTo>
                  <a:lnTo>
                    <a:pt x="647" y="18"/>
                  </a:lnTo>
                  <a:lnTo>
                    <a:pt x="647" y="20"/>
                  </a:lnTo>
                  <a:lnTo>
                    <a:pt x="647" y="21"/>
                  </a:lnTo>
                  <a:lnTo>
                    <a:pt x="647" y="22"/>
                  </a:lnTo>
                  <a:lnTo>
                    <a:pt x="641" y="35"/>
                  </a:lnTo>
                  <a:lnTo>
                    <a:pt x="635" y="47"/>
                  </a:lnTo>
                  <a:lnTo>
                    <a:pt x="629" y="59"/>
                  </a:lnTo>
                  <a:lnTo>
                    <a:pt x="622" y="71"/>
                  </a:lnTo>
                  <a:lnTo>
                    <a:pt x="607" y="95"/>
                  </a:lnTo>
                  <a:lnTo>
                    <a:pt x="591" y="117"/>
                  </a:lnTo>
                  <a:lnTo>
                    <a:pt x="678" y="40"/>
                  </a:lnTo>
                  <a:lnTo>
                    <a:pt x="680" y="39"/>
                  </a:lnTo>
                  <a:lnTo>
                    <a:pt x="682" y="39"/>
                  </a:lnTo>
                  <a:lnTo>
                    <a:pt x="684" y="39"/>
                  </a:lnTo>
                  <a:lnTo>
                    <a:pt x="685" y="40"/>
                  </a:lnTo>
                  <a:lnTo>
                    <a:pt x="686" y="42"/>
                  </a:lnTo>
                  <a:lnTo>
                    <a:pt x="686" y="44"/>
                  </a:lnTo>
                  <a:lnTo>
                    <a:pt x="686" y="46"/>
                  </a:lnTo>
                  <a:lnTo>
                    <a:pt x="685" y="47"/>
                  </a:lnTo>
                  <a:lnTo>
                    <a:pt x="552" y="164"/>
                  </a:lnTo>
                  <a:lnTo>
                    <a:pt x="563" y="159"/>
                  </a:lnTo>
                  <a:lnTo>
                    <a:pt x="575" y="153"/>
                  </a:lnTo>
                  <a:lnTo>
                    <a:pt x="597" y="142"/>
                  </a:lnTo>
                  <a:lnTo>
                    <a:pt x="618" y="129"/>
                  </a:lnTo>
                  <a:lnTo>
                    <a:pt x="629" y="123"/>
                  </a:lnTo>
                  <a:lnTo>
                    <a:pt x="639" y="116"/>
                  </a:lnTo>
                  <a:lnTo>
                    <a:pt x="659" y="101"/>
                  </a:lnTo>
                  <a:lnTo>
                    <a:pt x="678" y="85"/>
                  </a:lnTo>
                  <a:lnTo>
                    <a:pt x="687" y="76"/>
                  </a:lnTo>
                  <a:lnTo>
                    <a:pt x="696" y="68"/>
                  </a:lnTo>
                  <a:lnTo>
                    <a:pt x="705" y="58"/>
                  </a:lnTo>
                  <a:lnTo>
                    <a:pt x="714" y="49"/>
                  </a:lnTo>
                  <a:lnTo>
                    <a:pt x="716" y="47"/>
                  </a:lnTo>
                  <a:lnTo>
                    <a:pt x="717" y="47"/>
                  </a:lnTo>
                  <a:lnTo>
                    <a:pt x="719" y="47"/>
                  </a:lnTo>
                  <a:lnTo>
                    <a:pt x="721" y="48"/>
                  </a:lnTo>
                  <a:lnTo>
                    <a:pt x="722" y="50"/>
                  </a:lnTo>
                  <a:lnTo>
                    <a:pt x="722" y="51"/>
                  </a:lnTo>
                  <a:lnTo>
                    <a:pt x="722" y="53"/>
                  </a:lnTo>
                  <a:lnTo>
                    <a:pt x="721" y="55"/>
                  </a:lnTo>
                  <a:lnTo>
                    <a:pt x="706" y="71"/>
                  </a:lnTo>
                  <a:lnTo>
                    <a:pt x="691" y="86"/>
                  </a:lnTo>
                  <a:lnTo>
                    <a:pt x="675" y="100"/>
                  </a:lnTo>
                  <a:lnTo>
                    <a:pt x="659" y="113"/>
                  </a:lnTo>
                  <a:lnTo>
                    <a:pt x="642" y="125"/>
                  </a:lnTo>
                  <a:lnTo>
                    <a:pt x="624" y="137"/>
                  </a:lnTo>
                  <a:lnTo>
                    <a:pt x="606" y="147"/>
                  </a:lnTo>
                  <a:lnTo>
                    <a:pt x="588" y="157"/>
                  </a:lnTo>
                  <a:lnTo>
                    <a:pt x="661" y="136"/>
                  </a:lnTo>
                  <a:lnTo>
                    <a:pt x="669" y="127"/>
                  </a:lnTo>
                  <a:lnTo>
                    <a:pt x="677" y="116"/>
                  </a:lnTo>
                  <a:lnTo>
                    <a:pt x="679" y="114"/>
                  </a:lnTo>
                  <a:lnTo>
                    <a:pt x="680" y="114"/>
                  </a:lnTo>
                  <a:lnTo>
                    <a:pt x="682" y="114"/>
                  </a:lnTo>
                  <a:lnTo>
                    <a:pt x="684" y="115"/>
                  </a:lnTo>
                  <a:lnTo>
                    <a:pt x="685" y="116"/>
                  </a:lnTo>
                  <a:lnTo>
                    <a:pt x="686" y="118"/>
                  </a:lnTo>
                  <a:lnTo>
                    <a:pt x="686" y="120"/>
                  </a:lnTo>
                  <a:lnTo>
                    <a:pt x="685" y="121"/>
                  </a:lnTo>
                  <a:lnTo>
                    <a:pt x="678" y="130"/>
                  </a:lnTo>
                  <a:lnTo>
                    <a:pt x="730" y="115"/>
                  </a:lnTo>
                  <a:lnTo>
                    <a:pt x="732" y="115"/>
                  </a:lnTo>
                  <a:lnTo>
                    <a:pt x="734" y="115"/>
                  </a:lnTo>
                  <a:lnTo>
                    <a:pt x="735" y="117"/>
                  </a:lnTo>
                  <a:lnTo>
                    <a:pt x="736" y="118"/>
                  </a:lnTo>
                  <a:lnTo>
                    <a:pt x="736" y="120"/>
                  </a:lnTo>
                  <a:lnTo>
                    <a:pt x="736" y="122"/>
                  </a:lnTo>
                  <a:lnTo>
                    <a:pt x="735" y="123"/>
                  </a:lnTo>
                  <a:lnTo>
                    <a:pt x="733" y="124"/>
                  </a:lnTo>
                  <a:lnTo>
                    <a:pt x="665" y="144"/>
                  </a:lnTo>
                  <a:lnTo>
                    <a:pt x="657" y="152"/>
                  </a:lnTo>
                  <a:lnTo>
                    <a:pt x="652" y="155"/>
                  </a:lnTo>
                  <a:lnTo>
                    <a:pt x="648" y="159"/>
                  </a:lnTo>
                  <a:lnTo>
                    <a:pt x="639" y="165"/>
                  </a:lnTo>
                  <a:lnTo>
                    <a:pt x="629" y="170"/>
                  </a:lnTo>
                  <a:lnTo>
                    <a:pt x="619" y="175"/>
                  </a:lnTo>
                  <a:lnTo>
                    <a:pt x="609" y="179"/>
                  </a:lnTo>
                  <a:lnTo>
                    <a:pt x="598" y="183"/>
                  </a:lnTo>
                  <a:lnTo>
                    <a:pt x="587" y="185"/>
                  </a:lnTo>
                  <a:lnTo>
                    <a:pt x="578" y="187"/>
                  </a:lnTo>
                  <a:lnTo>
                    <a:pt x="569" y="188"/>
                  </a:lnTo>
                  <a:lnTo>
                    <a:pt x="561" y="189"/>
                  </a:lnTo>
                  <a:lnTo>
                    <a:pt x="553" y="189"/>
                  </a:lnTo>
                  <a:lnTo>
                    <a:pt x="708" y="267"/>
                  </a:lnTo>
                  <a:lnTo>
                    <a:pt x="709" y="268"/>
                  </a:lnTo>
                  <a:lnTo>
                    <a:pt x="710" y="269"/>
                  </a:lnTo>
                  <a:lnTo>
                    <a:pt x="710" y="270"/>
                  </a:lnTo>
                  <a:lnTo>
                    <a:pt x="710" y="272"/>
                  </a:lnTo>
                  <a:lnTo>
                    <a:pt x="710" y="273"/>
                  </a:lnTo>
                  <a:lnTo>
                    <a:pt x="709" y="275"/>
                  </a:lnTo>
                  <a:lnTo>
                    <a:pt x="707" y="276"/>
                  </a:lnTo>
                  <a:lnTo>
                    <a:pt x="705" y="276"/>
                  </a:lnTo>
                  <a:lnTo>
                    <a:pt x="703" y="275"/>
                  </a:lnTo>
                  <a:lnTo>
                    <a:pt x="538" y="192"/>
                  </a:lnTo>
                  <a:lnTo>
                    <a:pt x="547" y="202"/>
                  </a:lnTo>
                  <a:lnTo>
                    <a:pt x="555" y="213"/>
                  </a:lnTo>
                  <a:lnTo>
                    <a:pt x="564" y="223"/>
                  </a:lnTo>
                  <a:lnTo>
                    <a:pt x="573" y="233"/>
                  </a:lnTo>
                  <a:lnTo>
                    <a:pt x="583" y="242"/>
                  </a:lnTo>
                  <a:lnTo>
                    <a:pt x="592" y="251"/>
                  </a:lnTo>
                  <a:lnTo>
                    <a:pt x="602" y="260"/>
                  </a:lnTo>
                  <a:lnTo>
                    <a:pt x="612" y="269"/>
                  </a:lnTo>
                  <a:lnTo>
                    <a:pt x="623" y="277"/>
                  </a:lnTo>
                  <a:lnTo>
                    <a:pt x="634" y="285"/>
                  </a:lnTo>
                  <a:lnTo>
                    <a:pt x="645" y="292"/>
                  </a:lnTo>
                  <a:lnTo>
                    <a:pt x="656" y="299"/>
                  </a:lnTo>
                  <a:lnTo>
                    <a:pt x="668" y="306"/>
                  </a:lnTo>
                  <a:lnTo>
                    <a:pt x="680" y="312"/>
                  </a:lnTo>
                  <a:lnTo>
                    <a:pt x="692" y="318"/>
                  </a:lnTo>
                  <a:lnTo>
                    <a:pt x="705" y="324"/>
                  </a:lnTo>
                  <a:lnTo>
                    <a:pt x="706" y="325"/>
                  </a:lnTo>
                  <a:lnTo>
                    <a:pt x="707" y="327"/>
                  </a:lnTo>
                  <a:lnTo>
                    <a:pt x="708" y="328"/>
                  </a:lnTo>
                  <a:lnTo>
                    <a:pt x="707" y="330"/>
                  </a:lnTo>
                  <a:lnTo>
                    <a:pt x="706" y="332"/>
                  </a:lnTo>
                  <a:lnTo>
                    <a:pt x="705" y="333"/>
                  </a:lnTo>
                  <a:lnTo>
                    <a:pt x="703" y="333"/>
                  </a:lnTo>
                  <a:lnTo>
                    <a:pt x="702" y="333"/>
                  </a:lnTo>
                  <a:lnTo>
                    <a:pt x="701" y="333"/>
                  </a:lnTo>
                  <a:lnTo>
                    <a:pt x="689" y="327"/>
                  </a:lnTo>
                  <a:lnTo>
                    <a:pt x="676" y="321"/>
                  </a:lnTo>
                  <a:lnTo>
                    <a:pt x="665" y="315"/>
                  </a:lnTo>
                  <a:lnTo>
                    <a:pt x="653" y="308"/>
                  </a:lnTo>
                  <a:lnTo>
                    <a:pt x="642" y="302"/>
                  </a:lnTo>
                  <a:lnTo>
                    <a:pt x="631" y="294"/>
                  </a:lnTo>
                  <a:lnTo>
                    <a:pt x="609" y="279"/>
                  </a:lnTo>
                  <a:lnTo>
                    <a:pt x="599" y="270"/>
                  </a:lnTo>
                  <a:lnTo>
                    <a:pt x="589" y="262"/>
                  </a:lnTo>
                  <a:lnTo>
                    <a:pt x="580" y="253"/>
                  </a:lnTo>
                  <a:lnTo>
                    <a:pt x="570" y="243"/>
                  </a:lnTo>
                  <a:lnTo>
                    <a:pt x="561" y="234"/>
                  </a:lnTo>
                  <a:lnTo>
                    <a:pt x="552" y="224"/>
                  </a:lnTo>
                  <a:lnTo>
                    <a:pt x="535" y="203"/>
                  </a:lnTo>
                  <a:lnTo>
                    <a:pt x="543" y="230"/>
                  </a:lnTo>
                  <a:lnTo>
                    <a:pt x="551" y="256"/>
                  </a:lnTo>
                  <a:lnTo>
                    <a:pt x="556" y="269"/>
                  </a:lnTo>
                  <a:lnTo>
                    <a:pt x="561" y="281"/>
                  </a:lnTo>
                  <a:lnTo>
                    <a:pt x="566" y="293"/>
                  </a:lnTo>
                  <a:lnTo>
                    <a:pt x="572" y="306"/>
                  </a:lnTo>
                  <a:lnTo>
                    <a:pt x="578" y="318"/>
                  </a:lnTo>
                  <a:lnTo>
                    <a:pt x="584" y="330"/>
                  </a:lnTo>
                  <a:lnTo>
                    <a:pt x="591" y="341"/>
                  </a:lnTo>
                  <a:lnTo>
                    <a:pt x="598" y="353"/>
                  </a:lnTo>
                  <a:lnTo>
                    <a:pt x="606" y="364"/>
                  </a:lnTo>
                  <a:lnTo>
                    <a:pt x="614" y="376"/>
                  </a:lnTo>
                  <a:lnTo>
                    <a:pt x="631" y="398"/>
                  </a:lnTo>
                  <a:lnTo>
                    <a:pt x="632" y="400"/>
                  </a:lnTo>
                  <a:lnTo>
                    <a:pt x="632" y="402"/>
                  </a:lnTo>
                  <a:lnTo>
                    <a:pt x="632" y="403"/>
                  </a:lnTo>
                  <a:lnTo>
                    <a:pt x="630" y="405"/>
                  </a:lnTo>
                  <a:lnTo>
                    <a:pt x="629" y="405"/>
                  </a:lnTo>
                  <a:lnTo>
                    <a:pt x="627" y="406"/>
                  </a:lnTo>
                  <a:lnTo>
                    <a:pt x="625" y="405"/>
                  </a:lnTo>
                  <a:lnTo>
                    <a:pt x="624" y="404"/>
                  </a:lnTo>
                  <a:lnTo>
                    <a:pt x="609" y="385"/>
                  </a:lnTo>
                  <a:lnTo>
                    <a:pt x="595" y="365"/>
                  </a:lnTo>
                  <a:lnTo>
                    <a:pt x="588" y="355"/>
                  </a:lnTo>
                  <a:lnTo>
                    <a:pt x="582" y="345"/>
                  </a:lnTo>
                  <a:lnTo>
                    <a:pt x="571" y="325"/>
                  </a:lnTo>
                  <a:lnTo>
                    <a:pt x="561" y="304"/>
                  </a:lnTo>
                  <a:lnTo>
                    <a:pt x="551" y="283"/>
                  </a:lnTo>
                  <a:lnTo>
                    <a:pt x="543" y="261"/>
                  </a:lnTo>
                  <a:lnTo>
                    <a:pt x="539" y="250"/>
                  </a:lnTo>
                  <a:lnTo>
                    <a:pt x="535" y="239"/>
                  </a:lnTo>
                  <a:lnTo>
                    <a:pt x="541" y="262"/>
                  </a:lnTo>
                  <a:lnTo>
                    <a:pt x="543" y="273"/>
                  </a:lnTo>
                  <a:lnTo>
                    <a:pt x="547" y="284"/>
                  </a:lnTo>
                  <a:lnTo>
                    <a:pt x="554" y="307"/>
                  </a:lnTo>
                  <a:lnTo>
                    <a:pt x="558" y="317"/>
                  </a:lnTo>
                  <a:lnTo>
                    <a:pt x="562" y="328"/>
                  </a:lnTo>
                  <a:lnTo>
                    <a:pt x="572" y="350"/>
                  </a:lnTo>
                  <a:lnTo>
                    <a:pt x="583" y="370"/>
                  </a:lnTo>
                  <a:lnTo>
                    <a:pt x="595" y="391"/>
                  </a:lnTo>
                  <a:lnTo>
                    <a:pt x="608" y="410"/>
                  </a:lnTo>
                  <a:lnTo>
                    <a:pt x="609" y="412"/>
                  </a:lnTo>
                  <a:lnTo>
                    <a:pt x="609" y="414"/>
                  </a:lnTo>
                  <a:lnTo>
                    <a:pt x="608" y="416"/>
                  </a:lnTo>
                  <a:lnTo>
                    <a:pt x="607" y="417"/>
                  </a:lnTo>
                  <a:lnTo>
                    <a:pt x="605" y="418"/>
                  </a:lnTo>
                  <a:lnTo>
                    <a:pt x="603" y="418"/>
                  </a:lnTo>
                  <a:lnTo>
                    <a:pt x="602" y="417"/>
                  </a:lnTo>
                  <a:lnTo>
                    <a:pt x="600" y="416"/>
                  </a:lnTo>
                  <a:lnTo>
                    <a:pt x="587" y="396"/>
                  </a:lnTo>
                  <a:lnTo>
                    <a:pt x="581" y="386"/>
                  </a:lnTo>
                  <a:lnTo>
                    <a:pt x="575" y="376"/>
                  </a:lnTo>
                  <a:lnTo>
                    <a:pt x="564" y="355"/>
                  </a:lnTo>
                  <a:lnTo>
                    <a:pt x="555" y="334"/>
                  </a:lnTo>
                  <a:lnTo>
                    <a:pt x="546" y="313"/>
                  </a:lnTo>
                  <a:lnTo>
                    <a:pt x="539" y="291"/>
                  </a:lnTo>
                  <a:lnTo>
                    <a:pt x="535" y="279"/>
                  </a:lnTo>
                  <a:lnTo>
                    <a:pt x="532" y="268"/>
                  </a:lnTo>
                  <a:lnTo>
                    <a:pt x="530" y="257"/>
                  </a:lnTo>
                  <a:lnTo>
                    <a:pt x="527" y="245"/>
                  </a:lnTo>
                  <a:lnTo>
                    <a:pt x="528" y="270"/>
                  </a:lnTo>
                  <a:lnTo>
                    <a:pt x="530" y="295"/>
                  </a:lnTo>
                  <a:lnTo>
                    <a:pt x="534" y="320"/>
                  </a:lnTo>
                  <a:lnTo>
                    <a:pt x="536" y="333"/>
                  </a:lnTo>
                  <a:lnTo>
                    <a:pt x="539" y="345"/>
                  </a:lnTo>
                  <a:lnTo>
                    <a:pt x="542" y="356"/>
                  </a:lnTo>
                  <a:lnTo>
                    <a:pt x="543" y="367"/>
                  </a:lnTo>
                  <a:lnTo>
                    <a:pt x="543" y="378"/>
                  </a:lnTo>
                  <a:lnTo>
                    <a:pt x="542" y="389"/>
                  </a:lnTo>
                  <a:lnTo>
                    <a:pt x="540" y="399"/>
                  </a:lnTo>
                  <a:lnTo>
                    <a:pt x="537" y="410"/>
                  </a:lnTo>
                  <a:lnTo>
                    <a:pt x="533" y="420"/>
                  </a:lnTo>
                  <a:lnTo>
                    <a:pt x="528" y="430"/>
                  </a:lnTo>
                  <a:lnTo>
                    <a:pt x="527" y="432"/>
                  </a:lnTo>
                  <a:lnTo>
                    <a:pt x="525" y="433"/>
                  </a:lnTo>
                  <a:lnTo>
                    <a:pt x="524" y="433"/>
                  </a:lnTo>
                  <a:lnTo>
                    <a:pt x="522" y="432"/>
                  </a:lnTo>
                  <a:lnTo>
                    <a:pt x="521" y="431"/>
                  </a:lnTo>
                  <a:lnTo>
                    <a:pt x="520" y="430"/>
                  </a:lnTo>
                  <a:lnTo>
                    <a:pt x="519" y="428"/>
                  </a:lnTo>
                  <a:lnTo>
                    <a:pt x="520" y="426"/>
                  </a:lnTo>
                  <a:lnTo>
                    <a:pt x="524" y="416"/>
                  </a:lnTo>
                  <a:lnTo>
                    <a:pt x="528" y="407"/>
                  </a:lnTo>
                  <a:lnTo>
                    <a:pt x="531" y="397"/>
                  </a:lnTo>
                  <a:lnTo>
                    <a:pt x="532" y="392"/>
                  </a:lnTo>
                  <a:lnTo>
                    <a:pt x="533" y="388"/>
                  </a:lnTo>
                  <a:lnTo>
                    <a:pt x="534" y="378"/>
                  </a:lnTo>
                  <a:lnTo>
                    <a:pt x="533" y="368"/>
                  </a:lnTo>
                  <a:lnTo>
                    <a:pt x="533" y="363"/>
                  </a:lnTo>
                  <a:lnTo>
                    <a:pt x="532" y="358"/>
                  </a:lnTo>
                  <a:lnTo>
                    <a:pt x="530" y="348"/>
                  </a:lnTo>
                  <a:lnTo>
                    <a:pt x="527" y="336"/>
                  </a:lnTo>
                  <a:lnTo>
                    <a:pt x="525" y="325"/>
                  </a:lnTo>
                  <a:lnTo>
                    <a:pt x="523" y="314"/>
                  </a:lnTo>
                  <a:lnTo>
                    <a:pt x="521" y="303"/>
                  </a:lnTo>
                  <a:lnTo>
                    <a:pt x="519" y="281"/>
                  </a:lnTo>
                  <a:lnTo>
                    <a:pt x="518" y="259"/>
                  </a:lnTo>
                  <a:lnTo>
                    <a:pt x="491" y="419"/>
                  </a:lnTo>
                  <a:lnTo>
                    <a:pt x="490" y="421"/>
                  </a:lnTo>
                  <a:lnTo>
                    <a:pt x="489" y="422"/>
                  </a:lnTo>
                  <a:lnTo>
                    <a:pt x="487" y="423"/>
                  </a:lnTo>
                  <a:lnTo>
                    <a:pt x="486" y="423"/>
                  </a:lnTo>
                  <a:lnTo>
                    <a:pt x="484" y="422"/>
                  </a:lnTo>
                  <a:lnTo>
                    <a:pt x="483" y="421"/>
                  </a:lnTo>
                  <a:lnTo>
                    <a:pt x="482" y="420"/>
                  </a:lnTo>
                  <a:lnTo>
                    <a:pt x="482" y="419"/>
                  </a:lnTo>
                  <a:lnTo>
                    <a:pt x="482" y="417"/>
                  </a:lnTo>
                  <a:lnTo>
                    <a:pt x="503" y="291"/>
                  </a:lnTo>
                  <a:lnTo>
                    <a:pt x="476" y="397"/>
                  </a:lnTo>
                  <a:lnTo>
                    <a:pt x="475" y="399"/>
                  </a:lnTo>
                  <a:lnTo>
                    <a:pt x="473" y="400"/>
                  </a:lnTo>
                  <a:lnTo>
                    <a:pt x="472" y="401"/>
                  </a:lnTo>
                  <a:lnTo>
                    <a:pt x="470" y="400"/>
                  </a:lnTo>
                  <a:lnTo>
                    <a:pt x="468" y="400"/>
                  </a:lnTo>
                  <a:lnTo>
                    <a:pt x="467" y="398"/>
                  </a:lnTo>
                  <a:lnTo>
                    <a:pt x="466" y="397"/>
                  </a:lnTo>
                  <a:lnTo>
                    <a:pt x="466" y="395"/>
                  </a:lnTo>
                  <a:lnTo>
                    <a:pt x="514" y="210"/>
                  </a:lnTo>
                  <a:lnTo>
                    <a:pt x="433" y="346"/>
                  </a:lnTo>
                  <a:lnTo>
                    <a:pt x="432" y="347"/>
                  </a:lnTo>
                  <a:lnTo>
                    <a:pt x="430" y="348"/>
                  </a:lnTo>
                  <a:lnTo>
                    <a:pt x="429" y="348"/>
                  </a:lnTo>
                  <a:lnTo>
                    <a:pt x="427" y="348"/>
                  </a:lnTo>
                  <a:lnTo>
                    <a:pt x="426" y="346"/>
                  </a:lnTo>
                  <a:lnTo>
                    <a:pt x="425" y="345"/>
                  </a:lnTo>
                  <a:lnTo>
                    <a:pt x="425" y="343"/>
                  </a:lnTo>
                  <a:lnTo>
                    <a:pt x="425" y="341"/>
                  </a:lnTo>
                  <a:lnTo>
                    <a:pt x="502" y="211"/>
                  </a:lnTo>
                  <a:lnTo>
                    <a:pt x="433" y="274"/>
                  </a:lnTo>
                  <a:lnTo>
                    <a:pt x="431" y="276"/>
                  </a:lnTo>
                  <a:lnTo>
                    <a:pt x="430" y="276"/>
                  </a:lnTo>
                  <a:lnTo>
                    <a:pt x="428" y="275"/>
                  </a:lnTo>
                  <a:lnTo>
                    <a:pt x="426" y="274"/>
                  </a:lnTo>
                  <a:lnTo>
                    <a:pt x="426" y="273"/>
                  </a:lnTo>
                  <a:lnTo>
                    <a:pt x="425" y="271"/>
                  </a:lnTo>
                  <a:lnTo>
                    <a:pt x="425" y="269"/>
                  </a:lnTo>
                  <a:lnTo>
                    <a:pt x="427" y="267"/>
                  </a:lnTo>
                  <a:lnTo>
                    <a:pt x="476" y="222"/>
                  </a:lnTo>
                  <a:lnTo>
                    <a:pt x="419" y="261"/>
                  </a:lnTo>
                  <a:lnTo>
                    <a:pt x="418" y="262"/>
                  </a:lnTo>
                  <a:lnTo>
                    <a:pt x="416" y="262"/>
                  </a:lnTo>
                  <a:lnTo>
                    <a:pt x="414" y="261"/>
                  </a:lnTo>
                  <a:lnTo>
                    <a:pt x="413" y="260"/>
                  </a:lnTo>
                  <a:lnTo>
                    <a:pt x="412" y="258"/>
                  </a:lnTo>
                  <a:lnTo>
                    <a:pt x="412" y="257"/>
                  </a:lnTo>
                  <a:lnTo>
                    <a:pt x="413" y="255"/>
                  </a:lnTo>
                  <a:lnTo>
                    <a:pt x="414" y="253"/>
                  </a:lnTo>
                  <a:lnTo>
                    <a:pt x="518"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Freeform 1953"/>
            <p:cNvSpPr>
              <a:spLocks noEditPoints="1"/>
            </p:cNvSpPr>
            <p:nvPr userDrawn="1"/>
          </p:nvSpPr>
          <p:spPr bwMode="auto">
            <a:xfrm>
              <a:off x="4569547" y="4419178"/>
              <a:ext cx="1146175" cy="752475"/>
            </a:xfrm>
            <a:custGeom>
              <a:avLst/>
              <a:gdLst>
                <a:gd name="T0" fmla="*/ 133 w 722"/>
                <a:gd name="T1" fmla="*/ 255 h 474"/>
                <a:gd name="T2" fmla="*/ 642 w 722"/>
                <a:gd name="T3" fmla="*/ 448 h 474"/>
                <a:gd name="T4" fmla="*/ 637 w 722"/>
                <a:gd name="T5" fmla="*/ 458 h 474"/>
                <a:gd name="T6" fmla="*/ 595 w 722"/>
                <a:gd name="T7" fmla="*/ 423 h 474"/>
                <a:gd name="T8" fmla="*/ 655 w 722"/>
                <a:gd name="T9" fmla="*/ 432 h 474"/>
                <a:gd name="T10" fmla="*/ 243 w 722"/>
                <a:gd name="T11" fmla="*/ 267 h 474"/>
                <a:gd name="T12" fmla="*/ 394 w 722"/>
                <a:gd name="T13" fmla="*/ 353 h 474"/>
                <a:gd name="T14" fmla="*/ 573 w 722"/>
                <a:gd name="T15" fmla="*/ 416 h 474"/>
                <a:gd name="T16" fmla="*/ 643 w 722"/>
                <a:gd name="T17" fmla="*/ 419 h 474"/>
                <a:gd name="T18" fmla="*/ 706 w 722"/>
                <a:gd name="T19" fmla="*/ 448 h 474"/>
                <a:gd name="T20" fmla="*/ 706 w 722"/>
                <a:gd name="T21" fmla="*/ 471 h 474"/>
                <a:gd name="T22" fmla="*/ 627 w 722"/>
                <a:gd name="T23" fmla="*/ 465 h 474"/>
                <a:gd name="T24" fmla="*/ 577 w 722"/>
                <a:gd name="T25" fmla="*/ 431 h 474"/>
                <a:gd name="T26" fmla="*/ 409 w 722"/>
                <a:gd name="T27" fmla="*/ 370 h 474"/>
                <a:gd name="T28" fmla="*/ 258 w 722"/>
                <a:gd name="T29" fmla="*/ 290 h 474"/>
                <a:gd name="T30" fmla="*/ 100 w 722"/>
                <a:gd name="T31" fmla="*/ 422 h 474"/>
                <a:gd name="T32" fmla="*/ 175 w 722"/>
                <a:gd name="T33" fmla="*/ 292 h 474"/>
                <a:gd name="T34" fmla="*/ 87 w 722"/>
                <a:gd name="T35" fmla="*/ 401 h 474"/>
                <a:gd name="T36" fmla="*/ 78 w 722"/>
                <a:gd name="T37" fmla="*/ 399 h 474"/>
                <a:gd name="T38" fmla="*/ 126 w 722"/>
                <a:gd name="T39" fmla="*/ 329 h 474"/>
                <a:gd name="T40" fmla="*/ 42 w 722"/>
                <a:gd name="T41" fmla="*/ 375 h 474"/>
                <a:gd name="T42" fmla="*/ 141 w 722"/>
                <a:gd name="T43" fmla="*/ 283 h 474"/>
                <a:gd name="T44" fmla="*/ 64 w 722"/>
                <a:gd name="T45" fmla="*/ 324 h 474"/>
                <a:gd name="T46" fmla="*/ 11 w 722"/>
                <a:gd name="T47" fmla="*/ 365 h 474"/>
                <a:gd name="T48" fmla="*/ 24 w 722"/>
                <a:gd name="T49" fmla="*/ 342 h 474"/>
                <a:gd name="T50" fmla="*/ 151 w 722"/>
                <a:gd name="T51" fmla="*/ 269 h 474"/>
                <a:gd name="T52" fmla="*/ 51 w 722"/>
                <a:gd name="T53" fmla="*/ 301 h 474"/>
                <a:gd name="T54" fmla="*/ 3 w 722"/>
                <a:gd name="T55" fmla="*/ 296 h 474"/>
                <a:gd name="T56" fmla="*/ 4 w 722"/>
                <a:gd name="T57" fmla="*/ 287 h 474"/>
                <a:gd name="T58" fmla="*/ 133 w 722"/>
                <a:gd name="T59" fmla="*/ 245 h 474"/>
                <a:gd name="T60" fmla="*/ 43 w 722"/>
                <a:gd name="T61" fmla="*/ 146 h 474"/>
                <a:gd name="T62" fmla="*/ 46 w 722"/>
                <a:gd name="T63" fmla="*/ 137 h 474"/>
                <a:gd name="T64" fmla="*/ 166 w 722"/>
                <a:gd name="T65" fmla="*/ 185 h 474"/>
                <a:gd name="T66" fmla="*/ 98 w 722"/>
                <a:gd name="T67" fmla="*/ 119 h 474"/>
                <a:gd name="T68" fmla="*/ 49 w 722"/>
                <a:gd name="T69" fmla="*/ 85 h 474"/>
                <a:gd name="T70" fmla="*/ 92 w 722"/>
                <a:gd name="T71" fmla="*/ 103 h 474"/>
                <a:gd name="T72" fmla="*/ 161 w 722"/>
                <a:gd name="T73" fmla="*/ 165 h 474"/>
                <a:gd name="T74" fmla="*/ 198 w 722"/>
                <a:gd name="T75" fmla="*/ 175 h 474"/>
                <a:gd name="T76" fmla="*/ 162 w 722"/>
                <a:gd name="T77" fmla="*/ 72 h 474"/>
                <a:gd name="T78" fmla="*/ 134 w 722"/>
                <a:gd name="T79" fmla="*/ 19 h 474"/>
                <a:gd name="T80" fmla="*/ 166 w 722"/>
                <a:gd name="T81" fmla="*/ 60 h 474"/>
                <a:gd name="T82" fmla="*/ 207 w 722"/>
                <a:gd name="T83" fmla="*/ 170 h 474"/>
                <a:gd name="T84" fmla="*/ 195 w 722"/>
                <a:gd name="T85" fmla="*/ 100 h 474"/>
                <a:gd name="T86" fmla="*/ 157 w 722"/>
                <a:gd name="T87" fmla="*/ 12 h 474"/>
                <a:gd name="T88" fmla="*/ 166 w 722"/>
                <a:gd name="T89" fmla="*/ 9 h 474"/>
                <a:gd name="T90" fmla="*/ 209 w 722"/>
                <a:gd name="T91" fmla="*/ 117 h 474"/>
                <a:gd name="T92" fmla="*/ 223 w 722"/>
                <a:gd name="T93" fmla="*/ 149 h 474"/>
                <a:gd name="T94" fmla="*/ 219 w 722"/>
                <a:gd name="T95" fmla="*/ 53 h 474"/>
                <a:gd name="T96" fmla="*/ 242 w 722"/>
                <a:gd name="T97" fmla="*/ 0 h 474"/>
                <a:gd name="T98" fmla="*/ 242 w 722"/>
                <a:gd name="T99" fmla="*/ 17 h 474"/>
                <a:gd name="T100" fmla="*/ 228 w 722"/>
                <a:gd name="T101" fmla="*/ 74 h 474"/>
                <a:gd name="T102" fmla="*/ 232 w 722"/>
                <a:gd name="T103" fmla="*/ 164 h 474"/>
                <a:gd name="T104" fmla="*/ 283 w 722"/>
                <a:gd name="T105" fmla="*/ 15 h 474"/>
                <a:gd name="T106" fmla="*/ 291 w 722"/>
                <a:gd name="T107" fmla="*/ 38 h 474"/>
                <a:gd name="T108" fmla="*/ 231 w 722"/>
                <a:gd name="T109" fmla="*/ 224 h 474"/>
                <a:gd name="T110" fmla="*/ 333 w 722"/>
                <a:gd name="T111" fmla="*/ 98 h 474"/>
                <a:gd name="T112" fmla="*/ 322 w 722"/>
                <a:gd name="T113" fmla="*/ 168 h 474"/>
                <a:gd name="T114" fmla="*/ 270 w 722"/>
                <a:gd name="T115" fmla="*/ 216 h 474"/>
                <a:gd name="T116" fmla="*/ 337 w 722"/>
                <a:gd name="T117" fmla="*/ 18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2" h="474">
                  <a:moveTo>
                    <a:pt x="191" y="251"/>
                  </a:moveTo>
                  <a:lnTo>
                    <a:pt x="181" y="250"/>
                  </a:lnTo>
                  <a:lnTo>
                    <a:pt x="172" y="250"/>
                  </a:lnTo>
                  <a:lnTo>
                    <a:pt x="162" y="250"/>
                  </a:lnTo>
                  <a:lnTo>
                    <a:pt x="152" y="251"/>
                  </a:lnTo>
                  <a:lnTo>
                    <a:pt x="143" y="252"/>
                  </a:lnTo>
                  <a:lnTo>
                    <a:pt x="133" y="255"/>
                  </a:lnTo>
                  <a:lnTo>
                    <a:pt x="123" y="258"/>
                  </a:lnTo>
                  <a:lnTo>
                    <a:pt x="114" y="261"/>
                  </a:lnTo>
                  <a:lnTo>
                    <a:pt x="105" y="265"/>
                  </a:lnTo>
                  <a:lnTo>
                    <a:pt x="97" y="269"/>
                  </a:lnTo>
                  <a:lnTo>
                    <a:pt x="191" y="251"/>
                  </a:lnTo>
                  <a:close/>
                  <a:moveTo>
                    <a:pt x="697" y="464"/>
                  </a:moveTo>
                  <a:lnTo>
                    <a:pt x="642" y="448"/>
                  </a:lnTo>
                  <a:lnTo>
                    <a:pt x="590" y="432"/>
                  </a:lnTo>
                  <a:lnTo>
                    <a:pt x="596" y="437"/>
                  </a:lnTo>
                  <a:lnTo>
                    <a:pt x="603" y="442"/>
                  </a:lnTo>
                  <a:lnTo>
                    <a:pt x="610" y="447"/>
                  </a:lnTo>
                  <a:lnTo>
                    <a:pt x="619" y="451"/>
                  </a:lnTo>
                  <a:lnTo>
                    <a:pt x="628" y="455"/>
                  </a:lnTo>
                  <a:lnTo>
                    <a:pt x="637" y="458"/>
                  </a:lnTo>
                  <a:lnTo>
                    <a:pt x="647" y="461"/>
                  </a:lnTo>
                  <a:lnTo>
                    <a:pt x="657" y="463"/>
                  </a:lnTo>
                  <a:lnTo>
                    <a:pt x="667" y="464"/>
                  </a:lnTo>
                  <a:lnTo>
                    <a:pt x="677" y="465"/>
                  </a:lnTo>
                  <a:lnTo>
                    <a:pt x="687" y="465"/>
                  </a:lnTo>
                  <a:lnTo>
                    <a:pt x="697" y="464"/>
                  </a:lnTo>
                  <a:close/>
                  <a:moveTo>
                    <a:pt x="595" y="423"/>
                  </a:moveTo>
                  <a:lnTo>
                    <a:pt x="620" y="431"/>
                  </a:lnTo>
                  <a:lnTo>
                    <a:pt x="644" y="438"/>
                  </a:lnTo>
                  <a:lnTo>
                    <a:pt x="697" y="454"/>
                  </a:lnTo>
                  <a:lnTo>
                    <a:pt x="686" y="447"/>
                  </a:lnTo>
                  <a:lnTo>
                    <a:pt x="674" y="440"/>
                  </a:lnTo>
                  <a:lnTo>
                    <a:pt x="662" y="435"/>
                  </a:lnTo>
                  <a:lnTo>
                    <a:pt x="655" y="432"/>
                  </a:lnTo>
                  <a:lnTo>
                    <a:pt x="649" y="430"/>
                  </a:lnTo>
                  <a:lnTo>
                    <a:pt x="635" y="427"/>
                  </a:lnTo>
                  <a:lnTo>
                    <a:pt x="622" y="424"/>
                  </a:lnTo>
                  <a:lnTo>
                    <a:pt x="608" y="423"/>
                  </a:lnTo>
                  <a:lnTo>
                    <a:pt x="595" y="423"/>
                  </a:lnTo>
                  <a:close/>
                  <a:moveTo>
                    <a:pt x="223" y="252"/>
                  </a:moveTo>
                  <a:lnTo>
                    <a:pt x="243" y="267"/>
                  </a:lnTo>
                  <a:lnTo>
                    <a:pt x="264" y="282"/>
                  </a:lnTo>
                  <a:lnTo>
                    <a:pt x="284" y="295"/>
                  </a:lnTo>
                  <a:lnTo>
                    <a:pt x="305" y="308"/>
                  </a:lnTo>
                  <a:lnTo>
                    <a:pt x="326" y="320"/>
                  </a:lnTo>
                  <a:lnTo>
                    <a:pt x="348" y="331"/>
                  </a:lnTo>
                  <a:lnTo>
                    <a:pt x="370" y="342"/>
                  </a:lnTo>
                  <a:lnTo>
                    <a:pt x="394" y="353"/>
                  </a:lnTo>
                  <a:lnTo>
                    <a:pt x="413" y="361"/>
                  </a:lnTo>
                  <a:lnTo>
                    <a:pt x="431" y="369"/>
                  </a:lnTo>
                  <a:lnTo>
                    <a:pt x="448" y="375"/>
                  </a:lnTo>
                  <a:lnTo>
                    <a:pt x="465" y="381"/>
                  </a:lnTo>
                  <a:lnTo>
                    <a:pt x="499" y="392"/>
                  </a:lnTo>
                  <a:lnTo>
                    <a:pt x="537" y="404"/>
                  </a:lnTo>
                  <a:lnTo>
                    <a:pt x="573" y="416"/>
                  </a:lnTo>
                  <a:lnTo>
                    <a:pt x="583" y="415"/>
                  </a:lnTo>
                  <a:lnTo>
                    <a:pt x="594" y="414"/>
                  </a:lnTo>
                  <a:lnTo>
                    <a:pt x="604" y="414"/>
                  </a:lnTo>
                  <a:lnTo>
                    <a:pt x="614" y="414"/>
                  </a:lnTo>
                  <a:lnTo>
                    <a:pt x="623" y="415"/>
                  </a:lnTo>
                  <a:lnTo>
                    <a:pt x="633" y="417"/>
                  </a:lnTo>
                  <a:lnTo>
                    <a:pt x="643" y="419"/>
                  </a:lnTo>
                  <a:lnTo>
                    <a:pt x="653" y="422"/>
                  </a:lnTo>
                  <a:lnTo>
                    <a:pt x="662" y="425"/>
                  </a:lnTo>
                  <a:lnTo>
                    <a:pt x="671" y="428"/>
                  </a:lnTo>
                  <a:lnTo>
                    <a:pt x="680" y="433"/>
                  </a:lnTo>
                  <a:lnTo>
                    <a:pt x="689" y="437"/>
                  </a:lnTo>
                  <a:lnTo>
                    <a:pt x="697" y="443"/>
                  </a:lnTo>
                  <a:lnTo>
                    <a:pt x="706" y="448"/>
                  </a:lnTo>
                  <a:lnTo>
                    <a:pt x="714" y="455"/>
                  </a:lnTo>
                  <a:lnTo>
                    <a:pt x="721" y="461"/>
                  </a:lnTo>
                  <a:lnTo>
                    <a:pt x="722" y="464"/>
                  </a:lnTo>
                  <a:lnTo>
                    <a:pt x="721" y="466"/>
                  </a:lnTo>
                  <a:lnTo>
                    <a:pt x="721" y="467"/>
                  </a:lnTo>
                  <a:lnTo>
                    <a:pt x="719" y="469"/>
                  </a:lnTo>
                  <a:lnTo>
                    <a:pt x="706" y="471"/>
                  </a:lnTo>
                  <a:lnTo>
                    <a:pt x="693" y="473"/>
                  </a:lnTo>
                  <a:lnTo>
                    <a:pt x="679" y="474"/>
                  </a:lnTo>
                  <a:lnTo>
                    <a:pt x="673" y="474"/>
                  </a:lnTo>
                  <a:lnTo>
                    <a:pt x="666" y="473"/>
                  </a:lnTo>
                  <a:lnTo>
                    <a:pt x="653" y="472"/>
                  </a:lnTo>
                  <a:lnTo>
                    <a:pt x="639" y="469"/>
                  </a:lnTo>
                  <a:lnTo>
                    <a:pt x="627" y="465"/>
                  </a:lnTo>
                  <a:lnTo>
                    <a:pt x="621" y="462"/>
                  </a:lnTo>
                  <a:lnTo>
                    <a:pt x="615" y="460"/>
                  </a:lnTo>
                  <a:lnTo>
                    <a:pt x="602" y="453"/>
                  </a:lnTo>
                  <a:lnTo>
                    <a:pt x="591" y="445"/>
                  </a:lnTo>
                  <a:lnTo>
                    <a:pt x="586" y="441"/>
                  </a:lnTo>
                  <a:lnTo>
                    <a:pt x="582" y="436"/>
                  </a:lnTo>
                  <a:lnTo>
                    <a:pt x="577" y="431"/>
                  </a:lnTo>
                  <a:lnTo>
                    <a:pt x="572" y="426"/>
                  </a:lnTo>
                  <a:lnTo>
                    <a:pt x="534" y="413"/>
                  </a:lnTo>
                  <a:lnTo>
                    <a:pt x="495" y="401"/>
                  </a:lnTo>
                  <a:lnTo>
                    <a:pt x="461" y="389"/>
                  </a:lnTo>
                  <a:lnTo>
                    <a:pt x="444" y="384"/>
                  </a:lnTo>
                  <a:lnTo>
                    <a:pt x="427" y="377"/>
                  </a:lnTo>
                  <a:lnTo>
                    <a:pt x="409" y="370"/>
                  </a:lnTo>
                  <a:lnTo>
                    <a:pt x="390" y="362"/>
                  </a:lnTo>
                  <a:lnTo>
                    <a:pt x="366" y="351"/>
                  </a:lnTo>
                  <a:lnTo>
                    <a:pt x="343" y="340"/>
                  </a:lnTo>
                  <a:lnTo>
                    <a:pt x="321" y="328"/>
                  </a:lnTo>
                  <a:lnTo>
                    <a:pt x="300" y="316"/>
                  </a:lnTo>
                  <a:lnTo>
                    <a:pt x="279" y="303"/>
                  </a:lnTo>
                  <a:lnTo>
                    <a:pt x="258" y="290"/>
                  </a:lnTo>
                  <a:lnTo>
                    <a:pt x="238" y="275"/>
                  </a:lnTo>
                  <a:lnTo>
                    <a:pt x="217" y="259"/>
                  </a:lnTo>
                  <a:lnTo>
                    <a:pt x="215" y="261"/>
                  </a:lnTo>
                  <a:lnTo>
                    <a:pt x="105" y="420"/>
                  </a:lnTo>
                  <a:lnTo>
                    <a:pt x="103" y="421"/>
                  </a:lnTo>
                  <a:lnTo>
                    <a:pt x="101" y="422"/>
                  </a:lnTo>
                  <a:lnTo>
                    <a:pt x="100" y="422"/>
                  </a:lnTo>
                  <a:lnTo>
                    <a:pt x="98" y="421"/>
                  </a:lnTo>
                  <a:lnTo>
                    <a:pt x="97" y="420"/>
                  </a:lnTo>
                  <a:lnTo>
                    <a:pt x="96" y="418"/>
                  </a:lnTo>
                  <a:lnTo>
                    <a:pt x="96" y="416"/>
                  </a:lnTo>
                  <a:lnTo>
                    <a:pt x="97" y="414"/>
                  </a:lnTo>
                  <a:lnTo>
                    <a:pt x="191" y="279"/>
                  </a:lnTo>
                  <a:lnTo>
                    <a:pt x="175" y="292"/>
                  </a:lnTo>
                  <a:lnTo>
                    <a:pt x="161" y="306"/>
                  </a:lnTo>
                  <a:lnTo>
                    <a:pt x="146" y="320"/>
                  </a:lnTo>
                  <a:lnTo>
                    <a:pt x="133" y="335"/>
                  </a:lnTo>
                  <a:lnTo>
                    <a:pt x="120" y="351"/>
                  </a:lnTo>
                  <a:lnTo>
                    <a:pt x="108" y="367"/>
                  </a:lnTo>
                  <a:lnTo>
                    <a:pt x="97" y="384"/>
                  </a:lnTo>
                  <a:lnTo>
                    <a:pt x="87" y="401"/>
                  </a:lnTo>
                  <a:lnTo>
                    <a:pt x="85" y="403"/>
                  </a:lnTo>
                  <a:lnTo>
                    <a:pt x="84" y="404"/>
                  </a:lnTo>
                  <a:lnTo>
                    <a:pt x="82" y="404"/>
                  </a:lnTo>
                  <a:lnTo>
                    <a:pt x="80" y="403"/>
                  </a:lnTo>
                  <a:lnTo>
                    <a:pt x="79" y="402"/>
                  </a:lnTo>
                  <a:lnTo>
                    <a:pt x="78" y="401"/>
                  </a:lnTo>
                  <a:lnTo>
                    <a:pt x="78" y="399"/>
                  </a:lnTo>
                  <a:lnTo>
                    <a:pt x="79" y="397"/>
                  </a:lnTo>
                  <a:lnTo>
                    <a:pt x="85" y="385"/>
                  </a:lnTo>
                  <a:lnTo>
                    <a:pt x="93" y="373"/>
                  </a:lnTo>
                  <a:lnTo>
                    <a:pt x="100" y="362"/>
                  </a:lnTo>
                  <a:lnTo>
                    <a:pt x="108" y="350"/>
                  </a:lnTo>
                  <a:lnTo>
                    <a:pt x="117" y="340"/>
                  </a:lnTo>
                  <a:lnTo>
                    <a:pt x="126" y="329"/>
                  </a:lnTo>
                  <a:lnTo>
                    <a:pt x="135" y="319"/>
                  </a:lnTo>
                  <a:lnTo>
                    <a:pt x="144" y="309"/>
                  </a:lnTo>
                  <a:lnTo>
                    <a:pt x="48" y="376"/>
                  </a:lnTo>
                  <a:lnTo>
                    <a:pt x="46" y="377"/>
                  </a:lnTo>
                  <a:lnTo>
                    <a:pt x="45" y="377"/>
                  </a:lnTo>
                  <a:lnTo>
                    <a:pt x="43" y="376"/>
                  </a:lnTo>
                  <a:lnTo>
                    <a:pt x="42" y="375"/>
                  </a:lnTo>
                  <a:lnTo>
                    <a:pt x="41" y="373"/>
                  </a:lnTo>
                  <a:lnTo>
                    <a:pt x="41" y="371"/>
                  </a:lnTo>
                  <a:lnTo>
                    <a:pt x="41" y="370"/>
                  </a:lnTo>
                  <a:lnTo>
                    <a:pt x="43" y="368"/>
                  </a:lnTo>
                  <a:lnTo>
                    <a:pt x="188" y="266"/>
                  </a:lnTo>
                  <a:lnTo>
                    <a:pt x="164" y="274"/>
                  </a:lnTo>
                  <a:lnTo>
                    <a:pt x="141" y="283"/>
                  </a:lnTo>
                  <a:lnTo>
                    <a:pt x="130" y="288"/>
                  </a:lnTo>
                  <a:lnTo>
                    <a:pt x="118" y="293"/>
                  </a:lnTo>
                  <a:lnTo>
                    <a:pt x="107" y="299"/>
                  </a:lnTo>
                  <a:lnTo>
                    <a:pt x="96" y="305"/>
                  </a:lnTo>
                  <a:lnTo>
                    <a:pt x="86" y="311"/>
                  </a:lnTo>
                  <a:lnTo>
                    <a:pt x="75" y="317"/>
                  </a:lnTo>
                  <a:lnTo>
                    <a:pt x="64" y="324"/>
                  </a:lnTo>
                  <a:lnTo>
                    <a:pt x="54" y="331"/>
                  </a:lnTo>
                  <a:lnTo>
                    <a:pt x="44" y="339"/>
                  </a:lnTo>
                  <a:lnTo>
                    <a:pt x="34" y="347"/>
                  </a:lnTo>
                  <a:lnTo>
                    <a:pt x="24" y="355"/>
                  </a:lnTo>
                  <a:lnTo>
                    <a:pt x="15" y="363"/>
                  </a:lnTo>
                  <a:lnTo>
                    <a:pt x="13" y="365"/>
                  </a:lnTo>
                  <a:lnTo>
                    <a:pt x="11" y="365"/>
                  </a:lnTo>
                  <a:lnTo>
                    <a:pt x="9" y="364"/>
                  </a:lnTo>
                  <a:lnTo>
                    <a:pt x="8" y="363"/>
                  </a:lnTo>
                  <a:lnTo>
                    <a:pt x="7" y="362"/>
                  </a:lnTo>
                  <a:lnTo>
                    <a:pt x="7" y="360"/>
                  </a:lnTo>
                  <a:lnTo>
                    <a:pt x="7" y="358"/>
                  </a:lnTo>
                  <a:lnTo>
                    <a:pt x="8" y="357"/>
                  </a:lnTo>
                  <a:lnTo>
                    <a:pt x="24" y="342"/>
                  </a:lnTo>
                  <a:lnTo>
                    <a:pt x="41" y="329"/>
                  </a:lnTo>
                  <a:lnTo>
                    <a:pt x="58" y="317"/>
                  </a:lnTo>
                  <a:lnTo>
                    <a:pt x="76" y="305"/>
                  </a:lnTo>
                  <a:lnTo>
                    <a:pt x="95" y="295"/>
                  </a:lnTo>
                  <a:lnTo>
                    <a:pt x="113" y="285"/>
                  </a:lnTo>
                  <a:lnTo>
                    <a:pt x="132" y="276"/>
                  </a:lnTo>
                  <a:lnTo>
                    <a:pt x="151" y="269"/>
                  </a:lnTo>
                  <a:lnTo>
                    <a:pt x="76" y="283"/>
                  </a:lnTo>
                  <a:lnTo>
                    <a:pt x="67" y="291"/>
                  </a:lnTo>
                  <a:lnTo>
                    <a:pt x="57" y="300"/>
                  </a:lnTo>
                  <a:lnTo>
                    <a:pt x="56" y="302"/>
                  </a:lnTo>
                  <a:lnTo>
                    <a:pt x="54" y="302"/>
                  </a:lnTo>
                  <a:lnTo>
                    <a:pt x="52" y="302"/>
                  </a:lnTo>
                  <a:lnTo>
                    <a:pt x="51" y="301"/>
                  </a:lnTo>
                  <a:lnTo>
                    <a:pt x="50" y="299"/>
                  </a:lnTo>
                  <a:lnTo>
                    <a:pt x="49" y="298"/>
                  </a:lnTo>
                  <a:lnTo>
                    <a:pt x="49" y="296"/>
                  </a:lnTo>
                  <a:lnTo>
                    <a:pt x="50" y="294"/>
                  </a:lnTo>
                  <a:lnTo>
                    <a:pt x="58" y="286"/>
                  </a:lnTo>
                  <a:lnTo>
                    <a:pt x="5" y="296"/>
                  </a:lnTo>
                  <a:lnTo>
                    <a:pt x="3" y="296"/>
                  </a:lnTo>
                  <a:lnTo>
                    <a:pt x="2" y="295"/>
                  </a:lnTo>
                  <a:lnTo>
                    <a:pt x="1" y="294"/>
                  </a:lnTo>
                  <a:lnTo>
                    <a:pt x="0" y="292"/>
                  </a:lnTo>
                  <a:lnTo>
                    <a:pt x="0" y="290"/>
                  </a:lnTo>
                  <a:lnTo>
                    <a:pt x="0" y="289"/>
                  </a:lnTo>
                  <a:lnTo>
                    <a:pt x="2" y="287"/>
                  </a:lnTo>
                  <a:lnTo>
                    <a:pt x="4" y="287"/>
                  </a:lnTo>
                  <a:lnTo>
                    <a:pt x="73" y="274"/>
                  </a:lnTo>
                  <a:lnTo>
                    <a:pt x="82" y="267"/>
                  </a:lnTo>
                  <a:lnTo>
                    <a:pt x="92" y="261"/>
                  </a:lnTo>
                  <a:lnTo>
                    <a:pt x="102" y="256"/>
                  </a:lnTo>
                  <a:lnTo>
                    <a:pt x="112" y="251"/>
                  </a:lnTo>
                  <a:lnTo>
                    <a:pt x="122" y="248"/>
                  </a:lnTo>
                  <a:lnTo>
                    <a:pt x="133" y="245"/>
                  </a:lnTo>
                  <a:lnTo>
                    <a:pt x="144" y="242"/>
                  </a:lnTo>
                  <a:lnTo>
                    <a:pt x="155" y="241"/>
                  </a:lnTo>
                  <a:lnTo>
                    <a:pt x="165" y="240"/>
                  </a:lnTo>
                  <a:lnTo>
                    <a:pt x="173" y="240"/>
                  </a:lnTo>
                  <a:lnTo>
                    <a:pt x="181" y="240"/>
                  </a:lnTo>
                  <a:lnTo>
                    <a:pt x="189" y="241"/>
                  </a:lnTo>
                  <a:lnTo>
                    <a:pt x="43" y="146"/>
                  </a:lnTo>
                  <a:lnTo>
                    <a:pt x="41" y="145"/>
                  </a:lnTo>
                  <a:lnTo>
                    <a:pt x="40" y="143"/>
                  </a:lnTo>
                  <a:lnTo>
                    <a:pt x="41" y="141"/>
                  </a:lnTo>
                  <a:lnTo>
                    <a:pt x="41" y="140"/>
                  </a:lnTo>
                  <a:lnTo>
                    <a:pt x="42" y="138"/>
                  </a:lnTo>
                  <a:lnTo>
                    <a:pt x="44" y="137"/>
                  </a:lnTo>
                  <a:lnTo>
                    <a:pt x="46" y="137"/>
                  </a:lnTo>
                  <a:lnTo>
                    <a:pt x="48" y="138"/>
                  </a:lnTo>
                  <a:lnTo>
                    <a:pt x="204" y="240"/>
                  </a:lnTo>
                  <a:lnTo>
                    <a:pt x="197" y="228"/>
                  </a:lnTo>
                  <a:lnTo>
                    <a:pt x="190" y="217"/>
                  </a:lnTo>
                  <a:lnTo>
                    <a:pt x="182" y="206"/>
                  </a:lnTo>
                  <a:lnTo>
                    <a:pt x="174" y="195"/>
                  </a:lnTo>
                  <a:lnTo>
                    <a:pt x="166" y="185"/>
                  </a:lnTo>
                  <a:lnTo>
                    <a:pt x="157" y="175"/>
                  </a:lnTo>
                  <a:lnTo>
                    <a:pt x="148" y="165"/>
                  </a:lnTo>
                  <a:lnTo>
                    <a:pt x="139" y="154"/>
                  </a:lnTo>
                  <a:lnTo>
                    <a:pt x="129" y="145"/>
                  </a:lnTo>
                  <a:lnTo>
                    <a:pt x="119" y="136"/>
                  </a:lnTo>
                  <a:lnTo>
                    <a:pt x="109" y="128"/>
                  </a:lnTo>
                  <a:lnTo>
                    <a:pt x="98" y="119"/>
                  </a:lnTo>
                  <a:lnTo>
                    <a:pt x="87" y="111"/>
                  </a:lnTo>
                  <a:lnTo>
                    <a:pt x="76" y="104"/>
                  </a:lnTo>
                  <a:lnTo>
                    <a:pt x="64" y="97"/>
                  </a:lnTo>
                  <a:lnTo>
                    <a:pt x="52" y="90"/>
                  </a:lnTo>
                  <a:lnTo>
                    <a:pt x="50" y="88"/>
                  </a:lnTo>
                  <a:lnTo>
                    <a:pt x="49" y="87"/>
                  </a:lnTo>
                  <a:lnTo>
                    <a:pt x="49" y="85"/>
                  </a:lnTo>
                  <a:lnTo>
                    <a:pt x="50" y="83"/>
                  </a:lnTo>
                  <a:lnTo>
                    <a:pt x="51" y="82"/>
                  </a:lnTo>
                  <a:lnTo>
                    <a:pt x="52" y="81"/>
                  </a:lnTo>
                  <a:lnTo>
                    <a:pt x="54" y="81"/>
                  </a:lnTo>
                  <a:lnTo>
                    <a:pt x="56" y="81"/>
                  </a:lnTo>
                  <a:lnTo>
                    <a:pt x="80" y="95"/>
                  </a:lnTo>
                  <a:lnTo>
                    <a:pt x="92" y="103"/>
                  </a:lnTo>
                  <a:lnTo>
                    <a:pt x="102" y="111"/>
                  </a:lnTo>
                  <a:lnTo>
                    <a:pt x="113" y="119"/>
                  </a:lnTo>
                  <a:lnTo>
                    <a:pt x="123" y="127"/>
                  </a:lnTo>
                  <a:lnTo>
                    <a:pt x="133" y="136"/>
                  </a:lnTo>
                  <a:lnTo>
                    <a:pt x="143" y="145"/>
                  </a:lnTo>
                  <a:lnTo>
                    <a:pt x="152" y="154"/>
                  </a:lnTo>
                  <a:lnTo>
                    <a:pt x="161" y="165"/>
                  </a:lnTo>
                  <a:lnTo>
                    <a:pt x="178" y="185"/>
                  </a:lnTo>
                  <a:lnTo>
                    <a:pt x="194" y="206"/>
                  </a:lnTo>
                  <a:lnTo>
                    <a:pt x="208" y="228"/>
                  </a:lnTo>
                  <a:lnTo>
                    <a:pt x="206" y="215"/>
                  </a:lnTo>
                  <a:lnTo>
                    <a:pt x="204" y="201"/>
                  </a:lnTo>
                  <a:lnTo>
                    <a:pt x="201" y="188"/>
                  </a:lnTo>
                  <a:lnTo>
                    <a:pt x="198" y="175"/>
                  </a:lnTo>
                  <a:lnTo>
                    <a:pt x="195" y="160"/>
                  </a:lnTo>
                  <a:lnTo>
                    <a:pt x="191" y="147"/>
                  </a:lnTo>
                  <a:lnTo>
                    <a:pt x="187" y="135"/>
                  </a:lnTo>
                  <a:lnTo>
                    <a:pt x="183" y="122"/>
                  </a:lnTo>
                  <a:lnTo>
                    <a:pt x="173" y="97"/>
                  </a:lnTo>
                  <a:lnTo>
                    <a:pt x="168" y="84"/>
                  </a:lnTo>
                  <a:lnTo>
                    <a:pt x="162" y="72"/>
                  </a:lnTo>
                  <a:lnTo>
                    <a:pt x="155" y="60"/>
                  </a:lnTo>
                  <a:lnTo>
                    <a:pt x="149" y="48"/>
                  </a:lnTo>
                  <a:lnTo>
                    <a:pt x="141" y="36"/>
                  </a:lnTo>
                  <a:lnTo>
                    <a:pt x="134" y="24"/>
                  </a:lnTo>
                  <a:lnTo>
                    <a:pt x="133" y="22"/>
                  </a:lnTo>
                  <a:lnTo>
                    <a:pt x="133" y="20"/>
                  </a:lnTo>
                  <a:lnTo>
                    <a:pt x="134" y="19"/>
                  </a:lnTo>
                  <a:lnTo>
                    <a:pt x="135" y="17"/>
                  </a:lnTo>
                  <a:lnTo>
                    <a:pt x="137" y="17"/>
                  </a:lnTo>
                  <a:lnTo>
                    <a:pt x="138" y="16"/>
                  </a:lnTo>
                  <a:lnTo>
                    <a:pt x="140" y="17"/>
                  </a:lnTo>
                  <a:lnTo>
                    <a:pt x="142" y="19"/>
                  </a:lnTo>
                  <a:lnTo>
                    <a:pt x="155" y="39"/>
                  </a:lnTo>
                  <a:lnTo>
                    <a:pt x="166" y="60"/>
                  </a:lnTo>
                  <a:lnTo>
                    <a:pt x="172" y="70"/>
                  </a:lnTo>
                  <a:lnTo>
                    <a:pt x="177" y="81"/>
                  </a:lnTo>
                  <a:lnTo>
                    <a:pt x="186" y="103"/>
                  </a:lnTo>
                  <a:lnTo>
                    <a:pt x="190" y="113"/>
                  </a:lnTo>
                  <a:lnTo>
                    <a:pt x="194" y="124"/>
                  </a:lnTo>
                  <a:lnTo>
                    <a:pt x="201" y="147"/>
                  </a:lnTo>
                  <a:lnTo>
                    <a:pt x="207" y="170"/>
                  </a:lnTo>
                  <a:lnTo>
                    <a:pt x="212" y="193"/>
                  </a:lnTo>
                  <a:lnTo>
                    <a:pt x="209" y="170"/>
                  </a:lnTo>
                  <a:lnTo>
                    <a:pt x="208" y="157"/>
                  </a:lnTo>
                  <a:lnTo>
                    <a:pt x="206" y="146"/>
                  </a:lnTo>
                  <a:lnTo>
                    <a:pt x="203" y="134"/>
                  </a:lnTo>
                  <a:lnTo>
                    <a:pt x="201" y="123"/>
                  </a:lnTo>
                  <a:lnTo>
                    <a:pt x="195" y="100"/>
                  </a:lnTo>
                  <a:lnTo>
                    <a:pt x="187" y="78"/>
                  </a:lnTo>
                  <a:lnTo>
                    <a:pt x="179" y="56"/>
                  </a:lnTo>
                  <a:lnTo>
                    <a:pt x="174" y="45"/>
                  </a:lnTo>
                  <a:lnTo>
                    <a:pt x="169" y="35"/>
                  </a:lnTo>
                  <a:lnTo>
                    <a:pt x="164" y="24"/>
                  </a:lnTo>
                  <a:lnTo>
                    <a:pt x="158" y="14"/>
                  </a:lnTo>
                  <a:lnTo>
                    <a:pt x="157" y="12"/>
                  </a:lnTo>
                  <a:lnTo>
                    <a:pt x="158" y="10"/>
                  </a:lnTo>
                  <a:lnTo>
                    <a:pt x="159" y="9"/>
                  </a:lnTo>
                  <a:lnTo>
                    <a:pt x="160" y="8"/>
                  </a:lnTo>
                  <a:lnTo>
                    <a:pt x="162" y="7"/>
                  </a:lnTo>
                  <a:lnTo>
                    <a:pt x="163" y="7"/>
                  </a:lnTo>
                  <a:lnTo>
                    <a:pt x="165" y="8"/>
                  </a:lnTo>
                  <a:lnTo>
                    <a:pt x="166" y="9"/>
                  </a:lnTo>
                  <a:lnTo>
                    <a:pt x="177" y="30"/>
                  </a:lnTo>
                  <a:lnTo>
                    <a:pt x="182" y="41"/>
                  </a:lnTo>
                  <a:lnTo>
                    <a:pt x="187" y="51"/>
                  </a:lnTo>
                  <a:lnTo>
                    <a:pt x="191" y="62"/>
                  </a:lnTo>
                  <a:lnTo>
                    <a:pt x="196" y="73"/>
                  </a:lnTo>
                  <a:lnTo>
                    <a:pt x="203" y="95"/>
                  </a:lnTo>
                  <a:lnTo>
                    <a:pt x="209" y="117"/>
                  </a:lnTo>
                  <a:lnTo>
                    <a:pt x="212" y="129"/>
                  </a:lnTo>
                  <a:lnTo>
                    <a:pt x="214" y="140"/>
                  </a:lnTo>
                  <a:lnTo>
                    <a:pt x="218" y="164"/>
                  </a:lnTo>
                  <a:lnTo>
                    <a:pt x="220" y="176"/>
                  </a:lnTo>
                  <a:lnTo>
                    <a:pt x="221" y="187"/>
                  </a:lnTo>
                  <a:lnTo>
                    <a:pt x="223" y="161"/>
                  </a:lnTo>
                  <a:lnTo>
                    <a:pt x="223" y="149"/>
                  </a:lnTo>
                  <a:lnTo>
                    <a:pt x="223" y="136"/>
                  </a:lnTo>
                  <a:lnTo>
                    <a:pt x="223" y="124"/>
                  </a:lnTo>
                  <a:lnTo>
                    <a:pt x="222" y="111"/>
                  </a:lnTo>
                  <a:lnTo>
                    <a:pt x="219" y="86"/>
                  </a:lnTo>
                  <a:lnTo>
                    <a:pt x="218" y="75"/>
                  </a:lnTo>
                  <a:lnTo>
                    <a:pt x="218" y="63"/>
                  </a:lnTo>
                  <a:lnTo>
                    <a:pt x="219" y="53"/>
                  </a:lnTo>
                  <a:lnTo>
                    <a:pt x="221" y="42"/>
                  </a:lnTo>
                  <a:lnTo>
                    <a:pt x="224" y="32"/>
                  </a:lnTo>
                  <a:lnTo>
                    <a:pt x="228" y="22"/>
                  </a:lnTo>
                  <a:lnTo>
                    <a:pt x="233" y="12"/>
                  </a:lnTo>
                  <a:lnTo>
                    <a:pt x="239" y="2"/>
                  </a:lnTo>
                  <a:lnTo>
                    <a:pt x="241" y="1"/>
                  </a:lnTo>
                  <a:lnTo>
                    <a:pt x="242" y="0"/>
                  </a:lnTo>
                  <a:lnTo>
                    <a:pt x="244" y="0"/>
                  </a:lnTo>
                  <a:lnTo>
                    <a:pt x="246" y="1"/>
                  </a:lnTo>
                  <a:lnTo>
                    <a:pt x="247" y="2"/>
                  </a:lnTo>
                  <a:lnTo>
                    <a:pt x="248" y="4"/>
                  </a:lnTo>
                  <a:lnTo>
                    <a:pt x="248" y="6"/>
                  </a:lnTo>
                  <a:lnTo>
                    <a:pt x="247" y="7"/>
                  </a:lnTo>
                  <a:lnTo>
                    <a:pt x="242" y="17"/>
                  </a:lnTo>
                  <a:lnTo>
                    <a:pt x="239" y="21"/>
                  </a:lnTo>
                  <a:lnTo>
                    <a:pt x="237" y="26"/>
                  </a:lnTo>
                  <a:lnTo>
                    <a:pt x="233" y="35"/>
                  </a:lnTo>
                  <a:lnTo>
                    <a:pt x="230" y="44"/>
                  </a:lnTo>
                  <a:lnTo>
                    <a:pt x="229" y="54"/>
                  </a:lnTo>
                  <a:lnTo>
                    <a:pt x="228" y="64"/>
                  </a:lnTo>
                  <a:lnTo>
                    <a:pt x="228" y="74"/>
                  </a:lnTo>
                  <a:lnTo>
                    <a:pt x="229" y="84"/>
                  </a:lnTo>
                  <a:lnTo>
                    <a:pt x="230" y="96"/>
                  </a:lnTo>
                  <a:lnTo>
                    <a:pt x="232" y="107"/>
                  </a:lnTo>
                  <a:lnTo>
                    <a:pt x="232" y="118"/>
                  </a:lnTo>
                  <a:lnTo>
                    <a:pt x="233" y="130"/>
                  </a:lnTo>
                  <a:lnTo>
                    <a:pt x="233" y="152"/>
                  </a:lnTo>
                  <a:lnTo>
                    <a:pt x="232" y="164"/>
                  </a:lnTo>
                  <a:lnTo>
                    <a:pt x="232" y="175"/>
                  </a:lnTo>
                  <a:lnTo>
                    <a:pt x="275" y="18"/>
                  </a:lnTo>
                  <a:lnTo>
                    <a:pt x="276" y="16"/>
                  </a:lnTo>
                  <a:lnTo>
                    <a:pt x="277" y="15"/>
                  </a:lnTo>
                  <a:lnTo>
                    <a:pt x="279" y="14"/>
                  </a:lnTo>
                  <a:lnTo>
                    <a:pt x="281" y="14"/>
                  </a:lnTo>
                  <a:lnTo>
                    <a:pt x="283" y="15"/>
                  </a:lnTo>
                  <a:lnTo>
                    <a:pt x="284" y="16"/>
                  </a:lnTo>
                  <a:lnTo>
                    <a:pt x="284" y="18"/>
                  </a:lnTo>
                  <a:lnTo>
                    <a:pt x="284" y="20"/>
                  </a:lnTo>
                  <a:lnTo>
                    <a:pt x="250" y="144"/>
                  </a:lnTo>
                  <a:lnTo>
                    <a:pt x="288" y="41"/>
                  </a:lnTo>
                  <a:lnTo>
                    <a:pt x="289" y="39"/>
                  </a:lnTo>
                  <a:lnTo>
                    <a:pt x="291" y="38"/>
                  </a:lnTo>
                  <a:lnTo>
                    <a:pt x="292" y="38"/>
                  </a:lnTo>
                  <a:lnTo>
                    <a:pt x="294" y="38"/>
                  </a:lnTo>
                  <a:lnTo>
                    <a:pt x="296" y="39"/>
                  </a:lnTo>
                  <a:lnTo>
                    <a:pt x="297" y="40"/>
                  </a:lnTo>
                  <a:lnTo>
                    <a:pt x="297" y="42"/>
                  </a:lnTo>
                  <a:lnTo>
                    <a:pt x="297" y="44"/>
                  </a:lnTo>
                  <a:lnTo>
                    <a:pt x="231" y="224"/>
                  </a:lnTo>
                  <a:lnTo>
                    <a:pt x="325" y="96"/>
                  </a:lnTo>
                  <a:lnTo>
                    <a:pt x="326" y="95"/>
                  </a:lnTo>
                  <a:lnTo>
                    <a:pt x="328" y="94"/>
                  </a:lnTo>
                  <a:lnTo>
                    <a:pt x="330" y="94"/>
                  </a:lnTo>
                  <a:lnTo>
                    <a:pt x="331" y="95"/>
                  </a:lnTo>
                  <a:lnTo>
                    <a:pt x="333" y="97"/>
                  </a:lnTo>
                  <a:lnTo>
                    <a:pt x="333" y="98"/>
                  </a:lnTo>
                  <a:lnTo>
                    <a:pt x="333" y="100"/>
                  </a:lnTo>
                  <a:lnTo>
                    <a:pt x="332" y="102"/>
                  </a:lnTo>
                  <a:lnTo>
                    <a:pt x="242" y="225"/>
                  </a:lnTo>
                  <a:lnTo>
                    <a:pt x="317" y="168"/>
                  </a:lnTo>
                  <a:lnTo>
                    <a:pt x="319" y="167"/>
                  </a:lnTo>
                  <a:lnTo>
                    <a:pt x="321" y="167"/>
                  </a:lnTo>
                  <a:lnTo>
                    <a:pt x="322" y="168"/>
                  </a:lnTo>
                  <a:lnTo>
                    <a:pt x="323" y="168"/>
                  </a:lnTo>
                  <a:lnTo>
                    <a:pt x="324" y="169"/>
                  </a:lnTo>
                  <a:lnTo>
                    <a:pt x="325" y="171"/>
                  </a:lnTo>
                  <a:lnTo>
                    <a:pt x="325" y="173"/>
                  </a:lnTo>
                  <a:lnTo>
                    <a:pt x="325" y="174"/>
                  </a:lnTo>
                  <a:lnTo>
                    <a:pt x="323" y="176"/>
                  </a:lnTo>
                  <a:lnTo>
                    <a:pt x="270" y="216"/>
                  </a:lnTo>
                  <a:lnTo>
                    <a:pt x="330" y="183"/>
                  </a:lnTo>
                  <a:lnTo>
                    <a:pt x="332" y="182"/>
                  </a:lnTo>
                  <a:lnTo>
                    <a:pt x="334" y="182"/>
                  </a:lnTo>
                  <a:lnTo>
                    <a:pt x="335" y="183"/>
                  </a:lnTo>
                  <a:lnTo>
                    <a:pt x="336" y="185"/>
                  </a:lnTo>
                  <a:lnTo>
                    <a:pt x="337" y="186"/>
                  </a:lnTo>
                  <a:lnTo>
                    <a:pt x="337" y="188"/>
                  </a:lnTo>
                  <a:lnTo>
                    <a:pt x="336" y="190"/>
                  </a:lnTo>
                  <a:lnTo>
                    <a:pt x="334" y="191"/>
                  </a:lnTo>
                  <a:lnTo>
                    <a:pt x="223"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6" name="Freeform 1954"/>
            <p:cNvSpPr>
              <a:spLocks noEditPoints="1"/>
            </p:cNvSpPr>
            <p:nvPr userDrawn="1"/>
          </p:nvSpPr>
          <p:spPr bwMode="auto">
            <a:xfrm>
              <a:off x="5194300" y="3030538"/>
              <a:ext cx="706438" cy="1198563"/>
            </a:xfrm>
            <a:custGeom>
              <a:avLst/>
              <a:gdLst>
                <a:gd name="T0" fmla="*/ 170 w 445"/>
                <a:gd name="T1" fmla="*/ 131 h 755"/>
                <a:gd name="T2" fmla="*/ 143 w 445"/>
                <a:gd name="T3" fmla="*/ 674 h 755"/>
                <a:gd name="T4" fmla="*/ 131 w 445"/>
                <a:gd name="T5" fmla="*/ 673 h 755"/>
                <a:gd name="T6" fmla="*/ 152 w 445"/>
                <a:gd name="T7" fmla="*/ 622 h 755"/>
                <a:gd name="T8" fmla="*/ 162 w 445"/>
                <a:gd name="T9" fmla="*/ 675 h 755"/>
                <a:gd name="T10" fmla="*/ 200 w 445"/>
                <a:gd name="T11" fmla="*/ 216 h 755"/>
                <a:gd name="T12" fmla="*/ 163 w 445"/>
                <a:gd name="T13" fmla="*/ 358 h 755"/>
                <a:gd name="T14" fmla="*/ 152 w 445"/>
                <a:gd name="T15" fmla="*/ 561 h 755"/>
                <a:gd name="T16" fmla="*/ 171 w 445"/>
                <a:gd name="T17" fmla="*/ 676 h 755"/>
                <a:gd name="T18" fmla="*/ 153 w 445"/>
                <a:gd name="T19" fmla="*/ 755 h 755"/>
                <a:gd name="T20" fmla="*/ 130 w 445"/>
                <a:gd name="T21" fmla="*/ 718 h 755"/>
                <a:gd name="T22" fmla="*/ 126 w 445"/>
                <a:gd name="T23" fmla="*/ 638 h 755"/>
                <a:gd name="T24" fmla="*/ 143 w 445"/>
                <a:gd name="T25" fmla="*/ 484 h 755"/>
                <a:gd name="T26" fmla="*/ 158 w 445"/>
                <a:gd name="T27" fmla="*/ 332 h 755"/>
                <a:gd name="T28" fmla="*/ 4 w 445"/>
                <a:gd name="T29" fmla="*/ 155 h 755"/>
                <a:gd name="T30" fmla="*/ 3 w 445"/>
                <a:gd name="T31" fmla="*/ 146 h 755"/>
                <a:gd name="T32" fmla="*/ 102 w 445"/>
                <a:gd name="T33" fmla="*/ 159 h 755"/>
                <a:gd name="T34" fmla="*/ 14 w 445"/>
                <a:gd name="T35" fmla="*/ 131 h 755"/>
                <a:gd name="T36" fmla="*/ 17 w 445"/>
                <a:gd name="T37" fmla="*/ 123 h 755"/>
                <a:gd name="T38" fmla="*/ 122 w 445"/>
                <a:gd name="T39" fmla="*/ 158 h 755"/>
                <a:gd name="T40" fmla="*/ 30 w 445"/>
                <a:gd name="T41" fmla="*/ 80 h 755"/>
                <a:gd name="T42" fmla="*/ 128 w 445"/>
                <a:gd name="T43" fmla="*/ 129 h 755"/>
                <a:gd name="T44" fmla="*/ 41 w 445"/>
                <a:gd name="T45" fmla="*/ 59 h 755"/>
                <a:gd name="T46" fmla="*/ 29 w 445"/>
                <a:gd name="T47" fmla="*/ 45 h 755"/>
                <a:gd name="T48" fmla="*/ 104 w 445"/>
                <a:gd name="T49" fmla="*/ 92 h 755"/>
                <a:gd name="T50" fmla="*/ 115 w 445"/>
                <a:gd name="T51" fmla="*/ 79 h 755"/>
                <a:gd name="T52" fmla="*/ 103 w 445"/>
                <a:gd name="T53" fmla="*/ 65 h 755"/>
                <a:gd name="T54" fmla="*/ 92 w 445"/>
                <a:gd name="T55" fmla="*/ 18 h 755"/>
                <a:gd name="T56" fmla="*/ 142 w 445"/>
                <a:gd name="T57" fmla="*/ 86 h 755"/>
                <a:gd name="T58" fmla="*/ 185 w 445"/>
                <a:gd name="T59" fmla="*/ 137 h 755"/>
                <a:gd name="T60" fmla="*/ 245 w 445"/>
                <a:gd name="T61" fmla="*/ 10 h 755"/>
                <a:gd name="T62" fmla="*/ 253 w 445"/>
                <a:gd name="T63" fmla="*/ 15 h 755"/>
                <a:gd name="T64" fmla="*/ 266 w 445"/>
                <a:gd name="T65" fmla="*/ 105 h 755"/>
                <a:gd name="T66" fmla="*/ 298 w 445"/>
                <a:gd name="T67" fmla="*/ 17 h 755"/>
                <a:gd name="T68" fmla="*/ 309 w 445"/>
                <a:gd name="T69" fmla="*/ 1 h 755"/>
                <a:gd name="T70" fmla="*/ 296 w 445"/>
                <a:gd name="T71" fmla="*/ 57 h 755"/>
                <a:gd name="T72" fmla="*/ 250 w 445"/>
                <a:gd name="T73" fmla="*/ 152 h 755"/>
                <a:gd name="T74" fmla="*/ 277 w 445"/>
                <a:gd name="T75" fmla="*/ 161 h 755"/>
                <a:gd name="T76" fmla="*/ 361 w 445"/>
                <a:gd name="T77" fmla="*/ 92 h 755"/>
                <a:gd name="T78" fmla="*/ 395 w 445"/>
                <a:gd name="T79" fmla="*/ 59 h 755"/>
                <a:gd name="T80" fmla="*/ 364 w 445"/>
                <a:gd name="T81" fmla="*/ 102 h 755"/>
                <a:gd name="T82" fmla="*/ 273 w 445"/>
                <a:gd name="T83" fmla="*/ 175 h 755"/>
                <a:gd name="T84" fmla="*/ 334 w 445"/>
                <a:gd name="T85" fmla="*/ 142 h 755"/>
                <a:gd name="T86" fmla="*/ 405 w 445"/>
                <a:gd name="T87" fmla="*/ 80 h 755"/>
                <a:gd name="T88" fmla="*/ 413 w 445"/>
                <a:gd name="T89" fmla="*/ 85 h 755"/>
                <a:gd name="T90" fmla="*/ 342 w 445"/>
                <a:gd name="T91" fmla="*/ 148 h 755"/>
                <a:gd name="T92" fmla="*/ 281 w 445"/>
                <a:gd name="T93" fmla="*/ 189 h 755"/>
                <a:gd name="T94" fmla="*/ 364 w 445"/>
                <a:gd name="T95" fmla="*/ 157 h 755"/>
                <a:gd name="T96" fmla="*/ 428 w 445"/>
                <a:gd name="T97" fmla="*/ 151 h 755"/>
                <a:gd name="T98" fmla="*/ 443 w 445"/>
                <a:gd name="T99" fmla="*/ 162 h 755"/>
                <a:gd name="T100" fmla="*/ 394 w 445"/>
                <a:gd name="T101" fmla="*/ 159 h 755"/>
                <a:gd name="T102" fmla="*/ 328 w 445"/>
                <a:gd name="T103" fmla="*/ 184 h 755"/>
                <a:gd name="T104" fmla="*/ 443 w 445"/>
                <a:gd name="T105" fmla="*/ 197 h 755"/>
                <a:gd name="T106" fmla="*/ 422 w 445"/>
                <a:gd name="T107" fmla="*/ 213 h 755"/>
                <a:gd name="T108" fmla="*/ 419 w 445"/>
                <a:gd name="T109" fmla="*/ 222 h 755"/>
                <a:gd name="T110" fmla="*/ 380 w 445"/>
                <a:gd name="T111" fmla="*/ 272 h 755"/>
                <a:gd name="T112" fmla="*/ 311 w 445"/>
                <a:gd name="T113" fmla="*/ 283 h 755"/>
                <a:gd name="T114" fmla="*/ 249 w 445"/>
                <a:gd name="T115" fmla="*/ 249 h 755"/>
                <a:gd name="T116" fmla="*/ 296 w 445"/>
                <a:gd name="T117" fmla="*/ 30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5" h="755">
                  <a:moveTo>
                    <a:pt x="191" y="185"/>
                  </a:moveTo>
                  <a:lnTo>
                    <a:pt x="189" y="175"/>
                  </a:lnTo>
                  <a:lnTo>
                    <a:pt x="186" y="166"/>
                  </a:lnTo>
                  <a:lnTo>
                    <a:pt x="183" y="157"/>
                  </a:lnTo>
                  <a:lnTo>
                    <a:pt x="179" y="148"/>
                  </a:lnTo>
                  <a:lnTo>
                    <a:pt x="175" y="139"/>
                  </a:lnTo>
                  <a:lnTo>
                    <a:pt x="170" y="131"/>
                  </a:lnTo>
                  <a:lnTo>
                    <a:pt x="164" y="122"/>
                  </a:lnTo>
                  <a:lnTo>
                    <a:pt x="157" y="114"/>
                  </a:lnTo>
                  <a:lnTo>
                    <a:pt x="151" y="107"/>
                  </a:lnTo>
                  <a:lnTo>
                    <a:pt x="144" y="100"/>
                  </a:lnTo>
                  <a:lnTo>
                    <a:pt x="191" y="185"/>
                  </a:lnTo>
                  <a:close/>
                  <a:moveTo>
                    <a:pt x="145" y="732"/>
                  </a:moveTo>
                  <a:lnTo>
                    <a:pt x="143" y="674"/>
                  </a:lnTo>
                  <a:lnTo>
                    <a:pt x="142" y="620"/>
                  </a:lnTo>
                  <a:lnTo>
                    <a:pt x="139" y="627"/>
                  </a:lnTo>
                  <a:lnTo>
                    <a:pt x="136" y="635"/>
                  </a:lnTo>
                  <a:lnTo>
                    <a:pt x="134" y="644"/>
                  </a:lnTo>
                  <a:lnTo>
                    <a:pt x="133" y="653"/>
                  </a:lnTo>
                  <a:lnTo>
                    <a:pt x="132" y="663"/>
                  </a:lnTo>
                  <a:lnTo>
                    <a:pt x="131" y="673"/>
                  </a:lnTo>
                  <a:lnTo>
                    <a:pt x="132" y="683"/>
                  </a:lnTo>
                  <a:lnTo>
                    <a:pt x="133" y="693"/>
                  </a:lnTo>
                  <a:lnTo>
                    <a:pt x="135" y="703"/>
                  </a:lnTo>
                  <a:lnTo>
                    <a:pt x="138" y="713"/>
                  </a:lnTo>
                  <a:lnTo>
                    <a:pt x="141" y="723"/>
                  </a:lnTo>
                  <a:lnTo>
                    <a:pt x="145" y="732"/>
                  </a:lnTo>
                  <a:close/>
                  <a:moveTo>
                    <a:pt x="152" y="622"/>
                  </a:moveTo>
                  <a:lnTo>
                    <a:pt x="152" y="648"/>
                  </a:lnTo>
                  <a:lnTo>
                    <a:pt x="153" y="674"/>
                  </a:lnTo>
                  <a:lnTo>
                    <a:pt x="154" y="729"/>
                  </a:lnTo>
                  <a:lnTo>
                    <a:pt x="158" y="716"/>
                  </a:lnTo>
                  <a:lnTo>
                    <a:pt x="160" y="703"/>
                  </a:lnTo>
                  <a:lnTo>
                    <a:pt x="161" y="689"/>
                  </a:lnTo>
                  <a:lnTo>
                    <a:pt x="162" y="675"/>
                  </a:lnTo>
                  <a:lnTo>
                    <a:pt x="161" y="661"/>
                  </a:lnTo>
                  <a:lnTo>
                    <a:pt x="160" y="655"/>
                  </a:lnTo>
                  <a:lnTo>
                    <a:pt x="159" y="648"/>
                  </a:lnTo>
                  <a:lnTo>
                    <a:pt x="158" y="641"/>
                  </a:lnTo>
                  <a:lnTo>
                    <a:pt x="156" y="635"/>
                  </a:lnTo>
                  <a:lnTo>
                    <a:pt x="152" y="622"/>
                  </a:lnTo>
                  <a:close/>
                  <a:moveTo>
                    <a:pt x="200" y="216"/>
                  </a:moveTo>
                  <a:lnTo>
                    <a:pt x="191" y="239"/>
                  </a:lnTo>
                  <a:lnTo>
                    <a:pt x="184" y="263"/>
                  </a:lnTo>
                  <a:lnTo>
                    <a:pt x="178" y="287"/>
                  </a:lnTo>
                  <a:lnTo>
                    <a:pt x="175" y="298"/>
                  </a:lnTo>
                  <a:lnTo>
                    <a:pt x="172" y="310"/>
                  </a:lnTo>
                  <a:lnTo>
                    <a:pt x="167" y="334"/>
                  </a:lnTo>
                  <a:lnTo>
                    <a:pt x="163" y="358"/>
                  </a:lnTo>
                  <a:lnTo>
                    <a:pt x="159" y="383"/>
                  </a:lnTo>
                  <a:lnTo>
                    <a:pt x="156" y="409"/>
                  </a:lnTo>
                  <a:lnTo>
                    <a:pt x="154" y="430"/>
                  </a:lnTo>
                  <a:lnTo>
                    <a:pt x="153" y="449"/>
                  </a:lnTo>
                  <a:lnTo>
                    <a:pt x="152" y="467"/>
                  </a:lnTo>
                  <a:lnTo>
                    <a:pt x="152" y="485"/>
                  </a:lnTo>
                  <a:lnTo>
                    <a:pt x="152" y="561"/>
                  </a:lnTo>
                  <a:lnTo>
                    <a:pt x="152" y="599"/>
                  </a:lnTo>
                  <a:lnTo>
                    <a:pt x="156" y="608"/>
                  </a:lnTo>
                  <a:lnTo>
                    <a:pt x="160" y="618"/>
                  </a:lnTo>
                  <a:lnTo>
                    <a:pt x="163" y="627"/>
                  </a:lnTo>
                  <a:lnTo>
                    <a:pt x="166" y="637"/>
                  </a:lnTo>
                  <a:lnTo>
                    <a:pt x="170" y="656"/>
                  </a:lnTo>
                  <a:lnTo>
                    <a:pt x="171" y="676"/>
                  </a:lnTo>
                  <a:lnTo>
                    <a:pt x="170" y="696"/>
                  </a:lnTo>
                  <a:lnTo>
                    <a:pt x="167" y="716"/>
                  </a:lnTo>
                  <a:lnTo>
                    <a:pt x="165" y="725"/>
                  </a:lnTo>
                  <a:lnTo>
                    <a:pt x="162" y="735"/>
                  </a:lnTo>
                  <a:lnTo>
                    <a:pt x="159" y="745"/>
                  </a:lnTo>
                  <a:lnTo>
                    <a:pt x="155" y="754"/>
                  </a:lnTo>
                  <a:lnTo>
                    <a:pt x="153" y="755"/>
                  </a:lnTo>
                  <a:lnTo>
                    <a:pt x="151" y="755"/>
                  </a:lnTo>
                  <a:lnTo>
                    <a:pt x="149" y="755"/>
                  </a:lnTo>
                  <a:lnTo>
                    <a:pt x="147" y="754"/>
                  </a:lnTo>
                  <a:lnTo>
                    <a:pt x="140" y="743"/>
                  </a:lnTo>
                  <a:lnTo>
                    <a:pt x="135" y="731"/>
                  </a:lnTo>
                  <a:lnTo>
                    <a:pt x="132" y="724"/>
                  </a:lnTo>
                  <a:lnTo>
                    <a:pt x="130" y="718"/>
                  </a:lnTo>
                  <a:lnTo>
                    <a:pt x="126" y="705"/>
                  </a:lnTo>
                  <a:lnTo>
                    <a:pt x="123" y="692"/>
                  </a:lnTo>
                  <a:lnTo>
                    <a:pt x="122" y="678"/>
                  </a:lnTo>
                  <a:lnTo>
                    <a:pt x="122" y="665"/>
                  </a:lnTo>
                  <a:lnTo>
                    <a:pt x="122" y="658"/>
                  </a:lnTo>
                  <a:lnTo>
                    <a:pt x="123" y="652"/>
                  </a:lnTo>
                  <a:lnTo>
                    <a:pt x="126" y="638"/>
                  </a:lnTo>
                  <a:lnTo>
                    <a:pt x="128" y="631"/>
                  </a:lnTo>
                  <a:lnTo>
                    <a:pt x="130" y="625"/>
                  </a:lnTo>
                  <a:lnTo>
                    <a:pt x="135" y="613"/>
                  </a:lnTo>
                  <a:lnTo>
                    <a:pt x="138" y="607"/>
                  </a:lnTo>
                  <a:lnTo>
                    <a:pt x="142" y="601"/>
                  </a:lnTo>
                  <a:lnTo>
                    <a:pt x="143" y="561"/>
                  </a:lnTo>
                  <a:lnTo>
                    <a:pt x="143" y="484"/>
                  </a:lnTo>
                  <a:lnTo>
                    <a:pt x="143" y="467"/>
                  </a:lnTo>
                  <a:lnTo>
                    <a:pt x="144" y="448"/>
                  </a:lnTo>
                  <a:lnTo>
                    <a:pt x="145" y="429"/>
                  </a:lnTo>
                  <a:lnTo>
                    <a:pt x="147" y="408"/>
                  </a:lnTo>
                  <a:lnTo>
                    <a:pt x="150" y="382"/>
                  </a:lnTo>
                  <a:lnTo>
                    <a:pt x="154" y="357"/>
                  </a:lnTo>
                  <a:lnTo>
                    <a:pt x="158" y="332"/>
                  </a:lnTo>
                  <a:lnTo>
                    <a:pt x="163" y="308"/>
                  </a:lnTo>
                  <a:lnTo>
                    <a:pt x="168" y="284"/>
                  </a:lnTo>
                  <a:lnTo>
                    <a:pt x="175" y="261"/>
                  </a:lnTo>
                  <a:lnTo>
                    <a:pt x="182" y="237"/>
                  </a:lnTo>
                  <a:lnTo>
                    <a:pt x="191" y="212"/>
                  </a:lnTo>
                  <a:lnTo>
                    <a:pt x="189" y="211"/>
                  </a:lnTo>
                  <a:lnTo>
                    <a:pt x="4" y="155"/>
                  </a:lnTo>
                  <a:lnTo>
                    <a:pt x="3" y="154"/>
                  </a:lnTo>
                  <a:lnTo>
                    <a:pt x="2" y="154"/>
                  </a:lnTo>
                  <a:lnTo>
                    <a:pt x="1" y="152"/>
                  </a:lnTo>
                  <a:lnTo>
                    <a:pt x="0" y="150"/>
                  </a:lnTo>
                  <a:lnTo>
                    <a:pt x="1" y="149"/>
                  </a:lnTo>
                  <a:lnTo>
                    <a:pt x="1" y="147"/>
                  </a:lnTo>
                  <a:lnTo>
                    <a:pt x="3" y="146"/>
                  </a:lnTo>
                  <a:lnTo>
                    <a:pt x="4" y="145"/>
                  </a:lnTo>
                  <a:lnTo>
                    <a:pt x="6" y="145"/>
                  </a:lnTo>
                  <a:lnTo>
                    <a:pt x="164" y="193"/>
                  </a:lnTo>
                  <a:lnTo>
                    <a:pt x="147" y="182"/>
                  </a:lnTo>
                  <a:lnTo>
                    <a:pt x="129" y="173"/>
                  </a:lnTo>
                  <a:lnTo>
                    <a:pt x="111" y="163"/>
                  </a:lnTo>
                  <a:lnTo>
                    <a:pt x="102" y="159"/>
                  </a:lnTo>
                  <a:lnTo>
                    <a:pt x="93" y="155"/>
                  </a:lnTo>
                  <a:lnTo>
                    <a:pt x="74" y="148"/>
                  </a:lnTo>
                  <a:lnTo>
                    <a:pt x="65" y="145"/>
                  </a:lnTo>
                  <a:lnTo>
                    <a:pt x="55" y="142"/>
                  </a:lnTo>
                  <a:lnTo>
                    <a:pt x="35" y="136"/>
                  </a:lnTo>
                  <a:lnTo>
                    <a:pt x="16" y="132"/>
                  </a:lnTo>
                  <a:lnTo>
                    <a:pt x="14" y="131"/>
                  </a:lnTo>
                  <a:lnTo>
                    <a:pt x="12" y="130"/>
                  </a:lnTo>
                  <a:lnTo>
                    <a:pt x="12" y="128"/>
                  </a:lnTo>
                  <a:lnTo>
                    <a:pt x="12" y="126"/>
                  </a:lnTo>
                  <a:lnTo>
                    <a:pt x="12" y="125"/>
                  </a:lnTo>
                  <a:lnTo>
                    <a:pt x="14" y="123"/>
                  </a:lnTo>
                  <a:lnTo>
                    <a:pt x="15" y="123"/>
                  </a:lnTo>
                  <a:lnTo>
                    <a:pt x="17" y="123"/>
                  </a:lnTo>
                  <a:lnTo>
                    <a:pt x="44" y="129"/>
                  </a:lnTo>
                  <a:lnTo>
                    <a:pt x="58" y="133"/>
                  </a:lnTo>
                  <a:lnTo>
                    <a:pt x="71" y="137"/>
                  </a:lnTo>
                  <a:lnTo>
                    <a:pt x="84" y="141"/>
                  </a:lnTo>
                  <a:lnTo>
                    <a:pt x="96" y="146"/>
                  </a:lnTo>
                  <a:lnTo>
                    <a:pt x="109" y="152"/>
                  </a:lnTo>
                  <a:lnTo>
                    <a:pt x="122" y="158"/>
                  </a:lnTo>
                  <a:lnTo>
                    <a:pt x="28" y="88"/>
                  </a:lnTo>
                  <a:lnTo>
                    <a:pt x="27" y="87"/>
                  </a:lnTo>
                  <a:lnTo>
                    <a:pt x="26" y="85"/>
                  </a:lnTo>
                  <a:lnTo>
                    <a:pt x="27" y="83"/>
                  </a:lnTo>
                  <a:lnTo>
                    <a:pt x="27" y="82"/>
                  </a:lnTo>
                  <a:lnTo>
                    <a:pt x="29" y="81"/>
                  </a:lnTo>
                  <a:lnTo>
                    <a:pt x="30" y="80"/>
                  </a:lnTo>
                  <a:lnTo>
                    <a:pt x="32" y="80"/>
                  </a:lnTo>
                  <a:lnTo>
                    <a:pt x="34" y="81"/>
                  </a:lnTo>
                  <a:lnTo>
                    <a:pt x="176" y="186"/>
                  </a:lnTo>
                  <a:lnTo>
                    <a:pt x="161" y="166"/>
                  </a:lnTo>
                  <a:lnTo>
                    <a:pt x="145" y="147"/>
                  </a:lnTo>
                  <a:lnTo>
                    <a:pt x="137" y="138"/>
                  </a:lnTo>
                  <a:lnTo>
                    <a:pt x="128" y="129"/>
                  </a:lnTo>
                  <a:lnTo>
                    <a:pt x="120" y="120"/>
                  </a:lnTo>
                  <a:lnTo>
                    <a:pt x="111" y="111"/>
                  </a:lnTo>
                  <a:lnTo>
                    <a:pt x="92" y="95"/>
                  </a:lnTo>
                  <a:lnTo>
                    <a:pt x="72" y="80"/>
                  </a:lnTo>
                  <a:lnTo>
                    <a:pt x="62" y="72"/>
                  </a:lnTo>
                  <a:lnTo>
                    <a:pt x="52" y="65"/>
                  </a:lnTo>
                  <a:lnTo>
                    <a:pt x="41" y="59"/>
                  </a:lnTo>
                  <a:lnTo>
                    <a:pt x="30" y="53"/>
                  </a:lnTo>
                  <a:lnTo>
                    <a:pt x="28" y="51"/>
                  </a:lnTo>
                  <a:lnTo>
                    <a:pt x="28" y="50"/>
                  </a:lnTo>
                  <a:lnTo>
                    <a:pt x="27" y="49"/>
                  </a:lnTo>
                  <a:lnTo>
                    <a:pt x="27" y="48"/>
                  </a:lnTo>
                  <a:lnTo>
                    <a:pt x="28" y="46"/>
                  </a:lnTo>
                  <a:lnTo>
                    <a:pt x="29" y="45"/>
                  </a:lnTo>
                  <a:lnTo>
                    <a:pt x="30" y="44"/>
                  </a:lnTo>
                  <a:lnTo>
                    <a:pt x="32" y="44"/>
                  </a:lnTo>
                  <a:lnTo>
                    <a:pt x="34" y="44"/>
                  </a:lnTo>
                  <a:lnTo>
                    <a:pt x="53" y="55"/>
                  </a:lnTo>
                  <a:lnTo>
                    <a:pt x="71" y="67"/>
                  </a:lnTo>
                  <a:lnTo>
                    <a:pt x="88" y="79"/>
                  </a:lnTo>
                  <a:lnTo>
                    <a:pt x="104" y="92"/>
                  </a:lnTo>
                  <a:lnTo>
                    <a:pt x="119" y="106"/>
                  </a:lnTo>
                  <a:lnTo>
                    <a:pt x="134" y="121"/>
                  </a:lnTo>
                  <a:lnTo>
                    <a:pt x="148" y="136"/>
                  </a:lnTo>
                  <a:lnTo>
                    <a:pt x="155" y="144"/>
                  </a:lnTo>
                  <a:lnTo>
                    <a:pt x="162" y="152"/>
                  </a:lnTo>
                  <a:lnTo>
                    <a:pt x="125" y="85"/>
                  </a:lnTo>
                  <a:lnTo>
                    <a:pt x="115" y="79"/>
                  </a:lnTo>
                  <a:lnTo>
                    <a:pt x="103" y="74"/>
                  </a:lnTo>
                  <a:lnTo>
                    <a:pt x="101" y="72"/>
                  </a:lnTo>
                  <a:lnTo>
                    <a:pt x="100" y="71"/>
                  </a:lnTo>
                  <a:lnTo>
                    <a:pt x="100" y="69"/>
                  </a:lnTo>
                  <a:lnTo>
                    <a:pt x="100" y="67"/>
                  </a:lnTo>
                  <a:lnTo>
                    <a:pt x="101" y="66"/>
                  </a:lnTo>
                  <a:lnTo>
                    <a:pt x="103" y="65"/>
                  </a:lnTo>
                  <a:lnTo>
                    <a:pt x="105" y="65"/>
                  </a:lnTo>
                  <a:lnTo>
                    <a:pt x="107" y="65"/>
                  </a:lnTo>
                  <a:lnTo>
                    <a:pt x="117" y="70"/>
                  </a:lnTo>
                  <a:lnTo>
                    <a:pt x="91" y="23"/>
                  </a:lnTo>
                  <a:lnTo>
                    <a:pt x="90" y="21"/>
                  </a:lnTo>
                  <a:lnTo>
                    <a:pt x="91" y="19"/>
                  </a:lnTo>
                  <a:lnTo>
                    <a:pt x="92" y="18"/>
                  </a:lnTo>
                  <a:lnTo>
                    <a:pt x="93" y="16"/>
                  </a:lnTo>
                  <a:lnTo>
                    <a:pt x="95" y="16"/>
                  </a:lnTo>
                  <a:lnTo>
                    <a:pt x="96" y="16"/>
                  </a:lnTo>
                  <a:lnTo>
                    <a:pt x="98" y="17"/>
                  </a:lnTo>
                  <a:lnTo>
                    <a:pt x="99" y="18"/>
                  </a:lnTo>
                  <a:lnTo>
                    <a:pt x="133" y="80"/>
                  </a:lnTo>
                  <a:lnTo>
                    <a:pt x="142" y="86"/>
                  </a:lnTo>
                  <a:lnTo>
                    <a:pt x="150" y="93"/>
                  </a:lnTo>
                  <a:lnTo>
                    <a:pt x="158" y="101"/>
                  </a:lnTo>
                  <a:lnTo>
                    <a:pt x="166" y="109"/>
                  </a:lnTo>
                  <a:lnTo>
                    <a:pt x="169" y="114"/>
                  </a:lnTo>
                  <a:lnTo>
                    <a:pt x="173" y="118"/>
                  </a:lnTo>
                  <a:lnTo>
                    <a:pt x="179" y="128"/>
                  </a:lnTo>
                  <a:lnTo>
                    <a:pt x="185" y="137"/>
                  </a:lnTo>
                  <a:lnTo>
                    <a:pt x="189" y="148"/>
                  </a:lnTo>
                  <a:lnTo>
                    <a:pt x="193" y="156"/>
                  </a:lnTo>
                  <a:lnTo>
                    <a:pt x="196" y="164"/>
                  </a:lnTo>
                  <a:lnTo>
                    <a:pt x="198" y="172"/>
                  </a:lnTo>
                  <a:lnTo>
                    <a:pt x="200" y="180"/>
                  </a:lnTo>
                  <a:lnTo>
                    <a:pt x="244" y="12"/>
                  </a:lnTo>
                  <a:lnTo>
                    <a:pt x="245" y="10"/>
                  </a:lnTo>
                  <a:lnTo>
                    <a:pt x="246" y="9"/>
                  </a:lnTo>
                  <a:lnTo>
                    <a:pt x="248" y="9"/>
                  </a:lnTo>
                  <a:lnTo>
                    <a:pt x="250" y="9"/>
                  </a:lnTo>
                  <a:lnTo>
                    <a:pt x="252" y="10"/>
                  </a:lnTo>
                  <a:lnTo>
                    <a:pt x="253" y="11"/>
                  </a:lnTo>
                  <a:lnTo>
                    <a:pt x="253" y="13"/>
                  </a:lnTo>
                  <a:lnTo>
                    <a:pt x="253" y="15"/>
                  </a:lnTo>
                  <a:lnTo>
                    <a:pt x="206" y="194"/>
                  </a:lnTo>
                  <a:lnTo>
                    <a:pt x="214" y="183"/>
                  </a:lnTo>
                  <a:lnTo>
                    <a:pt x="223" y="173"/>
                  </a:lnTo>
                  <a:lnTo>
                    <a:pt x="231" y="162"/>
                  </a:lnTo>
                  <a:lnTo>
                    <a:pt x="239" y="151"/>
                  </a:lnTo>
                  <a:lnTo>
                    <a:pt x="253" y="129"/>
                  </a:lnTo>
                  <a:lnTo>
                    <a:pt x="266" y="105"/>
                  </a:lnTo>
                  <a:lnTo>
                    <a:pt x="272" y="93"/>
                  </a:lnTo>
                  <a:lnTo>
                    <a:pt x="277" y="81"/>
                  </a:lnTo>
                  <a:lnTo>
                    <a:pt x="282" y="69"/>
                  </a:lnTo>
                  <a:lnTo>
                    <a:pt x="286" y="56"/>
                  </a:lnTo>
                  <a:lnTo>
                    <a:pt x="291" y="43"/>
                  </a:lnTo>
                  <a:lnTo>
                    <a:pt x="294" y="30"/>
                  </a:lnTo>
                  <a:lnTo>
                    <a:pt x="298" y="17"/>
                  </a:lnTo>
                  <a:lnTo>
                    <a:pt x="300" y="4"/>
                  </a:lnTo>
                  <a:lnTo>
                    <a:pt x="301" y="2"/>
                  </a:lnTo>
                  <a:lnTo>
                    <a:pt x="303" y="0"/>
                  </a:lnTo>
                  <a:lnTo>
                    <a:pt x="304" y="0"/>
                  </a:lnTo>
                  <a:lnTo>
                    <a:pt x="306" y="0"/>
                  </a:lnTo>
                  <a:lnTo>
                    <a:pt x="308" y="0"/>
                  </a:lnTo>
                  <a:lnTo>
                    <a:pt x="309" y="1"/>
                  </a:lnTo>
                  <a:lnTo>
                    <a:pt x="309" y="2"/>
                  </a:lnTo>
                  <a:lnTo>
                    <a:pt x="310" y="3"/>
                  </a:lnTo>
                  <a:lnTo>
                    <a:pt x="310" y="5"/>
                  </a:lnTo>
                  <a:lnTo>
                    <a:pt x="307" y="19"/>
                  </a:lnTo>
                  <a:lnTo>
                    <a:pt x="304" y="32"/>
                  </a:lnTo>
                  <a:lnTo>
                    <a:pt x="300" y="45"/>
                  </a:lnTo>
                  <a:lnTo>
                    <a:pt x="296" y="57"/>
                  </a:lnTo>
                  <a:lnTo>
                    <a:pt x="292" y="70"/>
                  </a:lnTo>
                  <a:lnTo>
                    <a:pt x="287" y="82"/>
                  </a:lnTo>
                  <a:lnTo>
                    <a:pt x="282" y="94"/>
                  </a:lnTo>
                  <a:lnTo>
                    <a:pt x="276" y="106"/>
                  </a:lnTo>
                  <a:lnTo>
                    <a:pt x="270" y="118"/>
                  </a:lnTo>
                  <a:lnTo>
                    <a:pt x="264" y="129"/>
                  </a:lnTo>
                  <a:lnTo>
                    <a:pt x="250" y="152"/>
                  </a:lnTo>
                  <a:lnTo>
                    <a:pt x="234" y="173"/>
                  </a:lnTo>
                  <a:lnTo>
                    <a:pt x="226" y="184"/>
                  </a:lnTo>
                  <a:lnTo>
                    <a:pt x="218" y="194"/>
                  </a:lnTo>
                  <a:lnTo>
                    <a:pt x="230" y="188"/>
                  </a:lnTo>
                  <a:lnTo>
                    <a:pt x="242" y="182"/>
                  </a:lnTo>
                  <a:lnTo>
                    <a:pt x="266" y="168"/>
                  </a:lnTo>
                  <a:lnTo>
                    <a:pt x="277" y="161"/>
                  </a:lnTo>
                  <a:lnTo>
                    <a:pt x="288" y="153"/>
                  </a:lnTo>
                  <a:lnTo>
                    <a:pt x="299" y="145"/>
                  </a:lnTo>
                  <a:lnTo>
                    <a:pt x="310" y="137"/>
                  </a:lnTo>
                  <a:lnTo>
                    <a:pt x="331" y="120"/>
                  </a:lnTo>
                  <a:lnTo>
                    <a:pt x="341" y="111"/>
                  </a:lnTo>
                  <a:lnTo>
                    <a:pt x="351" y="102"/>
                  </a:lnTo>
                  <a:lnTo>
                    <a:pt x="361" y="92"/>
                  </a:lnTo>
                  <a:lnTo>
                    <a:pt x="370" y="82"/>
                  </a:lnTo>
                  <a:lnTo>
                    <a:pt x="379" y="71"/>
                  </a:lnTo>
                  <a:lnTo>
                    <a:pt x="388" y="60"/>
                  </a:lnTo>
                  <a:lnTo>
                    <a:pt x="390" y="59"/>
                  </a:lnTo>
                  <a:lnTo>
                    <a:pt x="391" y="58"/>
                  </a:lnTo>
                  <a:lnTo>
                    <a:pt x="393" y="59"/>
                  </a:lnTo>
                  <a:lnTo>
                    <a:pt x="395" y="59"/>
                  </a:lnTo>
                  <a:lnTo>
                    <a:pt x="396" y="61"/>
                  </a:lnTo>
                  <a:lnTo>
                    <a:pt x="397" y="62"/>
                  </a:lnTo>
                  <a:lnTo>
                    <a:pt x="397" y="64"/>
                  </a:lnTo>
                  <a:lnTo>
                    <a:pt x="396" y="66"/>
                  </a:lnTo>
                  <a:lnTo>
                    <a:pt x="388" y="76"/>
                  </a:lnTo>
                  <a:lnTo>
                    <a:pt x="380" y="85"/>
                  </a:lnTo>
                  <a:lnTo>
                    <a:pt x="364" y="102"/>
                  </a:lnTo>
                  <a:lnTo>
                    <a:pt x="356" y="111"/>
                  </a:lnTo>
                  <a:lnTo>
                    <a:pt x="347" y="119"/>
                  </a:lnTo>
                  <a:lnTo>
                    <a:pt x="329" y="134"/>
                  </a:lnTo>
                  <a:lnTo>
                    <a:pt x="311" y="149"/>
                  </a:lnTo>
                  <a:lnTo>
                    <a:pt x="302" y="155"/>
                  </a:lnTo>
                  <a:lnTo>
                    <a:pt x="292" y="162"/>
                  </a:lnTo>
                  <a:lnTo>
                    <a:pt x="273" y="175"/>
                  </a:lnTo>
                  <a:lnTo>
                    <a:pt x="252" y="187"/>
                  </a:lnTo>
                  <a:lnTo>
                    <a:pt x="263" y="182"/>
                  </a:lnTo>
                  <a:lnTo>
                    <a:pt x="274" y="177"/>
                  </a:lnTo>
                  <a:lnTo>
                    <a:pt x="295" y="166"/>
                  </a:lnTo>
                  <a:lnTo>
                    <a:pt x="315" y="155"/>
                  </a:lnTo>
                  <a:lnTo>
                    <a:pt x="325" y="148"/>
                  </a:lnTo>
                  <a:lnTo>
                    <a:pt x="334" y="142"/>
                  </a:lnTo>
                  <a:lnTo>
                    <a:pt x="344" y="135"/>
                  </a:lnTo>
                  <a:lnTo>
                    <a:pt x="353" y="128"/>
                  </a:lnTo>
                  <a:lnTo>
                    <a:pt x="362" y="121"/>
                  </a:lnTo>
                  <a:lnTo>
                    <a:pt x="371" y="113"/>
                  </a:lnTo>
                  <a:lnTo>
                    <a:pt x="380" y="105"/>
                  </a:lnTo>
                  <a:lnTo>
                    <a:pt x="389" y="97"/>
                  </a:lnTo>
                  <a:lnTo>
                    <a:pt x="405" y="80"/>
                  </a:lnTo>
                  <a:lnTo>
                    <a:pt x="407" y="79"/>
                  </a:lnTo>
                  <a:lnTo>
                    <a:pt x="409" y="79"/>
                  </a:lnTo>
                  <a:lnTo>
                    <a:pt x="410" y="79"/>
                  </a:lnTo>
                  <a:lnTo>
                    <a:pt x="412" y="80"/>
                  </a:lnTo>
                  <a:lnTo>
                    <a:pt x="413" y="81"/>
                  </a:lnTo>
                  <a:lnTo>
                    <a:pt x="413" y="83"/>
                  </a:lnTo>
                  <a:lnTo>
                    <a:pt x="413" y="85"/>
                  </a:lnTo>
                  <a:lnTo>
                    <a:pt x="412" y="87"/>
                  </a:lnTo>
                  <a:lnTo>
                    <a:pt x="404" y="95"/>
                  </a:lnTo>
                  <a:lnTo>
                    <a:pt x="396" y="104"/>
                  </a:lnTo>
                  <a:lnTo>
                    <a:pt x="387" y="112"/>
                  </a:lnTo>
                  <a:lnTo>
                    <a:pt x="378" y="120"/>
                  </a:lnTo>
                  <a:lnTo>
                    <a:pt x="360" y="134"/>
                  </a:lnTo>
                  <a:lnTo>
                    <a:pt x="342" y="148"/>
                  </a:lnTo>
                  <a:lnTo>
                    <a:pt x="322" y="161"/>
                  </a:lnTo>
                  <a:lnTo>
                    <a:pt x="302" y="173"/>
                  </a:lnTo>
                  <a:lnTo>
                    <a:pt x="292" y="179"/>
                  </a:lnTo>
                  <a:lnTo>
                    <a:pt x="281" y="184"/>
                  </a:lnTo>
                  <a:lnTo>
                    <a:pt x="271" y="189"/>
                  </a:lnTo>
                  <a:lnTo>
                    <a:pt x="260" y="194"/>
                  </a:lnTo>
                  <a:lnTo>
                    <a:pt x="281" y="189"/>
                  </a:lnTo>
                  <a:lnTo>
                    <a:pt x="303" y="183"/>
                  </a:lnTo>
                  <a:lnTo>
                    <a:pt x="313" y="180"/>
                  </a:lnTo>
                  <a:lnTo>
                    <a:pt x="323" y="176"/>
                  </a:lnTo>
                  <a:lnTo>
                    <a:pt x="332" y="172"/>
                  </a:lnTo>
                  <a:lnTo>
                    <a:pt x="341" y="168"/>
                  </a:lnTo>
                  <a:lnTo>
                    <a:pt x="353" y="162"/>
                  </a:lnTo>
                  <a:lnTo>
                    <a:pt x="364" y="157"/>
                  </a:lnTo>
                  <a:lnTo>
                    <a:pt x="376" y="153"/>
                  </a:lnTo>
                  <a:lnTo>
                    <a:pt x="382" y="151"/>
                  </a:lnTo>
                  <a:lnTo>
                    <a:pt x="389" y="150"/>
                  </a:lnTo>
                  <a:lnTo>
                    <a:pt x="403" y="149"/>
                  </a:lnTo>
                  <a:lnTo>
                    <a:pt x="409" y="149"/>
                  </a:lnTo>
                  <a:lnTo>
                    <a:pt x="416" y="149"/>
                  </a:lnTo>
                  <a:lnTo>
                    <a:pt x="428" y="151"/>
                  </a:lnTo>
                  <a:lnTo>
                    <a:pt x="441" y="154"/>
                  </a:lnTo>
                  <a:lnTo>
                    <a:pt x="443" y="155"/>
                  </a:lnTo>
                  <a:lnTo>
                    <a:pt x="444" y="156"/>
                  </a:lnTo>
                  <a:lnTo>
                    <a:pt x="445" y="158"/>
                  </a:lnTo>
                  <a:lnTo>
                    <a:pt x="445" y="160"/>
                  </a:lnTo>
                  <a:lnTo>
                    <a:pt x="444" y="161"/>
                  </a:lnTo>
                  <a:lnTo>
                    <a:pt x="443" y="162"/>
                  </a:lnTo>
                  <a:lnTo>
                    <a:pt x="441" y="163"/>
                  </a:lnTo>
                  <a:lnTo>
                    <a:pt x="439" y="163"/>
                  </a:lnTo>
                  <a:lnTo>
                    <a:pt x="428" y="161"/>
                  </a:lnTo>
                  <a:lnTo>
                    <a:pt x="418" y="159"/>
                  </a:lnTo>
                  <a:lnTo>
                    <a:pt x="408" y="158"/>
                  </a:lnTo>
                  <a:lnTo>
                    <a:pt x="399" y="159"/>
                  </a:lnTo>
                  <a:lnTo>
                    <a:pt x="394" y="159"/>
                  </a:lnTo>
                  <a:lnTo>
                    <a:pt x="389" y="160"/>
                  </a:lnTo>
                  <a:lnTo>
                    <a:pt x="379" y="162"/>
                  </a:lnTo>
                  <a:lnTo>
                    <a:pt x="370" y="165"/>
                  </a:lnTo>
                  <a:lnTo>
                    <a:pt x="360" y="169"/>
                  </a:lnTo>
                  <a:lnTo>
                    <a:pt x="344" y="177"/>
                  </a:lnTo>
                  <a:lnTo>
                    <a:pt x="336" y="181"/>
                  </a:lnTo>
                  <a:lnTo>
                    <a:pt x="328" y="184"/>
                  </a:lnTo>
                  <a:lnTo>
                    <a:pt x="300" y="193"/>
                  </a:lnTo>
                  <a:lnTo>
                    <a:pt x="275" y="200"/>
                  </a:lnTo>
                  <a:lnTo>
                    <a:pt x="438" y="193"/>
                  </a:lnTo>
                  <a:lnTo>
                    <a:pt x="440" y="193"/>
                  </a:lnTo>
                  <a:lnTo>
                    <a:pt x="441" y="194"/>
                  </a:lnTo>
                  <a:lnTo>
                    <a:pt x="442" y="196"/>
                  </a:lnTo>
                  <a:lnTo>
                    <a:pt x="443" y="197"/>
                  </a:lnTo>
                  <a:lnTo>
                    <a:pt x="443" y="199"/>
                  </a:lnTo>
                  <a:lnTo>
                    <a:pt x="442" y="201"/>
                  </a:lnTo>
                  <a:lnTo>
                    <a:pt x="440" y="202"/>
                  </a:lnTo>
                  <a:lnTo>
                    <a:pt x="438" y="202"/>
                  </a:lnTo>
                  <a:lnTo>
                    <a:pt x="310" y="208"/>
                  </a:lnTo>
                  <a:lnTo>
                    <a:pt x="420" y="212"/>
                  </a:lnTo>
                  <a:lnTo>
                    <a:pt x="422" y="213"/>
                  </a:lnTo>
                  <a:lnTo>
                    <a:pt x="423" y="214"/>
                  </a:lnTo>
                  <a:lnTo>
                    <a:pt x="424" y="216"/>
                  </a:lnTo>
                  <a:lnTo>
                    <a:pt x="424" y="217"/>
                  </a:lnTo>
                  <a:lnTo>
                    <a:pt x="424" y="219"/>
                  </a:lnTo>
                  <a:lnTo>
                    <a:pt x="423" y="221"/>
                  </a:lnTo>
                  <a:lnTo>
                    <a:pt x="421" y="222"/>
                  </a:lnTo>
                  <a:lnTo>
                    <a:pt x="419" y="222"/>
                  </a:lnTo>
                  <a:lnTo>
                    <a:pt x="229" y="214"/>
                  </a:lnTo>
                  <a:lnTo>
                    <a:pt x="378" y="264"/>
                  </a:lnTo>
                  <a:lnTo>
                    <a:pt x="380" y="265"/>
                  </a:lnTo>
                  <a:lnTo>
                    <a:pt x="381" y="267"/>
                  </a:lnTo>
                  <a:lnTo>
                    <a:pt x="382" y="268"/>
                  </a:lnTo>
                  <a:lnTo>
                    <a:pt x="381" y="270"/>
                  </a:lnTo>
                  <a:lnTo>
                    <a:pt x="380" y="272"/>
                  </a:lnTo>
                  <a:lnTo>
                    <a:pt x="379" y="273"/>
                  </a:lnTo>
                  <a:lnTo>
                    <a:pt x="377" y="273"/>
                  </a:lnTo>
                  <a:lnTo>
                    <a:pt x="375" y="273"/>
                  </a:lnTo>
                  <a:lnTo>
                    <a:pt x="232" y="225"/>
                  </a:lnTo>
                  <a:lnTo>
                    <a:pt x="309" y="279"/>
                  </a:lnTo>
                  <a:lnTo>
                    <a:pt x="310" y="281"/>
                  </a:lnTo>
                  <a:lnTo>
                    <a:pt x="311" y="283"/>
                  </a:lnTo>
                  <a:lnTo>
                    <a:pt x="310" y="284"/>
                  </a:lnTo>
                  <a:lnTo>
                    <a:pt x="310" y="286"/>
                  </a:lnTo>
                  <a:lnTo>
                    <a:pt x="308" y="287"/>
                  </a:lnTo>
                  <a:lnTo>
                    <a:pt x="307" y="288"/>
                  </a:lnTo>
                  <a:lnTo>
                    <a:pt x="305" y="288"/>
                  </a:lnTo>
                  <a:lnTo>
                    <a:pt x="303" y="287"/>
                  </a:lnTo>
                  <a:lnTo>
                    <a:pt x="249" y="249"/>
                  </a:lnTo>
                  <a:lnTo>
                    <a:pt x="298" y="295"/>
                  </a:lnTo>
                  <a:lnTo>
                    <a:pt x="300" y="297"/>
                  </a:lnTo>
                  <a:lnTo>
                    <a:pt x="300" y="299"/>
                  </a:lnTo>
                  <a:lnTo>
                    <a:pt x="300" y="301"/>
                  </a:lnTo>
                  <a:lnTo>
                    <a:pt x="299" y="302"/>
                  </a:lnTo>
                  <a:lnTo>
                    <a:pt x="297" y="303"/>
                  </a:lnTo>
                  <a:lnTo>
                    <a:pt x="296" y="304"/>
                  </a:lnTo>
                  <a:lnTo>
                    <a:pt x="294" y="304"/>
                  </a:lnTo>
                  <a:lnTo>
                    <a:pt x="293" y="303"/>
                  </a:lnTo>
                  <a:lnTo>
                    <a:pt x="292" y="302"/>
                  </a:lnTo>
                  <a:lnTo>
                    <a:pt x="200"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7" name="Freeform 1955"/>
            <p:cNvSpPr>
              <a:spLocks noEditPoints="1"/>
            </p:cNvSpPr>
            <p:nvPr userDrawn="1"/>
          </p:nvSpPr>
          <p:spPr bwMode="auto">
            <a:xfrm>
              <a:off x="7497763" y="2867397"/>
              <a:ext cx="1082675" cy="903288"/>
            </a:xfrm>
            <a:custGeom>
              <a:avLst/>
              <a:gdLst>
                <a:gd name="T0" fmla="*/ 478 w 682"/>
                <a:gd name="T1" fmla="*/ 163 h 569"/>
                <a:gd name="T2" fmla="*/ 56 w 682"/>
                <a:gd name="T3" fmla="*/ 508 h 569"/>
                <a:gd name="T4" fmla="*/ 50 w 682"/>
                <a:gd name="T5" fmla="*/ 497 h 569"/>
                <a:gd name="T6" fmla="*/ 101 w 682"/>
                <a:gd name="T7" fmla="*/ 479 h 569"/>
                <a:gd name="T8" fmla="*/ 63 w 682"/>
                <a:gd name="T9" fmla="*/ 526 h 569"/>
                <a:gd name="T10" fmla="*/ 98 w 682"/>
                <a:gd name="T11" fmla="*/ 485 h 569"/>
                <a:gd name="T12" fmla="*/ 343 w 682"/>
                <a:gd name="T13" fmla="*/ 287 h 569"/>
                <a:gd name="T14" fmla="*/ 230 w 682"/>
                <a:gd name="T15" fmla="*/ 365 h 569"/>
                <a:gd name="T16" fmla="*/ 100 w 682"/>
                <a:gd name="T17" fmla="*/ 499 h 569"/>
                <a:gd name="T18" fmla="*/ 59 w 682"/>
                <a:gd name="T19" fmla="*/ 542 h 569"/>
                <a:gd name="T20" fmla="*/ 3 w 682"/>
                <a:gd name="T21" fmla="*/ 568 h 569"/>
                <a:gd name="T22" fmla="*/ 19 w 682"/>
                <a:gd name="T23" fmla="*/ 521 h 569"/>
                <a:gd name="T24" fmla="*/ 60 w 682"/>
                <a:gd name="T25" fmla="*/ 477 h 569"/>
                <a:gd name="T26" fmla="*/ 111 w 682"/>
                <a:gd name="T27" fmla="*/ 458 h 569"/>
                <a:gd name="T28" fmla="*/ 279 w 682"/>
                <a:gd name="T29" fmla="*/ 315 h 569"/>
                <a:gd name="T30" fmla="*/ 384 w 682"/>
                <a:gd name="T31" fmla="*/ 254 h 569"/>
                <a:gd name="T32" fmla="*/ 350 w 682"/>
                <a:gd name="T33" fmla="*/ 52 h 569"/>
                <a:gd name="T34" fmla="*/ 428 w 682"/>
                <a:gd name="T35" fmla="*/ 201 h 569"/>
                <a:gd name="T36" fmla="*/ 394 w 682"/>
                <a:gd name="T37" fmla="*/ 85 h 569"/>
                <a:gd name="T38" fmla="*/ 378 w 682"/>
                <a:gd name="T39" fmla="*/ 42 h 569"/>
                <a:gd name="T40" fmla="*/ 408 w 682"/>
                <a:gd name="T41" fmla="*/ 94 h 569"/>
                <a:gd name="T42" fmla="*/ 418 w 682"/>
                <a:gd name="T43" fmla="*/ 25 h 569"/>
                <a:gd name="T44" fmla="*/ 441 w 682"/>
                <a:gd name="T45" fmla="*/ 205 h 569"/>
                <a:gd name="T46" fmla="*/ 453 w 682"/>
                <a:gd name="T47" fmla="*/ 81 h 569"/>
                <a:gd name="T48" fmla="*/ 443 w 682"/>
                <a:gd name="T49" fmla="*/ 4 h 569"/>
                <a:gd name="T50" fmla="*/ 451 w 682"/>
                <a:gd name="T51" fmla="*/ 2 h 569"/>
                <a:gd name="T52" fmla="*/ 462 w 682"/>
                <a:gd name="T53" fmla="*/ 68 h 569"/>
                <a:gd name="T54" fmla="*/ 480 w 682"/>
                <a:gd name="T55" fmla="*/ 88 h 569"/>
                <a:gd name="T56" fmla="*/ 484 w 682"/>
                <a:gd name="T57" fmla="*/ 70 h 569"/>
                <a:gd name="T58" fmla="*/ 512 w 682"/>
                <a:gd name="T59" fmla="*/ 30 h 569"/>
                <a:gd name="T60" fmla="*/ 493 w 682"/>
                <a:gd name="T61" fmla="*/ 118 h 569"/>
                <a:gd name="T62" fmla="*/ 479 w 682"/>
                <a:gd name="T63" fmla="*/ 189 h 569"/>
                <a:gd name="T64" fmla="*/ 620 w 682"/>
                <a:gd name="T65" fmla="*/ 139 h 569"/>
                <a:gd name="T66" fmla="*/ 456 w 682"/>
                <a:gd name="T67" fmla="*/ 232 h 569"/>
                <a:gd name="T68" fmla="*/ 574 w 682"/>
                <a:gd name="T69" fmla="*/ 214 h 569"/>
                <a:gd name="T70" fmla="*/ 660 w 682"/>
                <a:gd name="T71" fmla="*/ 175 h 569"/>
                <a:gd name="T72" fmla="*/ 667 w 682"/>
                <a:gd name="T73" fmla="*/ 182 h 569"/>
                <a:gd name="T74" fmla="*/ 593 w 682"/>
                <a:gd name="T75" fmla="*/ 218 h 569"/>
                <a:gd name="T76" fmla="*/ 490 w 682"/>
                <a:gd name="T77" fmla="*/ 240 h 569"/>
                <a:gd name="T78" fmla="*/ 568 w 682"/>
                <a:gd name="T79" fmla="*/ 272 h 569"/>
                <a:gd name="T80" fmla="*/ 677 w 682"/>
                <a:gd name="T81" fmla="*/ 278 h 569"/>
                <a:gd name="T82" fmla="*/ 680 w 682"/>
                <a:gd name="T83" fmla="*/ 287 h 569"/>
                <a:gd name="T84" fmla="*/ 571 w 682"/>
                <a:gd name="T85" fmla="*/ 282 h 569"/>
                <a:gd name="T86" fmla="*/ 536 w 682"/>
                <a:gd name="T87" fmla="*/ 280 h 569"/>
                <a:gd name="T88" fmla="*/ 650 w 682"/>
                <a:gd name="T89" fmla="*/ 303 h 569"/>
                <a:gd name="T90" fmla="*/ 677 w 682"/>
                <a:gd name="T91" fmla="*/ 312 h 569"/>
                <a:gd name="T92" fmla="*/ 603 w 682"/>
                <a:gd name="T93" fmla="*/ 307 h 569"/>
                <a:gd name="T94" fmla="*/ 510 w 682"/>
                <a:gd name="T95" fmla="*/ 285 h 569"/>
                <a:gd name="T96" fmla="*/ 600 w 682"/>
                <a:gd name="T97" fmla="*/ 331 h 569"/>
                <a:gd name="T98" fmla="*/ 643 w 682"/>
                <a:gd name="T99" fmla="*/ 380 h 569"/>
                <a:gd name="T100" fmla="*/ 636 w 682"/>
                <a:gd name="T101" fmla="*/ 386 h 569"/>
                <a:gd name="T102" fmla="*/ 604 w 682"/>
                <a:gd name="T103" fmla="*/ 345 h 569"/>
                <a:gd name="T104" fmla="*/ 520 w 682"/>
                <a:gd name="T105" fmla="*/ 302 h 569"/>
                <a:gd name="T106" fmla="*/ 610 w 682"/>
                <a:gd name="T107" fmla="*/ 412 h 569"/>
                <a:gd name="T108" fmla="*/ 586 w 682"/>
                <a:gd name="T109" fmla="*/ 407 h 569"/>
                <a:gd name="T110" fmla="*/ 456 w 682"/>
                <a:gd name="T111" fmla="*/ 263 h 569"/>
                <a:gd name="T112" fmla="*/ 513 w 682"/>
                <a:gd name="T113" fmla="*/ 414 h 569"/>
                <a:gd name="T114" fmla="*/ 458 w 682"/>
                <a:gd name="T115" fmla="*/ 370 h 569"/>
                <a:gd name="T116" fmla="*/ 444 w 682"/>
                <a:gd name="T117" fmla="*/ 301 h 569"/>
                <a:gd name="T118" fmla="*/ 434 w 682"/>
                <a:gd name="T119" fmla="*/ 372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69">
                  <a:moveTo>
                    <a:pt x="452" y="215"/>
                  </a:moveTo>
                  <a:lnTo>
                    <a:pt x="458" y="207"/>
                  </a:lnTo>
                  <a:lnTo>
                    <a:pt x="463" y="199"/>
                  </a:lnTo>
                  <a:lnTo>
                    <a:pt x="468" y="190"/>
                  </a:lnTo>
                  <a:lnTo>
                    <a:pt x="472" y="182"/>
                  </a:lnTo>
                  <a:lnTo>
                    <a:pt x="476" y="172"/>
                  </a:lnTo>
                  <a:lnTo>
                    <a:pt x="478" y="163"/>
                  </a:lnTo>
                  <a:lnTo>
                    <a:pt x="481" y="153"/>
                  </a:lnTo>
                  <a:lnTo>
                    <a:pt x="482" y="143"/>
                  </a:lnTo>
                  <a:lnTo>
                    <a:pt x="483" y="133"/>
                  </a:lnTo>
                  <a:lnTo>
                    <a:pt x="484" y="124"/>
                  </a:lnTo>
                  <a:lnTo>
                    <a:pt x="452" y="215"/>
                  </a:lnTo>
                  <a:close/>
                  <a:moveTo>
                    <a:pt x="15" y="547"/>
                  </a:moveTo>
                  <a:lnTo>
                    <a:pt x="56" y="508"/>
                  </a:lnTo>
                  <a:lnTo>
                    <a:pt x="97" y="470"/>
                  </a:lnTo>
                  <a:lnTo>
                    <a:pt x="89" y="473"/>
                  </a:lnTo>
                  <a:lnTo>
                    <a:pt x="81" y="476"/>
                  </a:lnTo>
                  <a:lnTo>
                    <a:pt x="74" y="480"/>
                  </a:lnTo>
                  <a:lnTo>
                    <a:pt x="65" y="485"/>
                  </a:lnTo>
                  <a:lnTo>
                    <a:pt x="57" y="491"/>
                  </a:lnTo>
                  <a:lnTo>
                    <a:pt x="50" y="497"/>
                  </a:lnTo>
                  <a:lnTo>
                    <a:pt x="43" y="505"/>
                  </a:lnTo>
                  <a:lnTo>
                    <a:pt x="36" y="512"/>
                  </a:lnTo>
                  <a:lnTo>
                    <a:pt x="30" y="520"/>
                  </a:lnTo>
                  <a:lnTo>
                    <a:pt x="24" y="529"/>
                  </a:lnTo>
                  <a:lnTo>
                    <a:pt x="19" y="538"/>
                  </a:lnTo>
                  <a:lnTo>
                    <a:pt x="15" y="547"/>
                  </a:lnTo>
                  <a:close/>
                  <a:moveTo>
                    <a:pt x="101" y="479"/>
                  </a:moveTo>
                  <a:lnTo>
                    <a:pt x="62" y="515"/>
                  </a:lnTo>
                  <a:lnTo>
                    <a:pt x="24" y="552"/>
                  </a:lnTo>
                  <a:lnTo>
                    <a:pt x="36" y="546"/>
                  </a:lnTo>
                  <a:lnTo>
                    <a:pt x="41" y="542"/>
                  </a:lnTo>
                  <a:lnTo>
                    <a:pt x="47" y="539"/>
                  </a:lnTo>
                  <a:lnTo>
                    <a:pt x="58" y="530"/>
                  </a:lnTo>
                  <a:lnTo>
                    <a:pt x="63" y="526"/>
                  </a:lnTo>
                  <a:lnTo>
                    <a:pt x="68" y="522"/>
                  </a:lnTo>
                  <a:lnTo>
                    <a:pt x="78" y="512"/>
                  </a:lnTo>
                  <a:lnTo>
                    <a:pt x="83" y="507"/>
                  </a:lnTo>
                  <a:lnTo>
                    <a:pt x="87" y="501"/>
                  </a:lnTo>
                  <a:lnTo>
                    <a:pt x="91" y="496"/>
                  </a:lnTo>
                  <a:lnTo>
                    <a:pt x="95" y="490"/>
                  </a:lnTo>
                  <a:lnTo>
                    <a:pt x="98" y="485"/>
                  </a:lnTo>
                  <a:lnTo>
                    <a:pt x="101" y="479"/>
                  </a:lnTo>
                  <a:close/>
                  <a:moveTo>
                    <a:pt x="436" y="242"/>
                  </a:moveTo>
                  <a:lnTo>
                    <a:pt x="420" y="249"/>
                  </a:lnTo>
                  <a:lnTo>
                    <a:pt x="404" y="256"/>
                  </a:lnTo>
                  <a:lnTo>
                    <a:pt x="373" y="271"/>
                  </a:lnTo>
                  <a:lnTo>
                    <a:pt x="358" y="279"/>
                  </a:lnTo>
                  <a:lnTo>
                    <a:pt x="343" y="287"/>
                  </a:lnTo>
                  <a:lnTo>
                    <a:pt x="313" y="304"/>
                  </a:lnTo>
                  <a:lnTo>
                    <a:pt x="299" y="314"/>
                  </a:lnTo>
                  <a:lnTo>
                    <a:pt x="285" y="323"/>
                  </a:lnTo>
                  <a:lnTo>
                    <a:pt x="271" y="333"/>
                  </a:lnTo>
                  <a:lnTo>
                    <a:pt x="257" y="343"/>
                  </a:lnTo>
                  <a:lnTo>
                    <a:pt x="243" y="354"/>
                  </a:lnTo>
                  <a:lnTo>
                    <a:pt x="230" y="365"/>
                  </a:lnTo>
                  <a:lnTo>
                    <a:pt x="204" y="387"/>
                  </a:lnTo>
                  <a:lnTo>
                    <a:pt x="161" y="425"/>
                  </a:lnTo>
                  <a:lnTo>
                    <a:pt x="118" y="463"/>
                  </a:lnTo>
                  <a:lnTo>
                    <a:pt x="114" y="473"/>
                  </a:lnTo>
                  <a:lnTo>
                    <a:pt x="110" y="482"/>
                  </a:lnTo>
                  <a:lnTo>
                    <a:pt x="105" y="491"/>
                  </a:lnTo>
                  <a:lnTo>
                    <a:pt x="100" y="499"/>
                  </a:lnTo>
                  <a:lnTo>
                    <a:pt x="94" y="507"/>
                  </a:lnTo>
                  <a:lnTo>
                    <a:pt x="88" y="515"/>
                  </a:lnTo>
                  <a:lnTo>
                    <a:pt x="85" y="519"/>
                  </a:lnTo>
                  <a:lnTo>
                    <a:pt x="81" y="522"/>
                  </a:lnTo>
                  <a:lnTo>
                    <a:pt x="74" y="529"/>
                  </a:lnTo>
                  <a:lnTo>
                    <a:pt x="67" y="536"/>
                  </a:lnTo>
                  <a:lnTo>
                    <a:pt x="59" y="542"/>
                  </a:lnTo>
                  <a:lnTo>
                    <a:pt x="51" y="547"/>
                  </a:lnTo>
                  <a:lnTo>
                    <a:pt x="42" y="553"/>
                  </a:lnTo>
                  <a:lnTo>
                    <a:pt x="33" y="557"/>
                  </a:lnTo>
                  <a:lnTo>
                    <a:pt x="24" y="562"/>
                  </a:lnTo>
                  <a:lnTo>
                    <a:pt x="15" y="566"/>
                  </a:lnTo>
                  <a:lnTo>
                    <a:pt x="5" y="569"/>
                  </a:lnTo>
                  <a:lnTo>
                    <a:pt x="3" y="568"/>
                  </a:lnTo>
                  <a:lnTo>
                    <a:pt x="1" y="567"/>
                  </a:lnTo>
                  <a:lnTo>
                    <a:pt x="0" y="565"/>
                  </a:lnTo>
                  <a:lnTo>
                    <a:pt x="0" y="564"/>
                  </a:lnTo>
                  <a:lnTo>
                    <a:pt x="4" y="551"/>
                  </a:lnTo>
                  <a:lnTo>
                    <a:pt x="9" y="538"/>
                  </a:lnTo>
                  <a:lnTo>
                    <a:pt x="15" y="526"/>
                  </a:lnTo>
                  <a:lnTo>
                    <a:pt x="19" y="521"/>
                  </a:lnTo>
                  <a:lnTo>
                    <a:pt x="23" y="515"/>
                  </a:lnTo>
                  <a:lnTo>
                    <a:pt x="31" y="504"/>
                  </a:lnTo>
                  <a:lnTo>
                    <a:pt x="35" y="499"/>
                  </a:lnTo>
                  <a:lnTo>
                    <a:pt x="40" y="494"/>
                  </a:lnTo>
                  <a:lnTo>
                    <a:pt x="49" y="485"/>
                  </a:lnTo>
                  <a:lnTo>
                    <a:pt x="55" y="481"/>
                  </a:lnTo>
                  <a:lnTo>
                    <a:pt x="60" y="477"/>
                  </a:lnTo>
                  <a:lnTo>
                    <a:pt x="66" y="473"/>
                  </a:lnTo>
                  <a:lnTo>
                    <a:pt x="73" y="470"/>
                  </a:lnTo>
                  <a:lnTo>
                    <a:pt x="78" y="467"/>
                  </a:lnTo>
                  <a:lnTo>
                    <a:pt x="84" y="464"/>
                  </a:lnTo>
                  <a:lnTo>
                    <a:pt x="97" y="460"/>
                  </a:lnTo>
                  <a:lnTo>
                    <a:pt x="103" y="459"/>
                  </a:lnTo>
                  <a:lnTo>
                    <a:pt x="111" y="458"/>
                  </a:lnTo>
                  <a:lnTo>
                    <a:pt x="154" y="418"/>
                  </a:lnTo>
                  <a:lnTo>
                    <a:pt x="197" y="380"/>
                  </a:lnTo>
                  <a:lnTo>
                    <a:pt x="211" y="368"/>
                  </a:lnTo>
                  <a:lnTo>
                    <a:pt x="224" y="357"/>
                  </a:lnTo>
                  <a:lnTo>
                    <a:pt x="251" y="336"/>
                  </a:lnTo>
                  <a:lnTo>
                    <a:pt x="265" y="325"/>
                  </a:lnTo>
                  <a:lnTo>
                    <a:pt x="279" y="315"/>
                  </a:lnTo>
                  <a:lnTo>
                    <a:pt x="294" y="306"/>
                  </a:lnTo>
                  <a:lnTo>
                    <a:pt x="308" y="296"/>
                  </a:lnTo>
                  <a:lnTo>
                    <a:pt x="323" y="287"/>
                  </a:lnTo>
                  <a:lnTo>
                    <a:pt x="338" y="279"/>
                  </a:lnTo>
                  <a:lnTo>
                    <a:pt x="353" y="270"/>
                  </a:lnTo>
                  <a:lnTo>
                    <a:pt x="369" y="262"/>
                  </a:lnTo>
                  <a:lnTo>
                    <a:pt x="384" y="254"/>
                  </a:lnTo>
                  <a:lnTo>
                    <a:pt x="400" y="247"/>
                  </a:lnTo>
                  <a:lnTo>
                    <a:pt x="416" y="240"/>
                  </a:lnTo>
                  <a:lnTo>
                    <a:pt x="432" y="234"/>
                  </a:lnTo>
                  <a:lnTo>
                    <a:pt x="432" y="230"/>
                  </a:lnTo>
                  <a:lnTo>
                    <a:pt x="350" y="56"/>
                  </a:lnTo>
                  <a:lnTo>
                    <a:pt x="349" y="54"/>
                  </a:lnTo>
                  <a:lnTo>
                    <a:pt x="350" y="52"/>
                  </a:lnTo>
                  <a:lnTo>
                    <a:pt x="351" y="50"/>
                  </a:lnTo>
                  <a:lnTo>
                    <a:pt x="352" y="49"/>
                  </a:lnTo>
                  <a:lnTo>
                    <a:pt x="354" y="49"/>
                  </a:lnTo>
                  <a:lnTo>
                    <a:pt x="355" y="49"/>
                  </a:lnTo>
                  <a:lnTo>
                    <a:pt x="357" y="50"/>
                  </a:lnTo>
                  <a:lnTo>
                    <a:pt x="358" y="52"/>
                  </a:lnTo>
                  <a:lnTo>
                    <a:pt x="428" y="201"/>
                  </a:lnTo>
                  <a:lnTo>
                    <a:pt x="425" y="181"/>
                  </a:lnTo>
                  <a:lnTo>
                    <a:pt x="420" y="161"/>
                  </a:lnTo>
                  <a:lnTo>
                    <a:pt x="415" y="142"/>
                  </a:lnTo>
                  <a:lnTo>
                    <a:pt x="409" y="122"/>
                  </a:lnTo>
                  <a:lnTo>
                    <a:pt x="402" y="104"/>
                  </a:lnTo>
                  <a:lnTo>
                    <a:pt x="398" y="94"/>
                  </a:lnTo>
                  <a:lnTo>
                    <a:pt x="394" y="85"/>
                  </a:lnTo>
                  <a:lnTo>
                    <a:pt x="384" y="67"/>
                  </a:lnTo>
                  <a:lnTo>
                    <a:pt x="374" y="49"/>
                  </a:lnTo>
                  <a:lnTo>
                    <a:pt x="374" y="47"/>
                  </a:lnTo>
                  <a:lnTo>
                    <a:pt x="374" y="46"/>
                  </a:lnTo>
                  <a:lnTo>
                    <a:pt x="375" y="44"/>
                  </a:lnTo>
                  <a:lnTo>
                    <a:pt x="376" y="43"/>
                  </a:lnTo>
                  <a:lnTo>
                    <a:pt x="378" y="42"/>
                  </a:lnTo>
                  <a:lnTo>
                    <a:pt x="379" y="42"/>
                  </a:lnTo>
                  <a:lnTo>
                    <a:pt x="381" y="43"/>
                  </a:lnTo>
                  <a:lnTo>
                    <a:pt x="383" y="44"/>
                  </a:lnTo>
                  <a:lnTo>
                    <a:pt x="389" y="56"/>
                  </a:lnTo>
                  <a:lnTo>
                    <a:pt x="396" y="69"/>
                  </a:lnTo>
                  <a:lnTo>
                    <a:pt x="402" y="81"/>
                  </a:lnTo>
                  <a:lnTo>
                    <a:pt x="408" y="94"/>
                  </a:lnTo>
                  <a:lnTo>
                    <a:pt x="413" y="106"/>
                  </a:lnTo>
                  <a:lnTo>
                    <a:pt x="418" y="119"/>
                  </a:lnTo>
                  <a:lnTo>
                    <a:pt x="426" y="145"/>
                  </a:lnTo>
                  <a:lnTo>
                    <a:pt x="415" y="30"/>
                  </a:lnTo>
                  <a:lnTo>
                    <a:pt x="416" y="28"/>
                  </a:lnTo>
                  <a:lnTo>
                    <a:pt x="416" y="26"/>
                  </a:lnTo>
                  <a:lnTo>
                    <a:pt x="418" y="25"/>
                  </a:lnTo>
                  <a:lnTo>
                    <a:pt x="420" y="25"/>
                  </a:lnTo>
                  <a:lnTo>
                    <a:pt x="421" y="25"/>
                  </a:lnTo>
                  <a:lnTo>
                    <a:pt x="423" y="25"/>
                  </a:lnTo>
                  <a:lnTo>
                    <a:pt x="424" y="26"/>
                  </a:lnTo>
                  <a:lnTo>
                    <a:pt x="424" y="27"/>
                  </a:lnTo>
                  <a:lnTo>
                    <a:pt x="425" y="29"/>
                  </a:lnTo>
                  <a:lnTo>
                    <a:pt x="441" y="205"/>
                  </a:lnTo>
                  <a:lnTo>
                    <a:pt x="446" y="180"/>
                  </a:lnTo>
                  <a:lnTo>
                    <a:pt x="450" y="155"/>
                  </a:lnTo>
                  <a:lnTo>
                    <a:pt x="452" y="131"/>
                  </a:lnTo>
                  <a:lnTo>
                    <a:pt x="453" y="118"/>
                  </a:lnTo>
                  <a:lnTo>
                    <a:pt x="453" y="106"/>
                  </a:lnTo>
                  <a:lnTo>
                    <a:pt x="453" y="94"/>
                  </a:lnTo>
                  <a:lnTo>
                    <a:pt x="453" y="81"/>
                  </a:lnTo>
                  <a:lnTo>
                    <a:pt x="452" y="69"/>
                  </a:lnTo>
                  <a:lnTo>
                    <a:pt x="451" y="57"/>
                  </a:lnTo>
                  <a:lnTo>
                    <a:pt x="450" y="44"/>
                  </a:lnTo>
                  <a:lnTo>
                    <a:pt x="448" y="32"/>
                  </a:lnTo>
                  <a:lnTo>
                    <a:pt x="446" y="19"/>
                  </a:lnTo>
                  <a:lnTo>
                    <a:pt x="443" y="7"/>
                  </a:lnTo>
                  <a:lnTo>
                    <a:pt x="443" y="4"/>
                  </a:lnTo>
                  <a:lnTo>
                    <a:pt x="443" y="3"/>
                  </a:lnTo>
                  <a:lnTo>
                    <a:pt x="444" y="2"/>
                  </a:lnTo>
                  <a:lnTo>
                    <a:pt x="445" y="1"/>
                  </a:lnTo>
                  <a:lnTo>
                    <a:pt x="446" y="0"/>
                  </a:lnTo>
                  <a:lnTo>
                    <a:pt x="448" y="0"/>
                  </a:lnTo>
                  <a:lnTo>
                    <a:pt x="450" y="0"/>
                  </a:lnTo>
                  <a:lnTo>
                    <a:pt x="451" y="2"/>
                  </a:lnTo>
                  <a:lnTo>
                    <a:pt x="452" y="2"/>
                  </a:lnTo>
                  <a:lnTo>
                    <a:pt x="452" y="4"/>
                  </a:lnTo>
                  <a:lnTo>
                    <a:pt x="454" y="15"/>
                  </a:lnTo>
                  <a:lnTo>
                    <a:pt x="456" y="26"/>
                  </a:lnTo>
                  <a:lnTo>
                    <a:pt x="460" y="47"/>
                  </a:lnTo>
                  <a:lnTo>
                    <a:pt x="461" y="57"/>
                  </a:lnTo>
                  <a:lnTo>
                    <a:pt x="462" y="68"/>
                  </a:lnTo>
                  <a:lnTo>
                    <a:pt x="463" y="89"/>
                  </a:lnTo>
                  <a:lnTo>
                    <a:pt x="463" y="109"/>
                  </a:lnTo>
                  <a:lnTo>
                    <a:pt x="462" y="130"/>
                  </a:lnTo>
                  <a:lnTo>
                    <a:pt x="460" y="151"/>
                  </a:lnTo>
                  <a:lnTo>
                    <a:pt x="457" y="172"/>
                  </a:lnTo>
                  <a:lnTo>
                    <a:pt x="482" y="100"/>
                  </a:lnTo>
                  <a:lnTo>
                    <a:pt x="480" y="88"/>
                  </a:lnTo>
                  <a:lnTo>
                    <a:pt x="476" y="75"/>
                  </a:lnTo>
                  <a:lnTo>
                    <a:pt x="476" y="73"/>
                  </a:lnTo>
                  <a:lnTo>
                    <a:pt x="476" y="71"/>
                  </a:lnTo>
                  <a:lnTo>
                    <a:pt x="478" y="70"/>
                  </a:lnTo>
                  <a:lnTo>
                    <a:pt x="479" y="69"/>
                  </a:lnTo>
                  <a:lnTo>
                    <a:pt x="483" y="69"/>
                  </a:lnTo>
                  <a:lnTo>
                    <a:pt x="484" y="70"/>
                  </a:lnTo>
                  <a:lnTo>
                    <a:pt x="485" y="72"/>
                  </a:lnTo>
                  <a:lnTo>
                    <a:pt x="488" y="83"/>
                  </a:lnTo>
                  <a:lnTo>
                    <a:pt x="506" y="33"/>
                  </a:lnTo>
                  <a:lnTo>
                    <a:pt x="507" y="31"/>
                  </a:lnTo>
                  <a:lnTo>
                    <a:pt x="509" y="30"/>
                  </a:lnTo>
                  <a:lnTo>
                    <a:pt x="510" y="29"/>
                  </a:lnTo>
                  <a:lnTo>
                    <a:pt x="512" y="30"/>
                  </a:lnTo>
                  <a:lnTo>
                    <a:pt x="514" y="31"/>
                  </a:lnTo>
                  <a:lnTo>
                    <a:pt x="515" y="32"/>
                  </a:lnTo>
                  <a:lnTo>
                    <a:pt x="515" y="34"/>
                  </a:lnTo>
                  <a:lnTo>
                    <a:pt x="515" y="36"/>
                  </a:lnTo>
                  <a:lnTo>
                    <a:pt x="492" y="102"/>
                  </a:lnTo>
                  <a:lnTo>
                    <a:pt x="493" y="113"/>
                  </a:lnTo>
                  <a:lnTo>
                    <a:pt x="493" y="118"/>
                  </a:lnTo>
                  <a:lnTo>
                    <a:pt x="493" y="124"/>
                  </a:lnTo>
                  <a:lnTo>
                    <a:pt x="493" y="135"/>
                  </a:lnTo>
                  <a:lnTo>
                    <a:pt x="492" y="146"/>
                  </a:lnTo>
                  <a:lnTo>
                    <a:pt x="490" y="157"/>
                  </a:lnTo>
                  <a:lnTo>
                    <a:pt x="487" y="168"/>
                  </a:lnTo>
                  <a:lnTo>
                    <a:pt x="483" y="179"/>
                  </a:lnTo>
                  <a:lnTo>
                    <a:pt x="479" y="189"/>
                  </a:lnTo>
                  <a:lnTo>
                    <a:pt x="475" y="197"/>
                  </a:lnTo>
                  <a:lnTo>
                    <a:pt x="471" y="205"/>
                  </a:lnTo>
                  <a:lnTo>
                    <a:pt x="467" y="212"/>
                  </a:lnTo>
                  <a:lnTo>
                    <a:pt x="462" y="218"/>
                  </a:lnTo>
                  <a:lnTo>
                    <a:pt x="616" y="139"/>
                  </a:lnTo>
                  <a:lnTo>
                    <a:pt x="618" y="139"/>
                  </a:lnTo>
                  <a:lnTo>
                    <a:pt x="620" y="139"/>
                  </a:lnTo>
                  <a:lnTo>
                    <a:pt x="622" y="140"/>
                  </a:lnTo>
                  <a:lnTo>
                    <a:pt x="623" y="141"/>
                  </a:lnTo>
                  <a:lnTo>
                    <a:pt x="623" y="143"/>
                  </a:lnTo>
                  <a:lnTo>
                    <a:pt x="623" y="145"/>
                  </a:lnTo>
                  <a:lnTo>
                    <a:pt x="622" y="146"/>
                  </a:lnTo>
                  <a:lnTo>
                    <a:pt x="621" y="148"/>
                  </a:lnTo>
                  <a:lnTo>
                    <a:pt x="456" y="232"/>
                  </a:lnTo>
                  <a:lnTo>
                    <a:pt x="469" y="232"/>
                  </a:lnTo>
                  <a:lnTo>
                    <a:pt x="483" y="231"/>
                  </a:lnTo>
                  <a:lnTo>
                    <a:pt x="496" y="230"/>
                  </a:lnTo>
                  <a:lnTo>
                    <a:pt x="509" y="228"/>
                  </a:lnTo>
                  <a:lnTo>
                    <a:pt x="536" y="224"/>
                  </a:lnTo>
                  <a:lnTo>
                    <a:pt x="562" y="217"/>
                  </a:lnTo>
                  <a:lnTo>
                    <a:pt x="574" y="214"/>
                  </a:lnTo>
                  <a:lnTo>
                    <a:pt x="587" y="210"/>
                  </a:lnTo>
                  <a:lnTo>
                    <a:pt x="600" y="205"/>
                  </a:lnTo>
                  <a:lnTo>
                    <a:pt x="612" y="200"/>
                  </a:lnTo>
                  <a:lnTo>
                    <a:pt x="624" y="194"/>
                  </a:lnTo>
                  <a:lnTo>
                    <a:pt x="637" y="188"/>
                  </a:lnTo>
                  <a:lnTo>
                    <a:pt x="649" y="182"/>
                  </a:lnTo>
                  <a:lnTo>
                    <a:pt x="660" y="175"/>
                  </a:lnTo>
                  <a:lnTo>
                    <a:pt x="662" y="174"/>
                  </a:lnTo>
                  <a:lnTo>
                    <a:pt x="664" y="175"/>
                  </a:lnTo>
                  <a:lnTo>
                    <a:pt x="666" y="175"/>
                  </a:lnTo>
                  <a:lnTo>
                    <a:pt x="667" y="177"/>
                  </a:lnTo>
                  <a:lnTo>
                    <a:pt x="668" y="178"/>
                  </a:lnTo>
                  <a:lnTo>
                    <a:pt x="668" y="180"/>
                  </a:lnTo>
                  <a:lnTo>
                    <a:pt x="667" y="182"/>
                  </a:lnTo>
                  <a:lnTo>
                    <a:pt x="665" y="183"/>
                  </a:lnTo>
                  <a:lnTo>
                    <a:pt x="654" y="190"/>
                  </a:lnTo>
                  <a:lnTo>
                    <a:pt x="642" y="196"/>
                  </a:lnTo>
                  <a:lnTo>
                    <a:pt x="630" y="202"/>
                  </a:lnTo>
                  <a:lnTo>
                    <a:pt x="618" y="208"/>
                  </a:lnTo>
                  <a:lnTo>
                    <a:pt x="605" y="213"/>
                  </a:lnTo>
                  <a:lnTo>
                    <a:pt x="593" y="218"/>
                  </a:lnTo>
                  <a:lnTo>
                    <a:pt x="581" y="222"/>
                  </a:lnTo>
                  <a:lnTo>
                    <a:pt x="568" y="226"/>
                  </a:lnTo>
                  <a:lnTo>
                    <a:pt x="555" y="229"/>
                  </a:lnTo>
                  <a:lnTo>
                    <a:pt x="542" y="232"/>
                  </a:lnTo>
                  <a:lnTo>
                    <a:pt x="529" y="234"/>
                  </a:lnTo>
                  <a:lnTo>
                    <a:pt x="516" y="237"/>
                  </a:lnTo>
                  <a:lnTo>
                    <a:pt x="490" y="240"/>
                  </a:lnTo>
                  <a:lnTo>
                    <a:pt x="463" y="241"/>
                  </a:lnTo>
                  <a:lnTo>
                    <a:pt x="489" y="251"/>
                  </a:lnTo>
                  <a:lnTo>
                    <a:pt x="515" y="259"/>
                  </a:lnTo>
                  <a:lnTo>
                    <a:pt x="528" y="263"/>
                  </a:lnTo>
                  <a:lnTo>
                    <a:pt x="541" y="266"/>
                  </a:lnTo>
                  <a:lnTo>
                    <a:pt x="554" y="269"/>
                  </a:lnTo>
                  <a:lnTo>
                    <a:pt x="568" y="272"/>
                  </a:lnTo>
                  <a:lnTo>
                    <a:pt x="581" y="274"/>
                  </a:lnTo>
                  <a:lnTo>
                    <a:pt x="594" y="276"/>
                  </a:lnTo>
                  <a:lnTo>
                    <a:pt x="608" y="277"/>
                  </a:lnTo>
                  <a:lnTo>
                    <a:pt x="621" y="278"/>
                  </a:lnTo>
                  <a:lnTo>
                    <a:pt x="649" y="279"/>
                  </a:lnTo>
                  <a:lnTo>
                    <a:pt x="663" y="279"/>
                  </a:lnTo>
                  <a:lnTo>
                    <a:pt x="677" y="278"/>
                  </a:lnTo>
                  <a:lnTo>
                    <a:pt x="679" y="279"/>
                  </a:lnTo>
                  <a:lnTo>
                    <a:pt x="681" y="280"/>
                  </a:lnTo>
                  <a:lnTo>
                    <a:pt x="682" y="281"/>
                  </a:lnTo>
                  <a:lnTo>
                    <a:pt x="682" y="283"/>
                  </a:lnTo>
                  <a:lnTo>
                    <a:pt x="682" y="284"/>
                  </a:lnTo>
                  <a:lnTo>
                    <a:pt x="681" y="286"/>
                  </a:lnTo>
                  <a:lnTo>
                    <a:pt x="680" y="287"/>
                  </a:lnTo>
                  <a:lnTo>
                    <a:pt x="678" y="288"/>
                  </a:lnTo>
                  <a:lnTo>
                    <a:pt x="653" y="289"/>
                  </a:lnTo>
                  <a:lnTo>
                    <a:pt x="630" y="288"/>
                  </a:lnTo>
                  <a:lnTo>
                    <a:pt x="618" y="288"/>
                  </a:lnTo>
                  <a:lnTo>
                    <a:pt x="606" y="287"/>
                  </a:lnTo>
                  <a:lnTo>
                    <a:pt x="583" y="284"/>
                  </a:lnTo>
                  <a:lnTo>
                    <a:pt x="571" y="282"/>
                  </a:lnTo>
                  <a:lnTo>
                    <a:pt x="560" y="280"/>
                  </a:lnTo>
                  <a:lnTo>
                    <a:pt x="537" y="275"/>
                  </a:lnTo>
                  <a:lnTo>
                    <a:pt x="515" y="269"/>
                  </a:lnTo>
                  <a:lnTo>
                    <a:pt x="492" y="262"/>
                  </a:lnTo>
                  <a:lnTo>
                    <a:pt x="503" y="267"/>
                  </a:lnTo>
                  <a:lnTo>
                    <a:pt x="514" y="271"/>
                  </a:lnTo>
                  <a:lnTo>
                    <a:pt x="536" y="280"/>
                  </a:lnTo>
                  <a:lnTo>
                    <a:pt x="558" y="287"/>
                  </a:lnTo>
                  <a:lnTo>
                    <a:pt x="580" y="293"/>
                  </a:lnTo>
                  <a:lnTo>
                    <a:pt x="592" y="295"/>
                  </a:lnTo>
                  <a:lnTo>
                    <a:pt x="603" y="298"/>
                  </a:lnTo>
                  <a:lnTo>
                    <a:pt x="615" y="300"/>
                  </a:lnTo>
                  <a:lnTo>
                    <a:pt x="626" y="301"/>
                  </a:lnTo>
                  <a:lnTo>
                    <a:pt x="650" y="303"/>
                  </a:lnTo>
                  <a:lnTo>
                    <a:pt x="673" y="304"/>
                  </a:lnTo>
                  <a:lnTo>
                    <a:pt x="675" y="305"/>
                  </a:lnTo>
                  <a:lnTo>
                    <a:pt x="677" y="306"/>
                  </a:lnTo>
                  <a:lnTo>
                    <a:pt x="678" y="307"/>
                  </a:lnTo>
                  <a:lnTo>
                    <a:pt x="678" y="309"/>
                  </a:lnTo>
                  <a:lnTo>
                    <a:pt x="678" y="311"/>
                  </a:lnTo>
                  <a:lnTo>
                    <a:pt x="677" y="312"/>
                  </a:lnTo>
                  <a:lnTo>
                    <a:pt x="675" y="313"/>
                  </a:lnTo>
                  <a:lnTo>
                    <a:pt x="673" y="314"/>
                  </a:lnTo>
                  <a:lnTo>
                    <a:pt x="661" y="314"/>
                  </a:lnTo>
                  <a:lnTo>
                    <a:pt x="650" y="313"/>
                  </a:lnTo>
                  <a:lnTo>
                    <a:pt x="626" y="311"/>
                  </a:lnTo>
                  <a:lnTo>
                    <a:pt x="615" y="309"/>
                  </a:lnTo>
                  <a:lnTo>
                    <a:pt x="603" y="307"/>
                  </a:lnTo>
                  <a:lnTo>
                    <a:pt x="592" y="305"/>
                  </a:lnTo>
                  <a:lnTo>
                    <a:pt x="580" y="303"/>
                  </a:lnTo>
                  <a:lnTo>
                    <a:pt x="558" y="297"/>
                  </a:lnTo>
                  <a:lnTo>
                    <a:pt x="535" y="290"/>
                  </a:lnTo>
                  <a:lnTo>
                    <a:pt x="514" y="282"/>
                  </a:lnTo>
                  <a:lnTo>
                    <a:pt x="492" y="272"/>
                  </a:lnTo>
                  <a:lnTo>
                    <a:pt x="510" y="285"/>
                  </a:lnTo>
                  <a:lnTo>
                    <a:pt x="529" y="297"/>
                  </a:lnTo>
                  <a:lnTo>
                    <a:pt x="547" y="307"/>
                  </a:lnTo>
                  <a:lnTo>
                    <a:pt x="556" y="312"/>
                  </a:lnTo>
                  <a:lnTo>
                    <a:pt x="565" y="316"/>
                  </a:lnTo>
                  <a:lnTo>
                    <a:pt x="578" y="321"/>
                  </a:lnTo>
                  <a:lnTo>
                    <a:pt x="589" y="325"/>
                  </a:lnTo>
                  <a:lnTo>
                    <a:pt x="600" y="331"/>
                  </a:lnTo>
                  <a:lnTo>
                    <a:pt x="606" y="335"/>
                  </a:lnTo>
                  <a:lnTo>
                    <a:pt x="611" y="339"/>
                  </a:lnTo>
                  <a:lnTo>
                    <a:pt x="621" y="349"/>
                  </a:lnTo>
                  <a:lnTo>
                    <a:pt x="625" y="353"/>
                  </a:lnTo>
                  <a:lnTo>
                    <a:pt x="629" y="358"/>
                  </a:lnTo>
                  <a:lnTo>
                    <a:pt x="636" y="368"/>
                  </a:lnTo>
                  <a:lnTo>
                    <a:pt x="643" y="380"/>
                  </a:lnTo>
                  <a:lnTo>
                    <a:pt x="644" y="382"/>
                  </a:lnTo>
                  <a:lnTo>
                    <a:pt x="643" y="384"/>
                  </a:lnTo>
                  <a:lnTo>
                    <a:pt x="642" y="386"/>
                  </a:lnTo>
                  <a:lnTo>
                    <a:pt x="641" y="387"/>
                  </a:lnTo>
                  <a:lnTo>
                    <a:pt x="639" y="387"/>
                  </a:lnTo>
                  <a:lnTo>
                    <a:pt x="637" y="387"/>
                  </a:lnTo>
                  <a:lnTo>
                    <a:pt x="636" y="386"/>
                  </a:lnTo>
                  <a:lnTo>
                    <a:pt x="635" y="385"/>
                  </a:lnTo>
                  <a:lnTo>
                    <a:pt x="629" y="375"/>
                  </a:lnTo>
                  <a:lnTo>
                    <a:pt x="624" y="367"/>
                  </a:lnTo>
                  <a:lnTo>
                    <a:pt x="618" y="359"/>
                  </a:lnTo>
                  <a:lnTo>
                    <a:pt x="614" y="355"/>
                  </a:lnTo>
                  <a:lnTo>
                    <a:pt x="611" y="352"/>
                  </a:lnTo>
                  <a:lnTo>
                    <a:pt x="604" y="345"/>
                  </a:lnTo>
                  <a:lnTo>
                    <a:pt x="596" y="340"/>
                  </a:lnTo>
                  <a:lnTo>
                    <a:pt x="587" y="335"/>
                  </a:lnTo>
                  <a:lnTo>
                    <a:pt x="577" y="330"/>
                  </a:lnTo>
                  <a:lnTo>
                    <a:pt x="561" y="324"/>
                  </a:lnTo>
                  <a:lnTo>
                    <a:pt x="553" y="320"/>
                  </a:lnTo>
                  <a:lnTo>
                    <a:pt x="545" y="316"/>
                  </a:lnTo>
                  <a:lnTo>
                    <a:pt x="520" y="302"/>
                  </a:lnTo>
                  <a:lnTo>
                    <a:pt x="498" y="288"/>
                  </a:lnTo>
                  <a:lnTo>
                    <a:pt x="612" y="404"/>
                  </a:lnTo>
                  <a:lnTo>
                    <a:pt x="613" y="406"/>
                  </a:lnTo>
                  <a:lnTo>
                    <a:pt x="613" y="407"/>
                  </a:lnTo>
                  <a:lnTo>
                    <a:pt x="613" y="409"/>
                  </a:lnTo>
                  <a:lnTo>
                    <a:pt x="612" y="411"/>
                  </a:lnTo>
                  <a:lnTo>
                    <a:pt x="610" y="412"/>
                  </a:lnTo>
                  <a:lnTo>
                    <a:pt x="609" y="412"/>
                  </a:lnTo>
                  <a:lnTo>
                    <a:pt x="607" y="412"/>
                  </a:lnTo>
                  <a:lnTo>
                    <a:pt x="605" y="411"/>
                  </a:lnTo>
                  <a:lnTo>
                    <a:pt x="515" y="319"/>
                  </a:lnTo>
                  <a:lnTo>
                    <a:pt x="585" y="403"/>
                  </a:lnTo>
                  <a:lnTo>
                    <a:pt x="586" y="405"/>
                  </a:lnTo>
                  <a:lnTo>
                    <a:pt x="586" y="407"/>
                  </a:lnTo>
                  <a:lnTo>
                    <a:pt x="586" y="409"/>
                  </a:lnTo>
                  <a:lnTo>
                    <a:pt x="584" y="410"/>
                  </a:lnTo>
                  <a:lnTo>
                    <a:pt x="583" y="411"/>
                  </a:lnTo>
                  <a:lnTo>
                    <a:pt x="581" y="411"/>
                  </a:lnTo>
                  <a:lnTo>
                    <a:pt x="579" y="411"/>
                  </a:lnTo>
                  <a:lnTo>
                    <a:pt x="578" y="409"/>
                  </a:lnTo>
                  <a:lnTo>
                    <a:pt x="456" y="263"/>
                  </a:lnTo>
                  <a:lnTo>
                    <a:pt x="519" y="407"/>
                  </a:lnTo>
                  <a:lnTo>
                    <a:pt x="519" y="410"/>
                  </a:lnTo>
                  <a:lnTo>
                    <a:pt x="519" y="411"/>
                  </a:lnTo>
                  <a:lnTo>
                    <a:pt x="518" y="413"/>
                  </a:lnTo>
                  <a:lnTo>
                    <a:pt x="516" y="414"/>
                  </a:lnTo>
                  <a:lnTo>
                    <a:pt x="515" y="414"/>
                  </a:lnTo>
                  <a:lnTo>
                    <a:pt x="513" y="414"/>
                  </a:lnTo>
                  <a:lnTo>
                    <a:pt x="511" y="413"/>
                  </a:lnTo>
                  <a:lnTo>
                    <a:pt x="510" y="411"/>
                  </a:lnTo>
                  <a:lnTo>
                    <a:pt x="450" y="272"/>
                  </a:lnTo>
                  <a:lnTo>
                    <a:pt x="461" y="366"/>
                  </a:lnTo>
                  <a:lnTo>
                    <a:pt x="461" y="368"/>
                  </a:lnTo>
                  <a:lnTo>
                    <a:pt x="460" y="369"/>
                  </a:lnTo>
                  <a:lnTo>
                    <a:pt x="458" y="370"/>
                  </a:lnTo>
                  <a:lnTo>
                    <a:pt x="457" y="371"/>
                  </a:lnTo>
                  <a:lnTo>
                    <a:pt x="455" y="371"/>
                  </a:lnTo>
                  <a:lnTo>
                    <a:pt x="454" y="371"/>
                  </a:lnTo>
                  <a:lnTo>
                    <a:pt x="453" y="370"/>
                  </a:lnTo>
                  <a:lnTo>
                    <a:pt x="452" y="369"/>
                  </a:lnTo>
                  <a:lnTo>
                    <a:pt x="451" y="367"/>
                  </a:lnTo>
                  <a:lnTo>
                    <a:pt x="444" y="301"/>
                  </a:lnTo>
                  <a:lnTo>
                    <a:pt x="442" y="369"/>
                  </a:lnTo>
                  <a:lnTo>
                    <a:pt x="442" y="371"/>
                  </a:lnTo>
                  <a:lnTo>
                    <a:pt x="441" y="373"/>
                  </a:lnTo>
                  <a:lnTo>
                    <a:pt x="439" y="373"/>
                  </a:lnTo>
                  <a:lnTo>
                    <a:pt x="437" y="374"/>
                  </a:lnTo>
                  <a:lnTo>
                    <a:pt x="436" y="373"/>
                  </a:lnTo>
                  <a:lnTo>
                    <a:pt x="434" y="372"/>
                  </a:lnTo>
                  <a:lnTo>
                    <a:pt x="433" y="371"/>
                  </a:lnTo>
                  <a:lnTo>
                    <a:pt x="433" y="370"/>
                  </a:lnTo>
                  <a:lnTo>
                    <a:pt x="433" y="369"/>
                  </a:lnTo>
                  <a:lnTo>
                    <a:pt x="43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8" name="Freeform 1956"/>
            <p:cNvSpPr>
              <a:spLocks noEditPoints="1"/>
            </p:cNvSpPr>
            <p:nvPr userDrawn="1"/>
          </p:nvSpPr>
          <p:spPr bwMode="auto">
            <a:xfrm>
              <a:off x="6311900" y="3792538"/>
              <a:ext cx="1062038" cy="923925"/>
            </a:xfrm>
            <a:custGeom>
              <a:avLst/>
              <a:gdLst>
                <a:gd name="T0" fmla="*/ 148 w 669"/>
                <a:gd name="T1" fmla="*/ 232 h 582"/>
                <a:gd name="T2" fmla="*/ 594 w 669"/>
                <a:gd name="T3" fmla="*/ 543 h 582"/>
                <a:gd name="T4" fmla="*/ 587 w 669"/>
                <a:gd name="T5" fmla="*/ 553 h 582"/>
                <a:gd name="T6" fmla="*/ 555 w 669"/>
                <a:gd name="T7" fmla="*/ 508 h 582"/>
                <a:gd name="T8" fmla="*/ 622 w 669"/>
                <a:gd name="T9" fmla="*/ 540 h 582"/>
                <a:gd name="T10" fmla="*/ 568 w 669"/>
                <a:gd name="T11" fmla="*/ 512 h 582"/>
                <a:gd name="T12" fmla="*/ 284 w 669"/>
                <a:gd name="T13" fmla="*/ 308 h 582"/>
                <a:gd name="T14" fmla="*/ 409 w 669"/>
                <a:gd name="T15" fmla="*/ 415 h 582"/>
                <a:gd name="T16" fmla="*/ 556 w 669"/>
                <a:gd name="T17" fmla="*/ 499 h 582"/>
                <a:gd name="T18" fmla="*/ 619 w 669"/>
                <a:gd name="T19" fmla="*/ 526 h 582"/>
                <a:gd name="T20" fmla="*/ 669 w 669"/>
                <a:gd name="T21" fmla="*/ 576 h 582"/>
                <a:gd name="T22" fmla="*/ 645 w 669"/>
                <a:gd name="T23" fmla="*/ 581 h 582"/>
                <a:gd name="T24" fmla="*/ 587 w 669"/>
                <a:gd name="T25" fmla="*/ 564 h 582"/>
                <a:gd name="T26" fmla="*/ 539 w 669"/>
                <a:gd name="T27" fmla="*/ 518 h 582"/>
                <a:gd name="T28" fmla="*/ 403 w 669"/>
                <a:gd name="T29" fmla="*/ 422 h 582"/>
                <a:gd name="T30" fmla="*/ 277 w 669"/>
                <a:gd name="T31" fmla="*/ 314 h 582"/>
                <a:gd name="T32" fmla="*/ 78 w 669"/>
                <a:gd name="T33" fmla="*/ 386 h 582"/>
                <a:gd name="T34" fmla="*/ 74 w 669"/>
                <a:gd name="T35" fmla="*/ 378 h 582"/>
                <a:gd name="T36" fmla="*/ 112 w 669"/>
                <a:gd name="T37" fmla="*/ 322 h 582"/>
                <a:gd name="T38" fmla="*/ 60 w 669"/>
                <a:gd name="T39" fmla="*/ 364 h 582"/>
                <a:gd name="T40" fmla="*/ 90 w 669"/>
                <a:gd name="T41" fmla="*/ 328 h 582"/>
                <a:gd name="T42" fmla="*/ 36 w 669"/>
                <a:gd name="T43" fmla="*/ 330 h 582"/>
                <a:gd name="T44" fmla="*/ 32 w 669"/>
                <a:gd name="T45" fmla="*/ 322 h 582"/>
                <a:gd name="T46" fmla="*/ 124 w 669"/>
                <a:gd name="T47" fmla="*/ 266 h 582"/>
                <a:gd name="T48" fmla="*/ 41 w 669"/>
                <a:gd name="T49" fmla="*/ 292 h 582"/>
                <a:gd name="T50" fmla="*/ 1 w 669"/>
                <a:gd name="T51" fmla="*/ 307 h 582"/>
                <a:gd name="T52" fmla="*/ 51 w 669"/>
                <a:gd name="T53" fmla="*/ 278 h 582"/>
                <a:gd name="T54" fmla="*/ 86 w 669"/>
                <a:gd name="T55" fmla="*/ 246 h 582"/>
                <a:gd name="T56" fmla="*/ 57 w 669"/>
                <a:gd name="T57" fmla="*/ 257 h 582"/>
                <a:gd name="T58" fmla="*/ 13 w 669"/>
                <a:gd name="T59" fmla="*/ 241 h 582"/>
                <a:gd name="T60" fmla="*/ 15 w 669"/>
                <a:gd name="T61" fmla="*/ 232 h 582"/>
                <a:gd name="T62" fmla="*/ 150 w 669"/>
                <a:gd name="T63" fmla="*/ 222 h 582"/>
                <a:gd name="T64" fmla="*/ 87 w 669"/>
                <a:gd name="T65" fmla="*/ 106 h 582"/>
                <a:gd name="T66" fmla="*/ 92 w 669"/>
                <a:gd name="T67" fmla="*/ 98 h 582"/>
                <a:gd name="T68" fmla="*/ 196 w 669"/>
                <a:gd name="T69" fmla="*/ 172 h 582"/>
                <a:gd name="T70" fmla="*/ 146 w 669"/>
                <a:gd name="T71" fmla="*/ 93 h 582"/>
                <a:gd name="T72" fmla="*/ 108 w 669"/>
                <a:gd name="T73" fmla="*/ 48 h 582"/>
                <a:gd name="T74" fmla="*/ 135 w 669"/>
                <a:gd name="T75" fmla="*/ 66 h 582"/>
                <a:gd name="T76" fmla="*/ 190 w 669"/>
                <a:gd name="T77" fmla="*/ 140 h 582"/>
                <a:gd name="T78" fmla="*/ 229 w 669"/>
                <a:gd name="T79" fmla="*/ 197 h 582"/>
                <a:gd name="T80" fmla="*/ 224 w 669"/>
                <a:gd name="T81" fmla="*/ 89 h 582"/>
                <a:gd name="T82" fmla="*/ 204 w 669"/>
                <a:gd name="T83" fmla="*/ 5 h 582"/>
                <a:gd name="T84" fmla="*/ 220 w 669"/>
                <a:gd name="T85" fmla="*/ 29 h 582"/>
                <a:gd name="T86" fmla="*/ 239 w 669"/>
                <a:gd name="T87" fmla="*/ 145 h 582"/>
                <a:gd name="T88" fmla="*/ 244 w 669"/>
                <a:gd name="T89" fmla="*/ 98 h 582"/>
                <a:gd name="T90" fmla="*/ 230 w 669"/>
                <a:gd name="T91" fmla="*/ 2 h 582"/>
                <a:gd name="T92" fmla="*/ 242 w 669"/>
                <a:gd name="T93" fmla="*/ 14 h 582"/>
                <a:gd name="T94" fmla="*/ 254 w 669"/>
                <a:gd name="T95" fmla="*/ 107 h 582"/>
                <a:gd name="T96" fmla="*/ 260 w 669"/>
                <a:gd name="T97" fmla="*/ 152 h 582"/>
                <a:gd name="T98" fmla="*/ 273 w 669"/>
                <a:gd name="T99" fmla="*/ 79 h 582"/>
                <a:gd name="T100" fmla="*/ 311 w 669"/>
                <a:gd name="T101" fmla="*/ 14 h 582"/>
                <a:gd name="T102" fmla="*/ 319 w 669"/>
                <a:gd name="T103" fmla="*/ 19 h 582"/>
                <a:gd name="T104" fmla="*/ 285 w 669"/>
                <a:gd name="T105" fmla="*/ 71 h 582"/>
                <a:gd name="T106" fmla="*/ 272 w 669"/>
                <a:gd name="T107" fmla="*/ 147 h 582"/>
                <a:gd name="T108" fmla="*/ 347 w 669"/>
                <a:gd name="T109" fmla="*/ 35 h 582"/>
                <a:gd name="T110" fmla="*/ 349 w 669"/>
                <a:gd name="T111" fmla="*/ 63 h 582"/>
                <a:gd name="T112" fmla="*/ 358 w 669"/>
                <a:gd name="T113" fmla="*/ 67 h 582"/>
                <a:gd name="T114" fmla="*/ 378 w 669"/>
                <a:gd name="T115" fmla="*/ 126 h 582"/>
                <a:gd name="T116" fmla="*/ 349 w 669"/>
                <a:gd name="T117" fmla="*/ 192 h 582"/>
                <a:gd name="T118" fmla="*/ 351 w 669"/>
                <a:gd name="T119" fmla="*/ 202 h 582"/>
                <a:gd name="T120" fmla="*/ 362 w 669"/>
                <a:gd name="T121" fmla="*/ 21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9" h="582">
                  <a:moveTo>
                    <a:pt x="205" y="243"/>
                  </a:moveTo>
                  <a:lnTo>
                    <a:pt x="196" y="239"/>
                  </a:lnTo>
                  <a:lnTo>
                    <a:pt x="186" y="236"/>
                  </a:lnTo>
                  <a:lnTo>
                    <a:pt x="177" y="234"/>
                  </a:lnTo>
                  <a:lnTo>
                    <a:pt x="167" y="233"/>
                  </a:lnTo>
                  <a:lnTo>
                    <a:pt x="157" y="232"/>
                  </a:lnTo>
                  <a:lnTo>
                    <a:pt x="148" y="232"/>
                  </a:lnTo>
                  <a:lnTo>
                    <a:pt x="137" y="233"/>
                  </a:lnTo>
                  <a:lnTo>
                    <a:pt x="127" y="234"/>
                  </a:lnTo>
                  <a:lnTo>
                    <a:pt x="117" y="235"/>
                  </a:lnTo>
                  <a:lnTo>
                    <a:pt x="109" y="237"/>
                  </a:lnTo>
                  <a:lnTo>
                    <a:pt x="205" y="243"/>
                  </a:lnTo>
                  <a:close/>
                  <a:moveTo>
                    <a:pt x="644" y="572"/>
                  </a:moveTo>
                  <a:lnTo>
                    <a:pt x="594" y="543"/>
                  </a:lnTo>
                  <a:lnTo>
                    <a:pt x="548" y="515"/>
                  </a:lnTo>
                  <a:lnTo>
                    <a:pt x="553" y="522"/>
                  </a:lnTo>
                  <a:lnTo>
                    <a:pt x="558" y="528"/>
                  </a:lnTo>
                  <a:lnTo>
                    <a:pt x="564" y="535"/>
                  </a:lnTo>
                  <a:lnTo>
                    <a:pt x="571" y="541"/>
                  </a:lnTo>
                  <a:lnTo>
                    <a:pt x="579" y="547"/>
                  </a:lnTo>
                  <a:lnTo>
                    <a:pt x="587" y="553"/>
                  </a:lnTo>
                  <a:lnTo>
                    <a:pt x="596" y="557"/>
                  </a:lnTo>
                  <a:lnTo>
                    <a:pt x="605" y="562"/>
                  </a:lnTo>
                  <a:lnTo>
                    <a:pt x="615" y="565"/>
                  </a:lnTo>
                  <a:lnTo>
                    <a:pt x="625" y="568"/>
                  </a:lnTo>
                  <a:lnTo>
                    <a:pt x="634" y="571"/>
                  </a:lnTo>
                  <a:lnTo>
                    <a:pt x="644" y="572"/>
                  </a:lnTo>
                  <a:close/>
                  <a:moveTo>
                    <a:pt x="555" y="508"/>
                  </a:moveTo>
                  <a:lnTo>
                    <a:pt x="599" y="535"/>
                  </a:lnTo>
                  <a:lnTo>
                    <a:pt x="647" y="563"/>
                  </a:lnTo>
                  <a:lnTo>
                    <a:pt x="642" y="558"/>
                  </a:lnTo>
                  <a:lnTo>
                    <a:pt x="638" y="553"/>
                  </a:lnTo>
                  <a:lnTo>
                    <a:pt x="633" y="549"/>
                  </a:lnTo>
                  <a:lnTo>
                    <a:pt x="628" y="544"/>
                  </a:lnTo>
                  <a:lnTo>
                    <a:pt x="622" y="540"/>
                  </a:lnTo>
                  <a:lnTo>
                    <a:pt x="617" y="536"/>
                  </a:lnTo>
                  <a:lnTo>
                    <a:pt x="611" y="532"/>
                  </a:lnTo>
                  <a:lnTo>
                    <a:pt x="605" y="528"/>
                  </a:lnTo>
                  <a:lnTo>
                    <a:pt x="593" y="522"/>
                  </a:lnTo>
                  <a:lnTo>
                    <a:pt x="587" y="519"/>
                  </a:lnTo>
                  <a:lnTo>
                    <a:pt x="581" y="516"/>
                  </a:lnTo>
                  <a:lnTo>
                    <a:pt x="568" y="512"/>
                  </a:lnTo>
                  <a:lnTo>
                    <a:pt x="561" y="510"/>
                  </a:lnTo>
                  <a:lnTo>
                    <a:pt x="555" y="508"/>
                  </a:lnTo>
                  <a:close/>
                  <a:moveTo>
                    <a:pt x="236" y="251"/>
                  </a:moveTo>
                  <a:lnTo>
                    <a:pt x="251" y="271"/>
                  </a:lnTo>
                  <a:lnTo>
                    <a:pt x="259" y="281"/>
                  </a:lnTo>
                  <a:lnTo>
                    <a:pt x="268" y="290"/>
                  </a:lnTo>
                  <a:lnTo>
                    <a:pt x="284" y="308"/>
                  </a:lnTo>
                  <a:lnTo>
                    <a:pt x="301" y="325"/>
                  </a:lnTo>
                  <a:lnTo>
                    <a:pt x="319" y="342"/>
                  </a:lnTo>
                  <a:lnTo>
                    <a:pt x="337" y="358"/>
                  </a:lnTo>
                  <a:lnTo>
                    <a:pt x="356" y="374"/>
                  </a:lnTo>
                  <a:lnTo>
                    <a:pt x="376" y="390"/>
                  </a:lnTo>
                  <a:lnTo>
                    <a:pt x="393" y="403"/>
                  </a:lnTo>
                  <a:lnTo>
                    <a:pt x="409" y="415"/>
                  </a:lnTo>
                  <a:lnTo>
                    <a:pt x="424" y="425"/>
                  </a:lnTo>
                  <a:lnTo>
                    <a:pt x="439" y="434"/>
                  </a:lnTo>
                  <a:lnTo>
                    <a:pt x="469" y="453"/>
                  </a:lnTo>
                  <a:lnTo>
                    <a:pt x="503" y="476"/>
                  </a:lnTo>
                  <a:lnTo>
                    <a:pt x="536" y="496"/>
                  </a:lnTo>
                  <a:lnTo>
                    <a:pt x="546" y="497"/>
                  </a:lnTo>
                  <a:lnTo>
                    <a:pt x="556" y="499"/>
                  </a:lnTo>
                  <a:lnTo>
                    <a:pt x="566" y="501"/>
                  </a:lnTo>
                  <a:lnTo>
                    <a:pt x="575" y="504"/>
                  </a:lnTo>
                  <a:lnTo>
                    <a:pt x="584" y="508"/>
                  </a:lnTo>
                  <a:lnTo>
                    <a:pt x="594" y="511"/>
                  </a:lnTo>
                  <a:lnTo>
                    <a:pt x="603" y="516"/>
                  </a:lnTo>
                  <a:lnTo>
                    <a:pt x="611" y="521"/>
                  </a:lnTo>
                  <a:lnTo>
                    <a:pt x="619" y="526"/>
                  </a:lnTo>
                  <a:lnTo>
                    <a:pt x="627" y="532"/>
                  </a:lnTo>
                  <a:lnTo>
                    <a:pt x="635" y="538"/>
                  </a:lnTo>
                  <a:lnTo>
                    <a:pt x="642" y="545"/>
                  </a:lnTo>
                  <a:lnTo>
                    <a:pt x="649" y="552"/>
                  </a:lnTo>
                  <a:lnTo>
                    <a:pt x="657" y="560"/>
                  </a:lnTo>
                  <a:lnTo>
                    <a:pt x="663" y="568"/>
                  </a:lnTo>
                  <a:lnTo>
                    <a:pt x="669" y="576"/>
                  </a:lnTo>
                  <a:lnTo>
                    <a:pt x="669" y="578"/>
                  </a:lnTo>
                  <a:lnTo>
                    <a:pt x="668" y="580"/>
                  </a:lnTo>
                  <a:lnTo>
                    <a:pt x="667" y="582"/>
                  </a:lnTo>
                  <a:lnTo>
                    <a:pt x="666" y="582"/>
                  </a:lnTo>
                  <a:lnTo>
                    <a:pt x="659" y="582"/>
                  </a:lnTo>
                  <a:lnTo>
                    <a:pt x="651" y="582"/>
                  </a:lnTo>
                  <a:lnTo>
                    <a:pt x="645" y="581"/>
                  </a:lnTo>
                  <a:lnTo>
                    <a:pt x="638" y="580"/>
                  </a:lnTo>
                  <a:lnTo>
                    <a:pt x="625" y="578"/>
                  </a:lnTo>
                  <a:lnTo>
                    <a:pt x="618" y="576"/>
                  </a:lnTo>
                  <a:lnTo>
                    <a:pt x="612" y="574"/>
                  </a:lnTo>
                  <a:lnTo>
                    <a:pt x="599" y="569"/>
                  </a:lnTo>
                  <a:lnTo>
                    <a:pt x="593" y="567"/>
                  </a:lnTo>
                  <a:lnTo>
                    <a:pt x="587" y="564"/>
                  </a:lnTo>
                  <a:lnTo>
                    <a:pt x="576" y="557"/>
                  </a:lnTo>
                  <a:lnTo>
                    <a:pt x="570" y="553"/>
                  </a:lnTo>
                  <a:lnTo>
                    <a:pt x="565" y="548"/>
                  </a:lnTo>
                  <a:lnTo>
                    <a:pt x="554" y="539"/>
                  </a:lnTo>
                  <a:lnTo>
                    <a:pt x="550" y="534"/>
                  </a:lnTo>
                  <a:lnTo>
                    <a:pt x="546" y="529"/>
                  </a:lnTo>
                  <a:lnTo>
                    <a:pt x="539" y="518"/>
                  </a:lnTo>
                  <a:lnTo>
                    <a:pt x="535" y="512"/>
                  </a:lnTo>
                  <a:lnTo>
                    <a:pt x="532" y="505"/>
                  </a:lnTo>
                  <a:lnTo>
                    <a:pt x="498" y="484"/>
                  </a:lnTo>
                  <a:lnTo>
                    <a:pt x="464" y="461"/>
                  </a:lnTo>
                  <a:lnTo>
                    <a:pt x="433" y="442"/>
                  </a:lnTo>
                  <a:lnTo>
                    <a:pt x="418" y="433"/>
                  </a:lnTo>
                  <a:lnTo>
                    <a:pt x="403" y="422"/>
                  </a:lnTo>
                  <a:lnTo>
                    <a:pt x="388" y="411"/>
                  </a:lnTo>
                  <a:lnTo>
                    <a:pt x="371" y="398"/>
                  </a:lnTo>
                  <a:lnTo>
                    <a:pt x="350" y="382"/>
                  </a:lnTo>
                  <a:lnTo>
                    <a:pt x="331" y="365"/>
                  </a:lnTo>
                  <a:lnTo>
                    <a:pt x="312" y="349"/>
                  </a:lnTo>
                  <a:lnTo>
                    <a:pt x="294" y="332"/>
                  </a:lnTo>
                  <a:lnTo>
                    <a:pt x="277" y="314"/>
                  </a:lnTo>
                  <a:lnTo>
                    <a:pt x="261" y="296"/>
                  </a:lnTo>
                  <a:lnTo>
                    <a:pt x="244" y="277"/>
                  </a:lnTo>
                  <a:lnTo>
                    <a:pt x="236" y="267"/>
                  </a:lnTo>
                  <a:lnTo>
                    <a:pt x="228" y="257"/>
                  </a:lnTo>
                  <a:lnTo>
                    <a:pt x="225" y="258"/>
                  </a:lnTo>
                  <a:lnTo>
                    <a:pt x="80" y="385"/>
                  </a:lnTo>
                  <a:lnTo>
                    <a:pt x="78" y="386"/>
                  </a:lnTo>
                  <a:lnTo>
                    <a:pt x="76" y="386"/>
                  </a:lnTo>
                  <a:lnTo>
                    <a:pt x="75" y="386"/>
                  </a:lnTo>
                  <a:lnTo>
                    <a:pt x="73" y="385"/>
                  </a:lnTo>
                  <a:lnTo>
                    <a:pt x="72" y="383"/>
                  </a:lnTo>
                  <a:lnTo>
                    <a:pt x="72" y="382"/>
                  </a:lnTo>
                  <a:lnTo>
                    <a:pt x="72" y="380"/>
                  </a:lnTo>
                  <a:lnTo>
                    <a:pt x="74" y="378"/>
                  </a:lnTo>
                  <a:lnTo>
                    <a:pt x="198" y="270"/>
                  </a:lnTo>
                  <a:lnTo>
                    <a:pt x="180" y="279"/>
                  </a:lnTo>
                  <a:lnTo>
                    <a:pt x="171" y="283"/>
                  </a:lnTo>
                  <a:lnTo>
                    <a:pt x="162" y="288"/>
                  </a:lnTo>
                  <a:lnTo>
                    <a:pt x="145" y="299"/>
                  </a:lnTo>
                  <a:lnTo>
                    <a:pt x="128" y="310"/>
                  </a:lnTo>
                  <a:lnTo>
                    <a:pt x="112" y="322"/>
                  </a:lnTo>
                  <a:lnTo>
                    <a:pt x="96" y="335"/>
                  </a:lnTo>
                  <a:lnTo>
                    <a:pt x="81" y="349"/>
                  </a:lnTo>
                  <a:lnTo>
                    <a:pt x="67" y="363"/>
                  </a:lnTo>
                  <a:lnTo>
                    <a:pt x="65" y="364"/>
                  </a:lnTo>
                  <a:lnTo>
                    <a:pt x="64" y="365"/>
                  </a:lnTo>
                  <a:lnTo>
                    <a:pt x="62" y="364"/>
                  </a:lnTo>
                  <a:lnTo>
                    <a:pt x="60" y="364"/>
                  </a:lnTo>
                  <a:lnTo>
                    <a:pt x="59" y="362"/>
                  </a:lnTo>
                  <a:lnTo>
                    <a:pt x="59" y="360"/>
                  </a:lnTo>
                  <a:lnTo>
                    <a:pt x="59" y="359"/>
                  </a:lnTo>
                  <a:lnTo>
                    <a:pt x="60" y="357"/>
                  </a:lnTo>
                  <a:lnTo>
                    <a:pt x="70" y="347"/>
                  </a:lnTo>
                  <a:lnTo>
                    <a:pt x="80" y="337"/>
                  </a:lnTo>
                  <a:lnTo>
                    <a:pt x="90" y="328"/>
                  </a:lnTo>
                  <a:lnTo>
                    <a:pt x="100" y="319"/>
                  </a:lnTo>
                  <a:lnTo>
                    <a:pt x="111" y="310"/>
                  </a:lnTo>
                  <a:lnTo>
                    <a:pt x="122" y="302"/>
                  </a:lnTo>
                  <a:lnTo>
                    <a:pt x="134" y="295"/>
                  </a:lnTo>
                  <a:lnTo>
                    <a:pt x="145" y="287"/>
                  </a:lnTo>
                  <a:lnTo>
                    <a:pt x="37" y="329"/>
                  </a:lnTo>
                  <a:lnTo>
                    <a:pt x="36" y="330"/>
                  </a:lnTo>
                  <a:lnTo>
                    <a:pt x="35" y="330"/>
                  </a:lnTo>
                  <a:lnTo>
                    <a:pt x="33" y="329"/>
                  </a:lnTo>
                  <a:lnTo>
                    <a:pt x="32" y="328"/>
                  </a:lnTo>
                  <a:lnTo>
                    <a:pt x="31" y="327"/>
                  </a:lnTo>
                  <a:lnTo>
                    <a:pt x="30" y="325"/>
                  </a:lnTo>
                  <a:lnTo>
                    <a:pt x="31" y="323"/>
                  </a:lnTo>
                  <a:lnTo>
                    <a:pt x="32" y="322"/>
                  </a:lnTo>
                  <a:lnTo>
                    <a:pt x="33" y="320"/>
                  </a:lnTo>
                  <a:lnTo>
                    <a:pt x="198" y="256"/>
                  </a:lnTo>
                  <a:lnTo>
                    <a:pt x="173" y="258"/>
                  </a:lnTo>
                  <a:lnTo>
                    <a:pt x="161" y="260"/>
                  </a:lnTo>
                  <a:lnTo>
                    <a:pt x="148" y="261"/>
                  </a:lnTo>
                  <a:lnTo>
                    <a:pt x="136" y="264"/>
                  </a:lnTo>
                  <a:lnTo>
                    <a:pt x="124" y="266"/>
                  </a:lnTo>
                  <a:lnTo>
                    <a:pt x="112" y="269"/>
                  </a:lnTo>
                  <a:lnTo>
                    <a:pt x="100" y="272"/>
                  </a:lnTo>
                  <a:lnTo>
                    <a:pt x="88" y="275"/>
                  </a:lnTo>
                  <a:lnTo>
                    <a:pt x="76" y="279"/>
                  </a:lnTo>
                  <a:lnTo>
                    <a:pt x="64" y="283"/>
                  </a:lnTo>
                  <a:lnTo>
                    <a:pt x="53" y="287"/>
                  </a:lnTo>
                  <a:lnTo>
                    <a:pt x="41" y="292"/>
                  </a:lnTo>
                  <a:lnTo>
                    <a:pt x="30" y="297"/>
                  </a:lnTo>
                  <a:lnTo>
                    <a:pt x="18" y="303"/>
                  </a:lnTo>
                  <a:lnTo>
                    <a:pt x="7" y="309"/>
                  </a:lnTo>
                  <a:lnTo>
                    <a:pt x="5" y="310"/>
                  </a:lnTo>
                  <a:lnTo>
                    <a:pt x="3" y="310"/>
                  </a:lnTo>
                  <a:lnTo>
                    <a:pt x="2" y="309"/>
                  </a:lnTo>
                  <a:lnTo>
                    <a:pt x="1" y="307"/>
                  </a:lnTo>
                  <a:lnTo>
                    <a:pt x="0" y="306"/>
                  </a:lnTo>
                  <a:lnTo>
                    <a:pt x="0" y="304"/>
                  </a:lnTo>
                  <a:lnTo>
                    <a:pt x="1" y="302"/>
                  </a:lnTo>
                  <a:lnTo>
                    <a:pt x="3" y="301"/>
                  </a:lnTo>
                  <a:lnTo>
                    <a:pt x="22" y="291"/>
                  </a:lnTo>
                  <a:lnTo>
                    <a:pt x="41" y="282"/>
                  </a:lnTo>
                  <a:lnTo>
                    <a:pt x="51" y="278"/>
                  </a:lnTo>
                  <a:lnTo>
                    <a:pt x="61" y="274"/>
                  </a:lnTo>
                  <a:lnTo>
                    <a:pt x="80" y="267"/>
                  </a:lnTo>
                  <a:lnTo>
                    <a:pt x="100" y="262"/>
                  </a:lnTo>
                  <a:lnTo>
                    <a:pt x="121" y="257"/>
                  </a:lnTo>
                  <a:lnTo>
                    <a:pt x="141" y="253"/>
                  </a:lnTo>
                  <a:lnTo>
                    <a:pt x="162" y="250"/>
                  </a:lnTo>
                  <a:lnTo>
                    <a:pt x="86" y="246"/>
                  </a:lnTo>
                  <a:lnTo>
                    <a:pt x="81" y="248"/>
                  </a:lnTo>
                  <a:lnTo>
                    <a:pt x="75" y="251"/>
                  </a:lnTo>
                  <a:lnTo>
                    <a:pt x="64" y="258"/>
                  </a:lnTo>
                  <a:lnTo>
                    <a:pt x="62" y="259"/>
                  </a:lnTo>
                  <a:lnTo>
                    <a:pt x="60" y="259"/>
                  </a:lnTo>
                  <a:lnTo>
                    <a:pt x="59" y="258"/>
                  </a:lnTo>
                  <a:lnTo>
                    <a:pt x="57" y="257"/>
                  </a:lnTo>
                  <a:lnTo>
                    <a:pt x="57" y="256"/>
                  </a:lnTo>
                  <a:lnTo>
                    <a:pt x="56" y="254"/>
                  </a:lnTo>
                  <a:lnTo>
                    <a:pt x="57" y="252"/>
                  </a:lnTo>
                  <a:lnTo>
                    <a:pt x="59" y="251"/>
                  </a:lnTo>
                  <a:lnTo>
                    <a:pt x="68" y="245"/>
                  </a:lnTo>
                  <a:lnTo>
                    <a:pt x="15" y="241"/>
                  </a:lnTo>
                  <a:lnTo>
                    <a:pt x="13" y="241"/>
                  </a:lnTo>
                  <a:lnTo>
                    <a:pt x="11" y="240"/>
                  </a:lnTo>
                  <a:lnTo>
                    <a:pt x="10" y="238"/>
                  </a:lnTo>
                  <a:lnTo>
                    <a:pt x="10" y="236"/>
                  </a:lnTo>
                  <a:lnTo>
                    <a:pt x="11" y="235"/>
                  </a:lnTo>
                  <a:lnTo>
                    <a:pt x="12" y="233"/>
                  </a:lnTo>
                  <a:lnTo>
                    <a:pt x="13" y="232"/>
                  </a:lnTo>
                  <a:lnTo>
                    <a:pt x="15" y="232"/>
                  </a:lnTo>
                  <a:lnTo>
                    <a:pt x="85" y="236"/>
                  </a:lnTo>
                  <a:lnTo>
                    <a:pt x="95" y="232"/>
                  </a:lnTo>
                  <a:lnTo>
                    <a:pt x="106" y="228"/>
                  </a:lnTo>
                  <a:lnTo>
                    <a:pt x="117" y="226"/>
                  </a:lnTo>
                  <a:lnTo>
                    <a:pt x="128" y="224"/>
                  </a:lnTo>
                  <a:lnTo>
                    <a:pt x="139" y="223"/>
                  </a:lnTo>
                  <a:lnTo>
                    <a:pt x="150" y="222"/>
                  </a:lnTo>
                  <a:lnTo>
                    <a:pt x="161" y="223"/>
                  </a:lnTo>
                  <a:lnTo>
                    <a:pt x="172" y="224"/>
                  </a:lnTo>
                  <a:lnTo>
                    <a:pt x="182" y="226"/>
                  </a:lnTo>
                  <a:lnTo>
                    <a:pt x="190" y="228"/>
                  </a:lnTo>
                  <a:lnTo>
                    <a:pt x="198" y="230"/>
                  </a:lnTo>
                  <a:lnTo>
                    <a:pt x="205" y="232"/>
                  </a:lnTo>
                  <a:lnTo>
                    <a:pt x="87" y="106"/>
                  </a:lnTo>
                  <a:lnTo>
                    <a:pt x="86" y="104"/>
                  </a:lnTo>
                  <a:lnTo>
                    <a:pt x="85" y="102"/>
                  </a:lnTo>
                  <a:lnTo>
                    <a:pt x="86" y="101"/>
                  </a:lnTo>
                  <a:lnTo>
                    <a:pt x="87" y="99"/>
                  </a:lnTo>
                  <a:lnTo>
                    <a:pt x="88" y="98"/>
                  </a:lnTo>
                  <a:lnTo>
                    <a:pt x="90" y="98"/>
                  </a:lnTo>
                  <a:lnTo>
                    <a:pt x="92" y="98"/>
                  </a:lnTo>
                  <a:lnTo>
                    <a:pt x="94" y="100"/>
                  </a:lnTo>
                  <a:lnTo>
                    <a:pt x="220" y="235"/>
                  </a:lnTo>
                  <a:lnTo>
                    <a:pt x="216" y="222"/>
                  </a:lnTo>
                  <a:lnTo>
                    <a:pt x="212" y="209"/>
                  </a:lnTo>
                  <a:lnTo>
                    <a:pt x="207" y="197"/>
                  </a:lnTo>
                  <a:lnTo>
                    <a:pt x="202" y="184"/>
                  </a:lnTo>
                  <a:lnTo>
                    <a:pt x="196" y="172"/>
                  </a:lnTo>
                  <a:lnTo>
                    <a:pt x="190" y="160"/>
                  </a:lnTo>
                  <a:lnTo>
                    <a:pt x="184" y="148"/>
                  </a:lnTo>
                  <a:lnTo>
                    <a:pt x="177" y="137"/>
                  </a:lnTo>
                  <a:lnTo>
                    <a:pt x="170" y="126"/>
                  </a:lnTo>
                  <a:lnTo>
                    <a:pt x="162" y="115"/>
                  </a:lnTo>
                  <a:lnTo>
                    <a:pt x="155" y="104"/>
                  </a:lnTo>
                  <a:lnTo>
                    <a:pt x="146" y="93"/>
                  </a:lnTo>
                  <a:lnTo>
                    <a:pt x="138" y="83"/>
                  </a:lnTo>
                  <a:lnTo>
                    <a:pt x="129" y="73"/>
                  </a:lnTo>
                  <a:lnTo>
                    <a:pt x="119" y="63"/>
                  </a:lnTo>
                  <a:lnTo>
                    <a:pt x="109" y="54"/>
                  </a:lnTo>
                  <a:lnTo>
                    <a:pt x="108" y="52"/>
                  </a:lnTo>
                  <a:lnTo>
                    <a:pt x="107" y="50"/>
                  </a:lnTo>
                  <a:lnTo>
                    <a:pt x="108" y="48"/>
                  </a:lnTo>
                  <a:lnTo>
                    <a:pt x="109" y="47"/>
                  </a:lnTo>
                  <a:lnTo>
                    <a:pt x="110" y="46"/>
                  </a:lnTo>
                  <a:lnTo>
                    <a:pt x="112" y="45"/>
                  </a:lnTo>
                  <a:lnTo>
                    <a:pt x="114" y="46"/>
                  </a:lnTo>
                  <a:lnTo>
                    <a:pt x="116" y="47"/>
                  </a:lnTo>
                  <a:lnTo>
                    <a:pt x="125" y="56"/>
                  </a:lnTo>
                  <a:lnTo>
                    <a:pt x="135" y="66"/>
                  </a:lnTo>
                  <a:lnTo>
                    <a:pt x="144" y="76"/>
                  </a:lnTo>
                  <a:lnTo>
                    <a:pt x="152" y="86"/>
                  </a:lnTo>
                  <a:lnTo>
                    <a:pt x="161" y="96"/>
                  </a:lnTo>
                  <a:lnTo>
                    <a:pt x="169" y="107"/>
                  </a:lnTo>
                  <a:lnTo>
                    <a:pt x="176" y="118"/>
                  </a:lnTo>
                  <a:lnTo>
                    <a:pt x="183" y="129"/>
                  </a:lnTo>
                  <a:lnTo>
                    <a:pt x="190" y="140"/>
                  </a:lnTo>
                  <a:lnTo>
                    <a:pt x="196" y="151"/>
                  </a:lnTo>
                  <a:lnTo>
                    <a:pt x="208" y="175"/>
                  </a:lnTo>
                  <a:lnTo>
                    <a:pt x="213" y="187"/>
                  </a:lnTo>
                  <a:lnTo>
                    <a:pt x="218" y="200"/>
                  </a:lnTo>
                  <a:lnTo>
                    <a:pt x="223" y="212"/>
                  </a:lnTo>
                  <a:lnTo>
                    <a:pt x="227" y="225"/>
                  </a:lnTo>
                  <a:lnTo>
                    <a:pt x="229" y="197"/>
                  </a:lnTo>
                  <a:lnTo>
                    <a:pt x="230" y="170"/>
                  </a:lnTo>
                  <a:lnTo>
                    <a:pt x="230" y="157"/>
                  </a:lnTo>
                  <a:lnTo>
                    <a:pt x="230" y="143"/>
                  </a:lnTo>
                  <a:lnTo>
                    <a:pt x="229" y="130"/>
                  </a:lnTo>
                  <a:lnTo>
                    <a:pt x="228" y="116"/>
                  </a:lnTo>
                  <a:lnTo>
                    <a:pt x="226" y="103"/>
                  </a:lnTo>
                  <a:lnTo>
                    <a:pt x="224" y="89"/>
                  </a:lnTo>
                  <a:lnTo>
                    <a:pt x="222" y="76"/>
                  </a:lnTo>
                  <a:lnTo>
                    <a:pt x="219" y="63"/>
                  </a:lnTo>
                  <a:lnTo>
                    <a:pt x="212" y="36"/>
                  </a:lnTo>
                  <a:lnTo>
                    <a:pt x="208" y="23"/>
                  </a:lnTo>
                  <a:lnTo>
                    <a:pt x="204" y="9"/>
                  </a:lnTo>
                  <a:lnTo>
                    <a:pt x="203" y="7"/>
                  </a:lnTo>
                  <a:lnTo>
                    <a:pt x="204" y="5"/>
                  </a:lnTo>
                  <a:lnTo>
                    <a:pt x="205" y="4"/>
                  </a:lnTo>
                  <a:lnTo>
                    <a:pt x="207" y="3"/>
                  </a:lnTo>
                  <a:lnTo>
                    <a:pt x="208" y="3"/>
                  </a:lnTo>
                  <a:lnTo>
                    <a:pt x="210" y="3"/>
                  </a:lnTo>
                  <a:lnTo>
                    <a:pt x="212" y="4"/>
                  </a:lnTo>
                  <a:lnTo>
                    <a:pt x="213" y="6"/>
                  </a:lnTo>
                  <a:lnTo>
                    <a:pt x="220" y="29"/>
                  </a:lnTo>
                  <a:lnTo>
                    <a:pt x="224" y="41"/>
                  </a:lnTo>
                  <a:lnTo>
                    <a:pt x="226" y="52"/>
                  </a:lnTo>
                  <a:lnTo>
                    <a:pt x="231" y="75"/>
                  </a:lnTo>
                  <a:lnTo>
                    <a:pt x="235" y="98"/>
                  </a:lnTo>
                  <a:lnTo>
                    <a:pt x="237" y="110"/>
                  </a:lnTo>
                  <a:lnTo>
                    <a:pt x="238" y="121"/>
                  </a:lnTo>
                  <a:lnTo>
                    <a:pt x="239" y="145"/>
                  </a:lnTo>
                  <a:lnTo>
                    <a:pt x="240" y="168"/>
                  </a:lnTo>
                  <a:lnTo>
                    <a:pt x="239" y="191"/>
                  </a:lnTo>
                  <a:lnTo>
                    <a:pt x="242" y="168"/>
                  </a:lnTo>
                  <a:lnTo>
                    <a:pt x="244" y="145"/>
                  </a:lnTo>
                  <a:lnTo>
                    <a:pt x="245" y="121"/>
                  </a:lnTo>
                  <a:lnTo>
                    <a:pt x="245" y="110"/>
                  </a:lnTo>
                  <a:lnTo>
                    <a:pt x="244" y="98"/>
                  </a:lnTo>
                  <a:lnTo>
                    <a:pt x="244" y="86"/>
                  </a:lnTo>
                  <a:lnTo>
                    <a:pt x="243" y="75"/>
                  </a:lnTo>
                  <a:lnTo>
                    <a:pt x="240" y="52"/>
                  </a:lnTo>
                  <a:lnTo>
                    <a:pt x="235" y="28"/>
                  </a:lnTo>
                  <a:lnTo>
                    <a:pt x="230" y="6"/>
                  </a:lnTo>
                  <a:lnTo>
                    <a:pt x="230" y="3"/>
                  </a:lnTo>
                  <a:lnTo>
                    <a:pt x="230" y="2"/>
                  </a:lnTo>
                  <a:lnTo>
                    <a:pt x="231" y="0"/>
                  </a:lnTo>
                  <a:lnTo>
                    <a:pt x="233" y="0"/>
                  </a:lnTo>
                  <a:lnTo>
                    <a:pt x="235" y="0"/>
                  </a:lnTo>
                  <a:lnTo>
                    <a:pt x="237" y="0"/>
                  </a:lnTo>
                  <a:lnTo>
                    <a:pt x="238" y="1"/>
                  </a:lnTo>
                  <a:lnTo>
                    <a:pt x="239" y="3"/>
                  </a:lnTo>
                  <a:lnTo>
                    <a:pt x="242" y="14"/>
                  </a:lnTo>
                  <a:lnTo>
                    <a:pt x="244" y="26"/>
                  </a:lnTo>
                  <a:lnTo>
                    <a:pt x="247" y="37"/>
                  </a:lnTo>
                  <a:lnTo>
                    <a:pt x="249" y="49"/>
                  </a:lnTo>
                  <a:lnTo>
                    <a:pt x="252" y="72"/>
                  </a:lnTo>
                  <a:lnTo>
                    <a:pt x="253" y="84"/>
                  </a:lnTo>
                  <a:lnTo>
                    <a:pt x="254" y="95"/>
                  </a:lnTo>
                  <a:lnTo>
                    <a:pt x="254" y="107"/>
                  </a:lnTo>
                  <a:lnTo>
                    <a:pt x="254" y="118"/>
                  </a:lnTo>
                  <a:lnTo>
                    <a:pt x="254" y="142"/>
                  </a:lnTo>
                  <a:lnTo>
                    <a:pt x="252" y="165"/>
                  </a:lnTo>
                  <a:lnTo>
                    <a:pt x="249" y="188"/>
                  </a:lnTo>
                  <a:lnTo>
                    <a:pt x="253" y="176"/>
                  </a:lnTo>
                  <a:lnTo>
                    <a:pt x="257" y="164"/>
                  </a:lnTo>
                  <a:lnTo>
                    <a:pt x="260" y="152"/>
                  </a:lnTo>
                  <a:lnTo>
                    <a:pt x="264" y="140"/>
                  </a:lnTo>
                  <a:lnTo>
                    <a:pt x="266" y="128"/>
                  </a:lnTo>
                  <a:lnTo>
                    <a:pt x="269" y="116"/>
                  </a:lnTo>
                  <a:lnTo>
                    <a:pt x="270" y="103"/>
                  </a:lnTo>
                  <a:lnTo>
                    <a:pt x="272" y="90"/>
                  </a:lnTo>
                  <a:lnTo>
                    <a:pt x="273" y="84"/>
                  </a:lnTo>
                  <a:lnTo>
                    <a:pt x="273" y="79"/>
                  </a:lnTo>
                  <a:lnTo>
                    <a:pt x="276" y="68"/>
                  </a:lnTo>
                  <a:lnTo>
                    <a:pt x="280" y="58"/>
                  </a:lnTo>
                  <a:lnTo>
                    <a:pt x="284" y="48"/>
                  </a:lnTo>
                  <a:lnTo>
                    <a:pt x="289" y="39"/>
                  </a:lnTo>
                  <a:lnTo>
                    <a:pt x="296" y="30"/>
                  </a:lnTo>
                  <a:lnTo>
                    <a:pt x="303" y="22"/>
                  </a:lnTo>
                  <a:lnTo>
                    <a:pt x="311" y="14"/>
                  </a:lnTo>
                  <a:lnTo>
                    <a:pt x="313" y="13"/>
                  </a:lnTo>
                  <a:lnTo>
                    <a:pt x="315" y="12"/>
                  </a:lnTo>
                  <a:lnTo>
                    <a:pt x="316" y="13"/>
                  </a:lnTo>
                  <a:lnTo>
                    <a:pt x="318" y="14"/>
                  </a:lnTo>
                  <a:lnTo>
                    <a:pt x="319" y="16"/>
                  </a:lnTo>
                  <a:lnTo>
                    <a:pt x="319" y="17"/>
                  </a:lnTo>
                  <a:lnTo>
                    <a:pt x="319" y="19"/>
                  </a:lnTo>
                  <a:lnTo>
                    <a:pt x="318" y="21"/>
                  </a:lnTo>
                  <a:lnTo>
                    <a:pt x="310" y="28"/>
                  </a:lnTo>
                  <a:lnTo>
                    <a:pt x="303" y="36"/>
                  </a:lnTo>
                  <a:lnTo>
                    <a:pt x="298" y="44"/>
                  </a:lnTo>
                  <a:lnTo>
                    <a:pt x="293" y="52"/>
                  </a:lnTo>
                  <a:lnTo>
                    <a:pt x="288" y="61"/>
                  </a:lnTo>
                  <a:lnTo>
                    <a:pt x="285" y="71"/>
                  </a:lnTo>
                  <a:lnTo>
                    <a:pt x="283" y="81"/>
                  </a:lnTo>
                  <a:lnTo>
                    <a:pt x="282" y="86"/>
                  </a:lnTo>
                  <a:lnTo>
                    <a:pt x="281" y="91"/>
                  </a:lnTo>
                  <a:lnTo>
                    <a:pt x="278" y="114"/>
                  </a:lnTo>
                  <a:lnTo>
                    <a:pt x="277" y="125"/>
                  </a:lnTo>
                  <a:lnTo>
                    <a:pt x="274" y="136"/>
                  </a:lnTo>
                  <a:lnTo>
                    <a:pt x="272" y="147"/>
                  </a:lnTo>
                  <a:lnTo>
                    <a:pt x="269" y="157"/>
                  </a:lnTo>
                  <a:lnTo>
                    <a:pt x="262" y="179"/>
                  </a:lnTo>
                  <a:lnTo>
                    <a:pt x="342" y="37"/>
                  </a:lnTo>
                  <a:lnTo>
                    <a:pt x="343" y="36"/>
                  </a:lnTo>
                  <a:lnTo>
                    <a:pt x="344" y="36"/>
                  </a:lnTo>
                  <a:lnTo>
                    <a:pt x="345" y="35"/>
                  </a:lnTo>
                  <a:lnTo>
                    <a:pt x="347" y="35"/>
                  </a:lnTo>
                  <a:lnTo>
                    <a:pt x="349" y="36"/>
                  </a:lnTo>
                  <a:lnTo>
                    <a:pt x="350" y="37"/>
                  </a:lnTo>
                  <a:lnTo>
                    <a:pt x="351" y="38"/>
                  </a:lnTo>
                  <a:lnTo>
                    <a:pt x="351" y="40"/>
                  </a:lnTo>
                  <a:lnTo>
                    <a:pt x="351" y="42"/>
                  </a:lnTo>
                  <a:lnTo>
                    <a:pt x="287" y="154"/>
                  </a:lnTo>
                  <a:lnTo>
                    <a:pt x="349" y="63"/>
                  </a:lnTo>
                  <a:lnTo>
                    <a:pt x="351" y="62"/>
                  </a:lnTo>
                  <a:lnTo>
                    <a:pt x="353" y="61"/>
                  </a:lnTo>
                  <a:lnTo>
                    <a:pt x="354" y="61"/>
                  </a:lnTo>
                  <a:lnTo>
                    <a:pt x="356" y="62"/>
                  </a:lnTo>
                  <a:lnTo>
                    <a:pt x="357" y="63"/>
                  </a:lnTo>
                  <a:lnTo>
                    <a:pt x="358" y="65"/>
                  </a:lnTo>
                  <a:lnTo>
                    <a:pt x="358" y="67"/>
                  </a:lnTo>
                  <a:lnTo>
                    <a:pt x="357" y="69"/>
                  </a:lnTo>
                  <a:lnTo>
                    <a:pt x="250" y="226"/>
                  </a:lnTo>
                  <a:lnTo>
                    <a:pt x="371" y="126"/>
                  </a:lnTo>
                  <a:lnTo>
                    <a:pt x="373" y="125"/>
                  </a:lnTo>
                  <a:lnTo>
                    <a:pt x="375" y="125"/>
                  </a:lnTo>
                  <a:lnTo>
                    <a:pt x="377" y="125"/>
                  </a:lnTo>
                  <a:lnTo>
                    <a:pt x="378" y="126"/>
                  </a:lnTo>
                  <a:lnTo>
                    <a:pt x="379" y="128"/>
                  </a:lnTo>
                  <a:lnTo>
                    <a:pt x="379" y="130"/>
                  </a:lnTo>
                  <a:lnTo>
                    <a:pt x="379" y="131"/>
                  </a:lnTo>
                  <a:lnTo>
                    <a:pt x="378" y="133"/>
                  </a:lnTo>
                  <a:lnTo>
                    <a:pt x="261" y="229"/>
                  </a:lnTo>
                  <a:lnTo>
                    <a:pt x="347" y="193"/>
                  </a:lnTo>
                  <a:lnTo>
                    <a:pt x="349" y="192"/>
                  </a:lnTo>
                  <a:lnTo>
                    <a:pt x="351" y="193"/>
                  </a:lnTo>
                  <a:lnTo>
                    <a:pt x="353" y="194"/>
                  </a:lnTo>
                  <a:lnTo>
                    <a:pt x="354" y="195"/>
                  </a:lnTo>
                  <a:lnTo>
                    <a:pt x="354" y="197"/>
                  </a:lnTo>
                  <a:lnTo>
                    <a:pt x="354" y="199"/>
                  </a:lnTo>
                  <a:lnTo>
                    <a:pt x="353" y="201"/>
                  </a:lnTo>
                  <a:lnTo>
                    <a:pt x="351" y="202"/>
                  </a:lnTo>
                  <a:lnTo>
                    <a:pt x="290" y="227"/>
                  </a:lnTo>
                  <a:lnTo>
                    <a:pt x="356" y="210"/>
                  </a:lnTo>
                  <a:lnTo>
                    <a:pt x="358" y="210"/>
                  </a:lnTo>
                  <a:lnTo>
                    <a:pt x="360" y="211"/>
                  </a:lnTo>
                  <a:lnTo>
                    <a:pt x="361" y="212"/>
                  </a:lnTo>
                  <a:lnTo>
                    <a:pt x="361" y="213"/>
                  </a:lnTo>
                  <a:lnTo>
                    <a:pt x="362" y="215"/>
                  </a:lnTo>
                  <a:lnTo>
                    <a:pt x="361" y="217"/>
                  </a:lnTo>
                  <a:lnTo>
                    <a:pt x="360" y="218"/>
                  </a:lnTo>
                  <a:lnTo>
                    <a:pt x="358" y="219"/>
                  </a:lnTo>
                  <a:lnTo>
                    <a:pt x="236"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9" name="Freeform 1957"/>
            <p:cNvSpPr>
              <a:spLocks noEditPoints="1"/>
            </p:cNvSpPr>
            <p:nvPr userDrawn="1"/>
          </p:nvSpPr>
          <p:spPr bwMode="auto">
            <a:xfrm>
              <a:off x="10429678" y="3202657"/>
              <a:ext cx="836613" cy="1104900"/>
            </a:xfrm>
            <a:custGeom>
              <a:avLst/>
              <a:gdLst>
                <a:gd name="T0" fmla="*/ 285 w 527"/>
                <a:gd name="T1" fmla="*/ 138 h 696"/>
                <a:gd name="T2" fmla="*/ 32 w 527"/>
                <a:gd name="T3" fmla="*/ 619 h 696"/>
                <a:gd name="T4" fmla="*/ 22 w 527"/>
                <a:gd name="T5" fmla="*/ 613 h 696"/>
                <a:gd name="T6" fmla="*/ 62 w 527"/>
                <a:gd name="T7" fmla="*/ 576 h 696"/>
                <a:gd name="T8" fmla="*/ 53 w 527"/>
                <a:gd name="T9" fmla="*/ 615 h 696"/>
                <a:gd name="T10" fmla="*/ 242 w 527"/>
                <a:gd name="T11" fmla="*/ 264 h 696"/>
                <a:gd name="T12" fmla="*/ 156 w 527"/>
                <a:gd name="T13" fmla="*/ 384 h 696"/>
                <a:gd name="T14" fmla="*/ 71 w 527"/>
                <a:gd name="T15" fmla="*/ 575 h 696"/>
                <a:gd name="T16" fmla="*/ 52 w 527"/>
                <a:gd name="T17" fmla="*/ 642 h 696"/>
                <a:gd name="T18" fmla="*/ 8 w 527"/>
                <a:gd name="T19" fmla="*/ 696 h 696"/>
                <a:gd name="T20" fmla="*/ 1 w 527"/>
                <a:gd name="T21" fmla="*/ 653 h 696"/>
                <a:gd name="T22" fmla="*/ 32 w 527"/>
                <a:gd name="T23" fmla="*/ 579 h 696"/>
                <a:gd name="T24" fmla="*/ 79 w 527"/>
                <a:gd name="T25" fmla="*/ 516 h 696"/>
                <a:gd name="T26" fmla="*/ 161 w 527"/>
                <a:gd name="T27" fmla="*/ 357 h 696"/>
                <a:gd name="T28" fmla="*/ 261 w 527"/>
                <a:gd name="T29" fmla="*/ 230 h 696"/>
                <a:gd name="T30" fmla="*/ 125 w 527"/>
                <a:gd name="T31" fmla="*/ 83 h 696"/>
                <a:gd name="T32" fmla="*/ 231 w 527"/>
                <a:gd name="T33" fmla="*/ 159 h 696"/>
                <a:gd name="T34" fmla="*/ 145 w 527"/>
                <a:gd name="T35" fmla="*/ 74 h 696"/>
                <a:gd name="T36" fmla="*/ 149 w 527"/>
                <a:gd name="T37" fmla="*/ 65 h 696"/>
                <a:gd name="T38" fmla="*/ 212 w 527"/>
                <a:gd name="T39" fmla="*/ 121 h 696"/>
                <a:gd name="T40" fmla="*/ 177 w 527"/>
                <a:gd name="T41" fmla="*/ 33 h 696"/>
                <a:gd name="T42" fmla="*/ 259 w 527"/>
                <a:gd name="T43" fmla="*/ 154 h 696"/>
                <a:gd name="T44" fmla="*/ 225 w 527"/>
                <a:gd name="T45" fmla="*/ 61 h 696"/>
                <a:gd name="T46" fmla="*/ 191 w 527"/>
                <a:gd name="T47" fmla="*/ 4 h 696"/>
                <a:gd name="T48" fmla="*/ 199 w 527"/>
                <a:gd name="T49" fmla="*/ 2 h 696"/>
                <a:gd name="T50" fmla="*/ 257 w 527"/>
                <a:gd name="T51" fmla="*/ 114 h 696"/>
                <a:gd name="T52" fmla="*/ 248 w 527"/>
                <a:gd name="T53" fmla="*/ 56 h 696"/>
                <a:gd name="T54" fmla="*/ 256 w 527"/>
                <a:gd name="T55" fmla="*/ 52 h 696"/>
                <a:gd name="T56" fmla="*/ 266 w 527"/>
                <a:gd name="T57" fmla="*/ 2 h 696"/>
                <a:gd name="T58" fmla="*/ 288 w 527"/>
                <a:gd name="T59" fmla="*/ 106 h 696"/>
                <a:gd name="T60" fmla="*/ 295 w 527"/>
                <a:gd name="T61" fmla="*/ 179 h 696"/>
                <a:gd name="T62" fmla="*/ 410 w 527"/>
                <a:gd name="T63" fmla="*/ 61 h 696"/>
                <a:gd name="T64" fmla="*/ 316 w 527"/>
                <a:gd name="T65" fmla="*/ 198 h 696"/>
                <a:gd name="T66" fmla="*/ 404 w 527"/>
                <a:gd name="T67" fmla="*/ 138 h 696"/>
                <a:gd name="T68" fmla="*/ 461 w 527"/>
                <a:gd name="T69" fmla="*/ 76 h 696"/>
                <a:gd name="T70" fmla="*/ 457 w 527"/>
                <a:gd name="T71" fmla="*/ 94 h 696"/>
                <a:gd name="T72" fmla="*/ 392 w 527"/>
                <a:gd name="T73" fmla="*/ 160 h 696"/>
                <a:gd name="T74" fmla="*/ 316 w 527"/>
                <a:gd name="T75" fmla="*/ 215 h 696"/>
                <a:gd name="T76" fmla="*/ 436 w 527"/>
                <a:gd name="T77" fmla="*/ 196 h 696"/>
                <a:gd name="T78" fmla="*/ 517 w 527"/>
                <a:gd name="T79" fmla="*/ 166 h 696"/>
                <a:gd name="T80" fmla="*/ 507 w 527"/>
                <a:gd name="T81" fmla="*/ 180 h 696"/>
                <a:gd name="T82" fmla="*/ 383 w 527"/>
                <a:gd name="T83" fmla="*/ 218 h 696"/>
                <a:gd name="T84" fmla="*/ 430 w 527"/>
                <a:gd name="T85" fmla="*/ 217 h 696"/>
                <a:gd name="T86" fmla="*/ 524 w 527"/>
                <a:gd name="T87" fmla="*/ 192 h 696"/>
                <a:gd name="T88" fmla="*/ 513 w 527"/>
                <a:gd name="T89" fmla="*/ 205 h 696"/>
                <a:gd name="T90" fmla="*/ 411 w 527"/>
                <a:gd name="T91" fmla="*/ 230 h 696"/>
                <a:gd name="T92" fmla="*/ 391 w 527"/>
                <a:gd name="T93" fmla="*/ 242 h 696"/>
                <a:gd name="T94" fmla="*/ 474 w 527"/>
                <a:gd name="T95" fmla="*/ 247 h 696"/>
                <a:gd name="T96" fmla="*/ 524 w 527"/>
                <a:gd name="T97" fmla="*/ 277 h 696"/>
                <a:gd name="T98" fmla="*/ 507 w 527"/>
                <a:gd name="T99" fmla="*/ 274 h 696"/>
                <a:gd name="T100" fmla="*/ 442 w 527"/>
                <a:gd name="T101" fmla="*/ 253 h 696"/>
                <a:gd name="T102" fmla="*/ 505 w 527"/>
                <a:gd name="T103" fmla="*/ 310 h 696"/>
                <a:gd name="T104" fmla="*/ 499 w 527"/>
                <a:gd name="T105" fmla="*/ 316 h 696"/>
                <a:gd name="T106" fmla="*/ 478 w 527"/>
                <a:gd name="T107" fmla="*/ 325 h 696"/>
                <a:gd name="T108" fmla="*/ 420 w 527"/>
                <a:gd name="T109" fmla="*/ 350 h 696"/>
                <a:gd name="T110" fmla="*/ 412 w 527"/>
                <a:gd name="T111" fmla="*/ 354 h 696"/>
                <a:gd name="T112" fmla="*/ 345 w 527"/>
                <a:gd name="T113" fmla="*/ 338 h 696"/>
                <a:gd name="T114" fmla="*/ 332 w 527"/>
                <a:gd name="T115" fmla="*/ 345 h 696"/>
                <a:gd name="T116" fmla="*/ 277 w 527"/>
                <a:gd name="T117" fmla="*/ 22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7" h="696">
                  <a:moveTo>
                    <a:pt x="281" y="196"/>
                  </a:moveTo>
                  <a:lnTo>
                    <a:pt x="284" y="186"/>
                  </a:lnTo>
                  <a:lnTo>
                    <a:pt x="286" y="177"/>
                  </a:lnTo>
                  <a:lnTo>
                    <a:pt x="287" y="167"/>
                  </a:lnTo>
                  <a:lnTo>
                    <a:pt x="287" y="157"/>
                  </a:lnTo>
                  <a:lnTo>
                    <a:pt x="286" y="148"/>
                  </a:lnTo>
                  <a:lnTo>
                    <a:pt x="285" y="138"/>
                  </a:lnTo>
                  <a:lnTo>
                    <a:pt x="284" y="128"/>
                  </a:lnTo>
                  <a:lnTo>
                    <a:pt x="281" y="118"/>
                  </a:lnTo>
                  <a:lnTo>
                    <a:pt x="278" y="108"/>
                  </a:lnTo>
                  <a:lnTo>
                    <a:pt x="275" y="100"/>
                  </a:lnTo>
                  <a:lnTo>
                    <a:pt x="281" y="196"/>
                  </a:lnTo>
                  <a:close/>
                  <a:moveTo>
                    <a:pt x="9" y="672"/>
                  </a:moveTo>
                  <a:lnTo>
                    <a:pt x="32" y="619"/>
                  </a:lnTo>
                  <a:lnTo>
                    <a:pt x="54" y="570"/>
                  </a:lnTo>
                  <a:lnTo>
                    <a:pt x="48" y="575"/>
                  </a:lnTo>
                  <a:lnTo>
                    <a:pt x="42" y="581"/>
                  </a:lnTo>
                  <a:lnTo>
                    <a:pt x="37" y="588"/>
                  </a:lnTo>
                  <a:lnTo>
                    <a:pt x="31" y="596"/>
                  </a:lnTo>
                  <a:lnTo>
                    <a:pt x="26" y="604"/>
                  </a:lnTo>
                  <a:lnTo>
                    <a:pt x="22" y="613"/>
                  </a:lnTo>
                  <a:lnTo>
                    <a:pt x="18" y="622"/>
                  </a:lnTo>
                  <a:lnTo>
                    <a:pt x="15" y="632"/>
                  </a:lnTo>
                  <a:lnTo>
                    <a:pt x="12" y="642"/>
                  </a:lnTo>
                  <a:lnTo>
                    <a:pt x="11" y="652"/>
                  </a:lnTo>
                  <a:lnTo>
                    <a:pt x="9" y="662"/>
                  </a:lnTo>
                  <a:lnTo>
                    <a:pt x="9" y="672"/>
                  </a:lnTo>
                  <a:close/>
                  <a:moveTo>
                    <a:pt x="62" y="576"/>
                  </a:moveTo>
                  <a:lnTo>
                    <a:pt x="40" y="623"/>
                  </a:lnTo>
                  <a:lnTo>
                    <a:pt x="19" y="673"/>
                  </a:lnTo>
                  <a:lnTo>
                    <a:pt x="27" y="663"/>
                  </a:lnTo>
                  <a:lnTo>
                    <a:pt x="35" y="652"/>
                  </a:lnTo>
                  <a:lnTo>
                    <a:pt x="42" y="640"/>
                  </a:lnTo>
                  <a:lnTo>
                    <a:pt x="48" y="628"/>
                  </a:lnTo>
                  <a:lnTo>
                    <a:pt x="53" y="615"/>
                  </a:lnTo>
                  <a:lnTo>
                    <a:pt x="57" y="602"/>
                  </a:lnTo>
                  <a:lnTo>
                    <a:pt x="60" y="589"/>
                  </a:lnTo>
                  <a:lnTo>
                    <a:pt x="62" y="576"/>
                  </a:lnTo>
                  <a:close/>
                  <a:moveTo>
                    <a:pt x="277" y="227"/>
                  </a:moveTo>
                  <a:lnTo>
                    <a:pt x="268" y="237"/>
                  </a:lnTo>
                  <a:lnTo>
                    <a:pt x="259" y="246"/>
                  </a:lnTo>
                  <a:lnTo>
                    <a:pt x="242" y="264"/>
                  </a:lnTo>
                  <a:lnTo>
                    <a:pt x="227" y="282"/>
                  </a:lnTo>
                  <a:lnTo>
                    <a:pt x="219" y="292"/>
                  </a:lnTo>
                  <a:lnTo>
                    <a:pt x="212" y="301"/>
                  </a:lnTo>
                  <a:lnTo>
                    <a:pt x="197" y="321"/>
                  </a:lnTo>
                  <a:lnTo>
                    <a:pt x="183" y="341"/>
                  </a:lnTo>
                  <a:lnTo>
                    <a:pt x="169" y="362"/>
                  </a:lnTo>
                  <a:lnTo>
                    <a:pt x="156" y="384"/>
                  </a:lnTo>
                  <a:lnTo>
                    <a:pt x="145" y="402"/>
                  </a:lnTo>
                  <a:lnTo>
                    <a:pt x="136" y="419"/>
                  </a:lnTo>
                  <a:lnTo>
                    <a:pt x="120" y="451"/>
                  </a:lnTo>
                  <a:lnTo>
                    <a:pt x="88" y="521"/>
                  </a:lnTo>
                  <a:lnTo>
                    <a:pt x="71" y="555"/>
                  </a:lnTo>
                  <a:lnTo>
                    <a:pt x="71" y="565"/>
                  </a:lnTo>
                  <a:lnTo>
                    <a:pt x="71" y="575"/>
                  </a:lnTo>
                  <a:lnTo>
                    <a:pt x="70" y="585"/>
                  </a:lnTo>
                  <a:lnTo>
                    <a:pt x="68" y="595"/>
                  </a:lnTo>
                  <a:lnTo>
                    <a:pt x="66" y="605"/>
                  </a:lnTo>
                  <a:lnTo>
                    <a:pt x="63" y="614"/>
                  </a:lnTo>
                  <a:lnTo>
                    <a:pt x="60" y="624"/>
                  </a:lnTo>
                  <a:lnTo>
                    <a:pt x="56" y="633"/>
                  </a:lnTo>
                  <a:lnTo>
                    <a:pt x="52" y="642"/>
                  </a:lnTo>
                  <a:lnTo>
                    <a:pt x="47" y="650"/>
                  </a:lnTo>
                  <a:lnTo>
                    <a:pt x="42" y="659"/>
                  </a:lnTo>
                  <a:lnTo>
                    <a:pt x="36" y="667"/>
                  </a:lnTo>
                  <a:lnTo>
                    <a:pt x="30" y="675"/>
                  </a:lnTo>
                  <a:lnTo>
                    <a:pt x="23" y="682"/>
                  </a:lnTo>
                  <a:lnTo>
                    <a:pt x="16" y="689"/>
                  </a:lnTo>
                  <a:lnTo>
                    <a:pt x="8" y="696"/>
                  </a:lnTo>
                  <a:lnTo>
                    <a:pt x="6" y="696"/>
                  </a:lnTo>
                  <a:lnTo>
                    <a:pt x="4" y="696"/>
                  </a:lnTo>
                  <a:lnTo>
                    <a:pt x="3" y="695"/>
                  </a:lnTo>
                  <a:lnTo>
                    <a:pt x="1" y="693"/>
                  </a:lnTo>
                  <a:lnTo>
                    <a:pt x="0" y="680"/>
                  </a:lnTo>
                  <a:lnTo>
                    <a:pt x="0" y="667"/>
                  </a:lnTo>
                  <a:lnTo>
                    <a:pt x="1" y="653"/>
                  </a:lnTo>
                  <a:lnTo>
                    <a:pt x="3" y="640"/>
                  </a:lnTo>
                  <a:lnTo>
                    <a:pt x="6" y="627"/>
                  </a:lnTo>
                  <a:lnTo>
                    <a:pt x="11" y="614"/>
                  </a:lnTo>
                  <a:lnTo>
                    <a:pt x="16" y="602"/>
                  </a:lnTo>
                  <a:lnTo>
                    <a:pt x="20" y="596"/>
                  </a:lnTo>
                  <a:lnTo>
                    <a:pt x="23" y="591"/>
                  </a:lnTo>
                  <a:lnTo>
                    <a:pt x="32" y="579"/>
                  </a:lnTo>
                  <a:lnTo>
                    <a:pt x="36" y="574"/>
                  </a:lnTo>
                  <a:lnTo>
                    <a:pt x="40" y="569"/>
                  </a:lnTo>
                  <a:lnTo>
                    <a:pt x="45" y="565"/>
                  </a:lnTo>
                  <a:lnTo>
                    <a:pt x="50" y="561"/>
                  </a:lnTo>
                  <a:lnTo>
                    <a:pt x="56" y="557"/>
                  </a:lnTo>
                  <a:lnTo>
                    <a:pt x="62" y="553"/>
                  </a:lnTo>
                  <a:lnTo>
                    <a:pt x="79" y="516"/>
                  </a:lnTo>
                  <a:lnTo>
                    <a:pt x="96" y="479"/>
                  </a:lnTo>
                  <a:lnTo>
                    <a:pt x="111" y="447"/>
                  </a:lnTo>
                  <a:lnTo>
                    <a:pt x="119" y="431"/>
                  </a:lnTo>
                  <a:lnTo>
                    <a:pt x="128" y="415"/>
                  </a:lnTo>
                  <a:lnTo>
                    <a:pt x="137" y="398"/>
                  </a:lnTo>
                  <a:lnTo>
                    <a:pt x="148" y="379"/>
                  </a:lnTo>
                  <a:lnTo>
                    <a:pt x="161" y="357"/>
                  </a:lnTo>
                  <a:lnTo>
                    <a:pt x="175" y="336"/>
                  </a:lnTo>
                  <a:lnTo>
                    <a:pt x="189" y="315"/>
                  </a:lnTo>
                  <a:lnTo>
                    <a:pt x="204" y="296"/>
                  </a:lnTo>
                  <a:lnTo>
                    <a:pt x="219" y="276"/>
                  </a:lnTo>
                  <a:lnTo>
                    <a:pt x="235" y="258"/>
                  </a:lnTo>
                  <a:lnTo>
                    <a:pt x="252" y="239"/>
                  </a:lnTo>
                  <a:lnTo>
                    <a:pt x="261" y="230"/>
                  </a:lnTo>
                  <a:lnTo>
                    <a:pt x="270" y="221"/>
                  </a:lnTo>
                  <a:lnTo>
                    <a:pt x="269" y="218"/>
                  </a:lnTo>
                  <a:lnTo>
                    <a:pt x="125" y="89"/>
                  </a:lnTo>
                  <a:lnTo>
                    <a:pt x="124" y="88"/>
                  </a:lnTo>
                  <a:lnTo>
                    <a:pt x="123" y="86"/>
                  </a:lnTo>
                  <a:lnTo>
                    <a:pt x="124" y="84"/>
                  </a:lnTo>
                  <a:lnTo>
                    <a:pt x="125" y="83"/>
                  </a:lnTo>
                  <a:lnTo>
                    <a:pt x="126" y="81"/>
                  </a:lnTo>
                  <a:lnTo>
                    <a:pt x="128" y="81"/>
                  </a:lnTo>
                  <a:lnTo>
                    <a:pt x="129" y="81"/>
                  </a:lnTo>
                  <a:lnTo>
                    <a:pt x="131" y="82"/>
                  </a:lnTo>
                  <a:lnTo>
                    <a:pt x="254" y="192"/>
                  </a:lnTo>
                  <a:lnTo>
                    <a:pt x="243" y="175"/>
                  </a:lnTo>
                  <a:lnTo>
                    <a:pt x="231" y="159"/>
                  </a:lnTo>
                  <a:lnTo>
                    <a:pt x="225" y="151"/>
                  </a:lnTo>
                  <a:lnTo>
                    <a:pt x="219" y="143"/>
                  </a:lnTo>
                  <a:lnTo>
                    <a:pt x="205" y="128"/>
                  </a:lnTo>
                  <a:lnTo>
                    <a:pt x="192" y="113"/>
                  </a:lnTo>
                  <a:lnTo>
                    <a:pt x="177" y="99"/>
                  </a:lnTo>
                  <a:lnTo>
                    <a:pt x="161" y="86"/>
                  </a:lnTo>
                  <a:lnTo>
                    <a:pt x="145" y="74"/>
                  </a:lnTo>
                  <a:lnTo>
                    <a:pt x="144" y="72"/>
                  </a:lnTo>
                  <a:lnTo>
                    <a:pt x="143" y="71"/>
                  </a:lnTo>
                  <a:lnTo>
                    <a:pt x="143" y="69"/>
                  </a:lnTo>
                  <a:lnTo>
                    <a:pt x="144" y="67"/>
                  </a:lnTo>
                  <a:lnTo>
                    <a:pt x="145" y="66"/>
                  </a:lnTo>
                  <a:lnTo>
                    <a:pt x="147" y="65"/>
                  </a:lnTo>
                  <a:lnTo>
                    <a:pt x="149" y="65"/>
                  </a:lnTo>
                  <a:lnTo>
                    <a:pt x="151" y="66"/>
                  </a:lnTo>
                  <a:lnTo>
                    <a:pt x="162" y="74"/>
                  </a:lnTo>
                  <a:lnTo>
                    <a:pt x="173" y="83"/>
                  </a:lnTo>
                  <a:lnTo>
                    <a:pt x="183" y="92"/>
                  </a:lnTo>
                  <a:lnTo>
                    <a:pt x="193" y="101"/>
                  </a:lnTo>
                  <a:lnTo>
                    <a:pt x="203" y="111"/>
                  </a:lnTo>
                  <a:lnTo>
                    <a:pt x="212" y="121"/>
                  </a:lnTo>
                  <a:lnTo>
                    <a:pt x="222" y="131"/>
                  </a:lnTo>
                  <a:lnTo>
                    <a:pt x="230" y="142"/>
                  </a:lnTo>
                  <a:lnTo>
                    <a:pt x="175" y="40"/>
                  </a:lnTo>
                  <a:lnTo>
                    <a:pt x="175" y="38"/>
                  </a:lnTo>
                  <a:lnTo>
                    <a:pt x="175" y="36"/>
                  </a:lnTo>
                  <a:lnTo>
                    <a:pt x="176" y="34"/>
                  </a:lnTo>
                  <a:lnTo>
                    <a:pt x="177" y="33"/>
                  </a:lnTo>
                  <a:lnTo>
                    <a:pt x="179" y="33"/>
                  </a:lnTo>
                  <a:lnTo>
                    <a:pt x="181" y="33"/>
                  </a:lnTo>
                  <a:lnTo>
                    <a:pt x="182" y="34"/>
                  </a:lnTo>
                  <a:lnTo>
                    <a:pt x="184" y="35"/>
                  </a:lnTo>
                  <a:lnTo>
                    <a:pt x="267" y="191"/>
                  </a:lnTo>
                  <a:lnTo>
                    <a:pt x="262" y="166"/>
                  </a:lnTo>
                  <a:lnTo>
                    <a:pt x="259" y="154"/>
                  </a:lnTo>
                  <a:lnTo>
                    <a:pt x="256" y="142"/>
                  </a:lnTo>
                  <a:lnTo>
                    <a:pt x="249" y="118"/>
                  </a:lnTo>
                  <a:lnTo>
                    <a:pt x="245" y="107"/>
                  </a:lnTo>
                  <a:lnTo>
                    <a:pt x="240" y="95"/>
                  </a:lnTo>
                  <a:lnTo>
                    <a:pt x="235" y="84"/>
                  </a:lnTo>
                  <a:lnTo>
                    <a:pt x="230" y="72"/>
                  </a:lnTo>
                  <a:lnTo>
                    <a:pt x="225" y="61"/>
                  </a:lnTo>
                  <a:lnTo>
                    <a:pt x="219" y="50"/>
                  </a:lnTo>
                  <a:lnTo>
                    <a:pt x="213" y="40"/>
                  </a:lnTo>
                  <a:lnTo>
                    <a:pt x="206" y="29"/>
                  </a:lnTo>
                  <a:lnTo>
                    <a:pt x="199" y="18"/>
                  </a:lnTo>
                  <a:lnTo>
                    <a:pt x="192" y="8"/>
                  </a:lnTo>
                  <a:lnTo>
                    <a:pt x="191" y="6"/>
                  </a:lnTo>
                  <a:lnTo>
                    <a:pt x="191" y="4"/>
                  </a:lnTo>
                  <a:lnTo>
                    <a:pt x="191" y="3"/>
                  </a:lnTo>
                  <a:lnTo>
                    <a:pt x="191" y="2"/>
                  </a:lnTo>
                  <a:lnTo>
                    <a:pt x="193" y="1"/>
                  </a:lnTo>
                  <a:lnTo>
                    <a:pt x="194" y="0"/>
                  </a:lnTo>
                  <a:lnTo>
                    <a:pt x="196" y="0"/>
                  </a:lnTo>
                  <a:lnTo>
                    <a:pt x="198" y="1"/>
                  </a:lnTo>
                  <a:lnTo>
                    <a:pt x="199" y="2"/>
                  </a:lnTo>
                  <a:lnTo>
                    <a:pt x="211" y="20"/>
                  </a:lnTo>
                  <a:lnTo>
                    <a:pt x="223" y="38"/>
                  </a:lnTo>
                  <a:lnTo>
                    <a:pt x="233" y="56"/>
                  </a:lnTo>
                  <a:lnTo>
                    <a:pt x="242" y="75"/>
                  </a:lnTo>
                  <a:lnTo>
                    <a:pt x="246" y="85"/>
                  </a:lnTo>
                  <a:lnTo>
                    <a:pt x="250" y="94"/>
                  </a:lnTo>
                  <a:lnTo>
                    <a:pt x="257" y="114"/>
                  </a:lnTo>
                  <a:lnTo>
                    <a:pt x="261" y="124"/>
                  </a:lnTo>
                  <a:lnTo>
                    <a:pt x="264" y="134"/>
                  </a:lnTo>
                  <a:lnTo>
                    <a:pt x="269" y="154"/>
                  </a:lnTo>
                  <a:lnTo>
                    <a:pt x="264" y="78"/>
                  </a:lnTo>
                  <a:lnTo>
                    <a:pt x="257" y="68"/>
                  </a:lnTo>
                  <a:lnTo>
                    <a:pt x="249" y="58"/>
                  </a:lnTo>
                  <a:lnTo>
                    <a:pt x="248" y="56"/>
                  </a:lnTo>
                  <a:lnTo>
                    <a:pt x="248" y="54"/>
                  </a:lnTo>
                  <a:lnTo>
                    <a:pt x="248" y="53"/>
                  </a:lnTo>
                  <a:lnTo>
                    <a:pt x="249" y="51"/>
                  </a:lnTo>
                  <a:lnTo>
                    <a:pt x="251" y="50"/>
                  </a:lnTo>
                  <a:lnTo>
                    <a:pt x="253" y="50"/>
                  </a:lnTo>
                  <a:lnTo>
                    <a:pt x="254" y="50"/>
                  </a:lnTo>
                  <a:lnTo>
                    <a:pt x="256" y="52"/>
                  </a:lnTo>
                  <a:lnTo>
                    <a:pt x="263" y="60"/>
                  </a:lnTo>
                  <a:lnTo>
                    <a:pt x="260" y="7"/>
                  </a:lnTo>
                  <a:lnTo>
                    <a:pt x="260" y="5"/>
                  </a:lnTo>
                  <a:lnTo>
                    <a:pt x="261" y="3"/>
                  </a:lnTo>
                  <a:lnTo>
                    <a:pt x="262" y="2"/>
                  </a:lnTo>
                  <a:lnTo>
                    <a:pt x="264" y="2"/>
                  </a:lnTo>
                  <a:lnTo>
                    <a:pt x="266" y="2"/>
                  </a:lnTo>
                  <a:lnTo>
                    <a:pt x="268" y="3"/>
                  </a:lnTo>
                  <a:lnTo>
                    <a:pt x="269" y="4"/>
                  </a:lnTo>
                  <a:lnTo>
                    <a:pt x="269" y="6"/>
                  </a:lnTo>
                  <a:lnTo>
                    <a:pt x="274" y="76"/>
                  </a:lnTo>
                  <a:lnTo>
                    <a:pt x="279" y="86"/>
                  </a:lnTo>
                  <a:lnTo>
                    <a:pt x="284" y="96"/>
                  </a:lnTo>
                  <a:lnTo>
                    <a:pt x="288" y="106"/>
                  </a:lnTo>
                  <a:lnTo>
                    <a:pt x="291" y="117"/>
                  </a:lnTo>
                  <a:lnTo>
                    <a:pt x="293" y="128"/>
                  </a:lnTo>
                  <a:lnTo>
                    <a:pt x="295" y="139"/>
                  </a:lnTo>
                  <a:lnTo>
                    <a:pt x="296" y="150"/>
                  </a:lnTo>
                  <a:lnTo>
                    <a:pt x="296" y="161"/>
                  </a:lnTo>
                  <a:lnTo>
                    <a:pt x="296" y="171"/>
                  </a:lnTo>
                  <a:lnTo>
                    <a:pt x="295" y="179"/>
                  </a:lnTo>
                  <a:lnTo>
                    <a:pt x="294" y="187"/>
                  </a:lnTo>
                  <a:lnTo>
                    <a:pt x="292" y="195"/>
                  </a:lnTo>
                  <a:lnTo>
                    <a:pt x="403" y="62"/>
                  </a:lnTo>
                  <a:lnTo>
                    <a:pt x="405" y="61"/>
                  </a:lnTo>
                  <a:lnTo>
                    <a:pt x="406" y="60"/>
                  </a:lnTo>
                  <a:lnTo>
                    <a:pt x="408" y="61"/>
                  </a:lnTo>
                  <a:lnTo>
                    <a:pt x="410" y="61"/>
                  </a:lnTo>
                  <a:lnTo>
                    <a:pt x="411" y="63"/>
                  </a:lnTo>
                  <a:lnTo>
                    <a:pt x="411" y="64"/>
                  </a:lnTo>
                  <a:lnTo>
                    <a:pt x="411" y="66"/>
                  </a:lnTo>
                  <a:lnTo>
                    <a:pt x="410" y="68"/>
                  </a:lnTo>
                  <a:lnTo>
                    <a:pt x="291" y="210"/>
                  </a:lnTo>
                  <a:lnTo>
                    <a:pt x="304" y="204"/>
                  </a:lnTo>
                  <a:lnTo>
                    <a:pt x="316" y="198"/>
                  </a:lnTo>
                  <a:lnTo>
                    <a:pt x="339" y="185"/>
                  </a:lnTo>
                  <a:lnTo>
                    <a:pt x="351" y="178"/>
                  </a:lnTo>
                  <a:lnTo>
                    <a:pt x="362" y="171"/>
                  </a:lnTo>
                  <a:lnTo>
                    <a:pt x="373" y="163"/>
                  </a:lnTo>
                  <a:lnTo>
                    <a:pt x="383" y="155"/>
                  </a:lnTo>
                  <a:lnTo>
                    <a:pt x="394" y="147"/>
                  </a:lnTo>
                  <a:lnTo>
                    <a:pt x="404" y="138"/>
                  </a:lnTo>
                  <a:lnTo>
                    <a:pt x="423" y="120"/>
                  </a:lnTo>
                  <a:lnTo>
                    <a:pt x="432" y="110"/>
                  </a:lnTo>
                  <a:lnTo>
                    <a:pt x="441" y="99"/>
                  </a:lnTo>
                  <a:lnTo>
                    <a:pt x="449" y="89"/>
                  </a:lnTo>
                  <a:lnTo>
                    <a:pt x="458" y="78"/>
                  </a:lnTo>
                  <a:lnTo>
                    <a:pt x="459" y="76"/>
                  </a:lnTo>
                  <a:lnTo>
                    <a:pt x="461" y="76"/>
                  </a:lnTo>
                  <a:lnTo>
                    <a:pt x="463" y="76"/>
                  </a:lnTo>
                  <a:lnTo>
                    <a:pt x="464" y="77"/>
                  </a:lnTo>
                  <a:lnTo>
                    <a:pt x="466" y="78"/>
                  </a:lnTo>
                  <a:lnTo>
                    <a:pt x="466" y="80"/>
                  </a:lnTo>
                  <a:lnTo>
                    <a:pt x="466" y="81"/>
                  </a:lnTo>
                  <a:lnTo>
                    <a:pt x="465" y="83"/>
                  </a:lnTo>
                  <a:lnTo>
                    <a:pt x="457" y="94"/>
                  </a:lnTo>
                  <a:lnTo>
                    <a:pt x="449" y="105"/>
                  </a:lnTo>
                  <a:lnTo>
                    <a:pt x="440" y="115"/>
                  </a:lnTo>
                  <a:lnTo>
                    <a:pt x="431" y="125"/>
                  </a:lnTo>
                  <a:lnTo>
                    <a:pt x="422" y="134"/>
                  </a:lnTo>
                  <a:lnTo>
                    <a:pt x="412" y="143"/>
                  </a:lnTo>
                  <a:lnTo>
                    <a:pt x="402" y="152"/>
                  </a:lnTo>
                  <a:lnTo>
                    <a:pt x="392" y="160"/>
                  </a:lnTo>
                  <a:lnTo>
                    <a:pt x="382" y="168"/>
                  </a:lnTo>
                  <a:lnTo>
                    <a:pt x="371" y="176"/>
                  </a:lnTo>
                  <a:lnTo>
                    <a:pt x="349" y="191"/>
                  </a:lnTo>
                  <a:lnTo>
                    <a:pt x="326" y="204"/>
                  </a:lnTo>
                  <a:lnTo>
                    <a:pt x="314" y="210"/>
                  </a:lnTo>
                  <a:lnTo>
                    <a:pt x="302" y="216"/>
                  </a:lnTo>
                  <a:lnTo>
                    <a:pt x="316" y="215"/>
                  </a:lnTo>
                  <a:lnTo>
                    <a:pt x="330" y="215"/>
                  </a:lnTo>
                  <a:lnTo>
                    <a:pt x="343" y="213"/>
                  </a:lnTo>
                  <a:lnTo>
                    <a:pt x="357" y="212"/>
                  </a:lnTo>
                  <a:lnTo>
                    <a:pt x="370" y="210"/>
                  </a:lnTo>
                  <a:lnTo>
                    <a:pt x="384" y="208"/>
                  </a:lnTo>
                  <a:lnTo>
                    <a:pt x="410" y="203"/>
                  </a:lnTo>
                  <a:lnTo>
                    <a:pt x="436" y="196"/>
                  </a:lnTo>
                  <a:lnTo>
                    <a:pt x="462" y="188"/>
                  </a:lnTo>
                  <a:lnTo>
                    <a:pt x="475" y="183"/>
                  </a:lnTo>
                  <a:lnTo>
                    <a:pt x="488" y="178"/>
                  </a:lnTo>
                  <a:lnTo>
                    <a:pt x="500" y="172"/>
                  </a:lnTo>
                  <a:lnTo>
                    <a:pt x="513" y="166"/>
                  </a:lnTo>
                  <a:lnTo>
                    <a:pt x="515" y="166"/>
                  </a:lnTo>
                  <a:lnTo>
                    <a:pt x="517" y="166"/>
                  </a:lnTo>
                  <a:lnTo>
                    <a:pt x="519" y="167"/>
                  </a:lnTo>
                  <a:lnTo>
                    <a:pt x="520" y="168"/>
                  </a:lnTo>
                  <a:lnTo>
                    <a:pt x="520" y="170"/>
                  </a:lnTo>
                  <a:lnTo>
                    <a:pt x="520" y="172"/>
                  </a:lnTo>
                  <a:lnTo>
                    <a:pt x="519" y="173"/>
                  </a:lnTo>
                  <a:lnTo>
                    <a:pt x="517" y="175"/>
                  </a:lnTo>
                  <a:lnTo>
                    <a:pt x="507" y="180"/>
                  </a:lnTo>
                  <a:lnTo>
                    <a:pt x="496" y="185"/>
                  </a:lnTo>
                  <a:lnTo>
                    <a:pt x="473" y="194"/>
                  </a:lnTo>
                  <a:lnTo>
                    <a:pt x="451" y="202"/>
                  </a:lnTo>
                  <a:lnTo>
                    <a:pt x="440" y="205"/>
                  </a:lnTo>
                  <a:lnTo>
                    <a:pt x="429" y="208"/>
                  </a:lnTo>
                  <a:lnTo>
                    <a:pt x="406" y="214"/>
                  </a:lnTo>
                  <a:lnTo>
                    <a:pt x="383" y="218"/>
                  </a:lnTo>
                  <a:lnTo>
                    <a:pt x="360" y="221"/>
                  </a:lnTo>
                  <a:lnTo>
                    <a:pt x="337" y="224"/>
                  </a:lnTo>
                  <a:lnTo>
                    <a:pt x="360" y="224"/>
                  </a:lnTo>
                  <a:lnTo>
                    <a:pt x="372" y="223"/>
                  </a:lnTo>
                  <a:lnTo>
                    <a:pt x="384" y="223"/>
                  </a:lnTo>
                  <a:lnTo>
                    <a:pt x="407" y="221"/>
                  </a:lnTo>
                  <a:lnTo>
                    <a:pt x="430" y="217"/>
                  </a:lnTo>
                  <a:lnTo>
                    <a:pt x="453" y="213"/>
                  </a:lnTo>
                  <a:lnTo>
                    <a:pt x="476" y="207"/>
                  </a:lnTo>
                  <a:lnTo>
                    <a:pt x="498" y="200"/>
                  </a:lnTo>
                  <a:lnTo>
                    <a:pt x="509" y="196"/>
                  </a:lnTo>
                  <a:lnTo>
                    <a:pt x="520" y="192"/>
                  </a:lnTo>
                  <a:lnTo>
                    <a:pt x="522" y="191"/>
                  </a:lnTo>
                  <a:lnTo>
                    <a:pt x="524" y="192"/>
                  </a:lnTo>
                  <a:lnTo>
                    <a:pt x="525" y="193"/>
                  </a:lnTo>
                  <a:lnTo>
                    <a:pt x="526" y="194"/>
                  </a:lnTo>
                  <a:lnTo>
                    <a:pt x="527" y="196"/>
                  </a:lnTo>
                  <a:lnTo>
                    <a:pt x="526" y="198"/>
                  </a:lnTo>
                  <a:lnTo>
                    <a:pt x="525" y="199"/>
                  </a:lnTo>
                  <a:lnTo>
                    <a:pt x="524" y="200"/>
                  </a:lnTo>
                  <a:lnTo>
                    <a:pt x="513" y="205"/>
                  </a:lnTo>
                  <a:lnTo>
                    <a:pt x="502" y="209"/>
                  </a:lnTo>
                  <a:lnTo>
                    <a:pt x="491" y="212"/>
                  </a:lnTo>
                  <a:lnTo>
                    <a:pt x="479" y="216"/>
                  </a:lnTo>
                  <a:lnTo>
                    <a:pt x="468" y="219"/>
                  </a:lnTo>
                  <a:lnTo>
                    <a:pt x="457" y="222"/>
                  </a:lnTo>
                  <a:lnTo>
                    <a:pt x="434" y="226"/>
                  </a:lnTo>
                  <a:lnTo>
                    <a:pt x="411" y="230"/>
                  </a:lnTo>
                  <a:lnTo>
                    <a:pt x="388" y="232"/>
                  </a:lnTo>
                  <a:lnTo>
                    <a:pt x="376" y="233"/>
                  </a:lnTo>
                  <a:lnTo>
                    <a:pt x="365" y="233"/>
                  </a:lnTo>
                  <a:lnTo>
                    <a:pt x="341" y="233"/>
                  </a:lnTo>
                  <a:lnTo>
                    <a:pt x="366" y="238"/>
                  </a:lnTo>
                  <a:lnTo>
                    <a:pt x="378" y="240"/>
                  </a:lnTo>
                  <a:lnTo>
                    <a:pt x="391" y="242"/>
                  </a:lnTo>
                  <a:lnTo>
                    <a:pt x="403" y="243"/>
                  </a:lnTo>
                  <a:lnTo>
                    <a:pt x="416" y="244"/>
                  </a:lnTo>
                  <a:lnTo>
                    <a:pt x="428" y="244"/>
                  </a:lnTo>
                  <a:lnTo>
                    <a:pt x="441" y="244"/>
                  </a:lnTo>
                  <a:lnTo>
                    <a:pt x="453" y="244"/>
                  </a:lnTo>
                  <a:lnTo>
                    <a:pt x="464" y="245"/>
                  </a:lnTo>
                  <a:lnTo>
                    <a:pt x="474" y="247"/>
                  </a:lnTo>
                  <a:lnTo>
                    <a:pt x="484" y="251"/>
                  </a:lnTo>
                  <a:lnTo>
                    <a:pt x="494" y="255"/>
                  </a:lnTo>
                  <a:lnTo>
                    <a:pt x="504" y="260"/>
                  </a:lnTo>
                  <a:lnTo>
                    <a:pt x="513" y="266"/>
                  </a:lnTo>
                  <a:lnTo>
                    <a:pt x="522" y="273"/>
                  </a:lnTo>
                  <a:lnTo>
                    <a:pt x="523" y="275"/>
                  </a:lnTo>
                  <a:lnTo>
                    <a:pt x="524" y="277"/>
                  </a:lnTo>
                  <a:lnTo>
                    <a:pt x="523" y="279"/>
                  </a:lnTo>
                  <a:lnTo>
                    <a:pt x="522" y="280"/>
                  </a:lnTo>
                  <a:lnTo>
                    <a:pt x="521" y="281"/>
                  </a:lnTo>
                  <a:lnTo>
                    <a:pt x="519" y="282"/>
                  </a:lnTo>
                  <a:lnTo>
                    <a:pt x="518" y="282"/>
                  </a:lnTo>
                  <a:lnTo>
                    <a:pt x="516" y="281"/>
                  </a:lnTo>
                  <a:lnTo>
                    <a:pt x="507" y="274"/>
                  </a:lnTo>
                  <a:lnTo>
                    <a:pt x="499" y="269"/>
                  </a:lnTo>
                  <a:lnTo>
                    <a:pt x="490" y="264"/>
                  </a:lnTo>
                  <a:lnTo>
                    <a:pt x="481" y="260"/>
                  </a:lnTo>
                  <a:lnTo>
                    <a:pt x="472" y="257"/>
                  </a:lnTo>
                  <a:lnTo>
                    <a:pt x="462" y="255"/>
                  </a:lnTo>
                  <a:lnTo>
                    <a:pt x="452" y="253"/>
                  </a:lnTo>
                  <a:lnTo>
                    <a:pt x="442" y="253"/>
                  </a:lnTo>
                  <a:lnTo>
                    <a:pt x="419" y="253"/>
                  </a:lnTo>
                  <a:lnTo>
                    <a:pt x="396" y="252"/>
                  </a:lnTo>
                  <a:lnTo>
                    <a:pt x="374" y="249"/>
                  </a:lnTo>
                  <a:lnTo>
                    <a:pt x="352" y="245"/>
                  </a:lnTo>
                  <a:lnTo>
                    <a:pt x="502" y="307"/>
                  </a:lnTo>
                  <a:lnTo>
                    <a:pt x="504" y="309"/>
                  </a:lnTo>
                  <a:lnTo>
                    <a:pt x="505" y="310"/>
                  </a:lnTo>
                  <a:lnTo>
                    <a:pt x="505" y="312"/>
                  </a:lnTo>
                  <a:lnTo>
                    <a:pt x="505" y="314"/>
                  </a:lnTo>
                  <a:lnTo>
                    <a:pt x="504" y="315"/>
                  </a:lnTo>
                  <a:lnTo>
                    <a:pt x="502" y="316"/>
                  </a:lnTo>
                  <a:lnTo>
                    <a:pt x="501" y="317"/>
                  </a:lnTo>
                  <a:lnTo>
                    <a:pt x="500" y="316"/>
                  </a:lnTo>
                  <a:lnTo>
                    <a:pt x="499" y="316"/>
                  </a:lnTo>
                  <a:lnTo>
                    <a:pt x="380" y="267"/>
                  </a:lnTo>
                  <a:lnTo>
                    <a:pt x="477" y="317"/>
                  </a:lnTo>
                  <a:lnTo>
                    <a:pt x="479" y="319"/>
                  </a:lnTo>
                  <a:lnTo>
                    <a:pt x="480" y="320"/>
                  </a:lnTo>
                  <a:lnTo>
                    <a:pt x="480" y="322"/>
                  </a:lnTo>
                  <a:lnTo>
                    <a:pt x="479" y="324"/>
                  </a:lnTo>
                  <a:lnTo>
                    <a:pt x="478" y="325"/>
                  </a:lnTo>
                  <a:lnTo>
                    <a:pt x="477" y="326"/>
                  </a:lnTo>
                  <a:lnTo>
                    <a:pt x="475" y="326"/>
                  </a:lnTo>
                  <a:lnTo>
                    <a:pt x="473" y="326"/>
                  </a:lnTo>
                  <a:lnTo>
                    <a:pt x="304" y="238"/>
                  </a:lnTo>
                  <a:lnTo>
                    <a:pt x="418" y="347"/>
                  </a:lnTo>
                  <a:lnTo>
                    <a:pt x="419" y="349"/>
                  </a:lnTo>
                  <a:lnTo>
                    <a:pt x="420" y="350"/>
                  </a:lnTo>
                  <a:lnTo>
                    <a:pt x="419" y="352"/>
                  </a:lnTo>
                  <a:lnTo>
                    <a:pt x="418" y="354"/>
                  </a:lnTo>
                  <a:lnTo>
                    <a:pt x="417" y="355"/>
                  </a:lnTo>
                  <a:lnTo>
                    <a:pt x="415" y="355"/>
                  </a:lnTo>
                  <a:lnTo>
                    <a:pt x="413" y="355"/>
                  </a:lnTo>
                  <a:lnTo>
                    <a:pt x="412" y="355"/>
                  </a:lnTo>
                  <a:lnTo>
                    <a:pt x="412" y="354"/>
                  </a:lnTo>
                  <a:lnTo>
                    <a:pt x="302" y="249"/>
                  </a:lnTo>
                  <a:lnTo>
                    <a:pt x="348" y="331"/>
                  </a:lnTo>
                  <a:lnTo>
                    <a:pt x="349" y="333"/>
                  </a:lnTo>
                  <a:lnTo>
                    <a:pt x="349" y="335"/>
                  </a:lnTo>
                  <a:lnTo>
                    <a:pt x="348" y="337"/>
                  </a:lnTo>
                  <a:lnTo>
                    <a:pt x="347" y="338"/>
                  </a:lnTo>
                  <a:lnTo>
                    <a:pt x="345" y="338"/>
                  </a:lnTo>
                  <a:lnTo>
                    <a:pt x="343" y="338"/>
                  </a:lnTo>
                  <a:lnTo>
                    <a:pt x="342" y="337"/>
                  </a:lnTo>
                  <a:lnTo>
                    <a:pt x="340" y="336"/>
                  </a:lnTo>
                  <a:lnTo>
                    <a:pt x="307" y="278"/>
                  </a:lnTo>
                  <a:lnTo>
                    <a:pt x="333" y="342"/>
                  </a:lnTo>
                  <a:lnTo>
                    <a:pt x="333" y="344"/>
                  </a:lnTo>
                  <a:lnTo>
                    <a:pt x="332" y="345"/>
                  </a:lnTo>
                  <a:lnTo>
                    <a:pt x="331" y="347"/>
                  </a:lnTo>
                  <a:lnTo>
                    <a:pt x="330" y="348"/>
                  </a:lnTo>
                  <a:lnTo>
                    <a:pt x="328" y="348"/>
                  </a:lnTo>
                  <a:lnTo>
                    <a:pt x="326" y="348"/>
                  </a:lnTo>
                  <a:lnTo>
                    <a:pt x="325" y="347"/>
                  </a:lnTo>
                  <a:lnTo>
                    <a:pt x="324" y="345"/>
                  </a:lnTo>
                  <a:lnTo>
                    <a:pt x="277"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0" name="Freeform 1958"/>
            <p:cNvSpPr>
              <a:spLocks/>
            </p:cNvSpPr>
            <p:nvPr userDrawn="1"/>
          </p:nvSpPr>
          <p:spPr bwMode="auto">
            <a:xfrm>
              <a:off x="1065835" y="1882775"/>
              <a:ext cx="2381250" cy="3765550"/>
            </a:xfrm>
            <a:custGeom>
              <a:avLst/>
              <a:gdLst>
                <a:gd name="T0" fmla="*/ 460 w 1500"/>
                <a:gd name="T1" fmla="*/ 1507 h 2372"/>
                <a:gd name="T2" fmla="*/ 542 w 1500"/>
                <a:gd name="T3" fmla="*/ 1919 h 2372"/>
                <a:gd name="T4" fmla="*/ 668 w 1500"/>
                <a:gd name="T5" fmla="*/ 2372 h 2372"/>
                <a:gd name="T6" fmla="*/ 518 w 1500"/>
                <a:gd name="T7" fmla="*/ 1889 h 2372"/>
                <a:gd name="T8" fmla="*/ 444 w 1500"/>
                <a:gd name="T9" fmla="*/ 1510 h 2372"/>
                <a:gd name="T10" fmla="*/ 385 w 1500"/>
                <a:gd name="T11" fmla="*/ 1153 h 2372"/>
                <a:gd name="T12" fmla="*/ 186 w 1500"/>
                <a:gd name="T13" fmla="*/ 1111 h 2372"/>
                <a:gd name="T14" fmla="*/ 72 w 1500"/>
                <a:gd name="T15" fmla="*/ 1082 h 2372"/>
                <a:gd name="T16" fmla="*/ 262 w 1500"/>
                <a:gd name="T17" fmla="*/ 1056 h 2372"/>
                <a:gd name="T18" fmla="*/ 37 w 1500"/>
                <a:gd name="T19" fmla="*/ 916 h 2372"/>
                <a:gd name="T20" fmla="*/ 333 w 1500"/>
                <a:gd name="T21" fmla="*/ 1080 h 2372"/>
                <a:gd name="T22" fmla="*/ 332 w 1500"/>
                <a:gd name="T23" fmla="*/ 1001 h 2372"/>
                <a:gd name="T24" fmla="*/ 222 w 1500"/>
                <a:gd name="T25" fmla="*/ 883 h 2372"/>
                <a:gd name="T26" fmla="*/ 63 w 1500"/>
                <a:gd name="T27" fmla="*/ 779 h 2372"/>
                <a:gd name="T28" fmla="*/ 98 w 1500"/>
                <a:gd name="T29" fmla="*/ 779 h 2372"/>
                <a:gd name="T30" fmla="*/ 280 w 1500"/>
                <a:gd name="T31" fmla="*/ 917 h 2372"/>
                <a:gd name="T32" fmla="*/ 387 w 1500"/>
                <a:gd name="T33" fmla="*/ 1059 h 2372"/>
                <a:gd name="T34" fmla="*/ 276 w 1500"/>
                <a:gd name="T35" fmla="*/ 150 h 2372"/>
                <a:gd name="T36" fmla="*/ 439 w 1500"/>
                <a:gd name="T37" fmla="*/ 1081 h 2372"/>
                <a:gd name="T38" fmla="*/ 524 w 1500"/>
                <a:gd name="T39" fmla="*/ 734 h 2372"/>
                <a:gd name="T40" fmla="*/ 551 w 1500"/>
                <a:gd name="T41" fmla="*/ 405 h 2372"/>
                <a:gd name="T42" fmla="*/ 535 w 1500"/>
                <a:gd name="T43" fmla="*/ 157 h 2372"/>
                <a:gd name="T44" fmla="*/ 512 w 1500"/>
                <a:gd name="T45" fmla="*/ 0 h 2372"/>
                <a:gd name="T46" fmla="*/ 542 w 1500"/>
                <a:gd name="T47" fmla="*/ 99 h 2372"/>
                <a:gd name="T48" fmla="*/ 567 w 1500"/>
                <a:gd name="T49" fmla="*/ 405 h 2372"/>
                <a:gd name="T50" fmla="*/ 540 w 1500"/>
                <a:gd name="T51" fmla="*/ 736 h 2372"/>
                <a:gd name="T52" fmla="*/ 448 w 1500"/>
                <a:gd name="T53" fmla="*/ 1104 h 2372"/>
                <a:gd name="T54" fmla="*/ 688 w 1500"/>
                <a:gd name="T55" fmla="*/ 800 h 2372"/>
                <a:gd name="T56" fmla="*/ 865 w 1500"/>
                <a:gd name="T57" fmla="*/ 506 h 2372"/>
                <a:gd name="T58" fmla="*/ 969 w 1500"/>
                <a:gd name="T59" fmla="*/ 260 h 2372"/>
                <a:gd name="T60" fmla="*/ 1023 w 1500"/>
                <a:gd name="T61" fmla="*/ 99 h 2372"/>
                <a:gd name="T62" fmla="*/ 1012 w 1500"/>
                <a:gd name="T63" fmla="*/ 176 h 2372"/>
                <a:gd name="T64" fmla="*/ 920 w 1500"/>
                <a:gd name="T65" fmla="*/ 429 h 2372"/>
                <a:gd name="T66" fmla="*/ 774 w 1500"/>
                <a:gd name="T67" fmla="*/ 700 h 2372"/>
                <a:gd name="T68" fmla="*/ 533 w 1500"/>
                <a:gd name="T69" fmla="*/ 1031 h 2372"/>
                <a:gd name="T70" fmla="*/ 623 w 1500"/>
                <a:gd name="T71" fmla="*/ 967 h 2372"/>
                <a:gd name="T72" fmla="*/ 853 w 1500"/>
                <a:gd name="T73" fmla="*/ 694 h 2372"/>
                <a:gd name="T74" fmla="*/ 1044 w 1500"/>
                <a:gd name="T75" fmla="*/ 378 h 2372"/>
                <a:gd name="T76" fmla="*/ 1135 w 1500"/>
                <a:gd name="T77" fmla="*/ 160 h 2372"/>
                <a:gd name="T78" fmla="*/ 1147 w 1500"/>
                <a:gd name="T79" fmla="*/ 169 h 2372"/>
                <a:gd name="T80" fmla="*/ 989 w 1500"/>
                <a:gd name="T81" fmla="*/ 512 h 2372"/>
                <a:gd name="T82" fmla="*/ 747 w 1500"/>
                <a:gd name="T83" fmla="*/ 851 h 2372"/>
                <a:gd name="T84" fmla="*/ 635 w 1500"/>
                <a:gd name="T85" fmla="*/ 1001 h 2372"/>
                <a:gd name="T86" fmla="*/ 946 w 1500"/>
                <a:gd name="T87" fmla="*/ 756 h 2372"/>
                <a:gd name="T88" fmla="*/ 1109 w 1500"/>
                <a:gd name="T89" fmla="*/ 580 h 2372"/>
                <a:gd name="T90" fmla="*/ 1260 w 1500"/>
                <a:gd name="T91" fmla="*/ 483 h 2372"/>
                <a:gd name="T92" fmla="*/ 1390 w 1500"/>
                <a:gd name="T93" fmla="*/ 445 h 2372"/>
                <a:gd name="T94" fmla="*/ 1432 w 1500"/>
                <a:gd name="T95" fmla="*/ 452 h 2372"/>
                <a:gd name="T96" fmla="*/ 1280 w 1500"/>
                <a:gd name="T97" fmla="*/ 492 h 2372"/>
                <a:gd name="T98" fmla="*/ 1126 w 1500"/>
                <a:gd name="T99" fmla="*/ 585 h 2372"/>
                <a:gd name="T100" fmla="*/ 987 w 1500"/>
                <a:gd name="T101" fmla="*/ 738 h 2372"/>
                <a:gd name="T102" fmla="*/ 731 w 1500"/>
                <a:gd name="T103" fmla="*/ 953 h 2372"/>
                <a:gd name="T104" fmla="*/ 1497 w 1500"/>
                <a:gd name="T105" fmla="*/ 623 h 2372"/>
                <a:gd name="T106" fmla="*/ 1019 w 1500"/>
                <a:gd name="T107" fmla="*/ 905 h 2372"/>
                <a:gd name="T108" fmla="*/ 1452 w 1500"/>
                <a:gd name="T109" fmla="*/ 758 h 2372"/>
                <a:gd name="T110" fmla="*/ 1357 w 1500"/>
                <a:gd name="T111" fmla="*/ 1064 h 2372"/>
                <a:gd name="T112" fmla="*/ 1058 w 1500"/>
                <a:gd name="T113" fmla="*/ 1265 h 2372"/>
                <a:gd name="T114" fmla="*/ 1059 w 1500"/>
                <a:gd name="T115" fmla="*/ 1281 h 2372"/>
                <a:gd name="T116" fmla="*/ 1045 w 1500"/>
                <a:gd name="T117" fmla="*/ 1370 h 2372"/>
                <a:gd name="T118" fmla="*/ 431 w 1500"/>
                <a:gd name="T119" fmla="*/ 1156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0" h="2372">
                  <a:moveTo>
                    <a:pt x="429" y="1155"/>
                  </a:moveTo>
                  <a:lnTo>
                    <a:pt x="431" y="1210"/>
                  </a:lnTo>
                  <a:lnTo>
                    <a:pt x="434" y="1261"/>
                  </a:lnTo>
                  <a:lnTo>
                    <a:pt x="437" y="1310"/>
                  </a:lnTo>
                  <a:lnTo>
                    <a:pt x="442" y="1357"/>
                  </a:lnTo>
                  <a:lnTo>
                    <a:pt x="447" y="1405"/>
                  </a:lnTo>
                  <a:lnTo>
                    <a:pt x="450" y="1429"/>
                  </a:lnTo>
                  <a:lnTo>
                    <a:pt x="453" y="1454"/>
                  </a:lnTo>
                  <a:lnTo>
                    <a:pt x="460" y="1507"/>
                  </a:lnTo>
                  <a:lnTo>
                    <a:pt x="469" y="1564"/>
                  </a:lnTo>
                  <a:lnTo>
                    <a:pt x="475" y="1605"/>
                  </a:lnTo>
                  <a:lnTo>
                    <a:pt x="482" y="1645"/>
                  </a:lnTo>
                  <a:lnTo>
                    <a:pt x="495" y="1719"/>
                  </a:lnTo>
                  <a:lnTo>
                    <a:pt x="502" y="1754"/>
                  </a:lnTo>
                  <a:lnTo>
                    <a:pt x="510" y="1787"/>
                  </a:lnTo>
                  <a:lnTo>
                    <a:pt x="525" y="1853"/>
                  </a:lnTo>
                  <a:lnTo>
                    <a:pt x="533" y="1886"/>
                  </a:lnTo>
                  <a:lnTo>
                    <a:pt x="542" y="1919"/>
                  </a:lnTo>
                  <a:lnTo>
                    <a:pt x="551" y="1952"/>
                  </a:lnTo>
                  <a:lnTo>
                    <a:pt x="560" y="1986"/>
                  </a:lnTo>
                  <a:lnTo>
                    <a:pt x="581" y="2058"/>
                  </a:lnTo>
                  <a:lnTo>
                    <a:pt x="605" y="2136"/>
                  </a:lnTo>
                  <a:lnTo>
                    <a:pt x="625" y="2200"/>
                  </a:lnTo>
                  <a:lnTo>
                    <a:pt x="645" y="2261"/>
                  </a:lnTo>
                  <a:lnTo>
                    <a:pt x="665" y="2318"/>
                  </a:lnTo>
                  <a:lnTo>
                    <a:pt x="685" y="2372"/>
                  </a:lnTo>
                  <a:lnTo>
                    <a:pt x="668" y="2372"/>
                  </a:lnTo>
                  <a:lnTo>
                    <a:pt x="649" y="2319"/>
                  </a:lnTo>
                  <a:lnTo>
                    <a:pt x="629" y="2263"/>
                  </a:lnTo>
                  <a:lnTo>
                    <a:pt x="609" y="2204"/>
                  </a:lnTo>
                  <a:lnTo>
                    <a:pt x="600" y="2172"/>
                  </a:lnTo>
                  <a:lnTo>
                    <a:pt x="590" y="2140"/>
                  </a:lnTo>
                  <a:lnTo>
                    <a:pt x="566" y="2062"/>
                  </a:lnTo>
                  <a:lnTo>
                    <a:pt x="545" y="1990"/>
                  </a:lnTo>
                  <a:lnTo>
                    <a:pt x="526" y="1922"/>
                  </a:lnTo>
                  <a:lnTo>
                    <a:pt x="518" y="1889"/>
                  </a:lnTo>
                  <a:lnTo>
                    <a:pt x="509" y="1857"/>
                  </a:lnTo>
                  <a:lnTo>
                    <a:pt x="494" y="1791"/>
                  </a:lnTo>
                  <a:lnTo>
                    <a:pt x="487" y="1757"/>
                  </a:lnTo>
                  <a:lnTo>
                    <a:pt x="480" y="1722"/>
                  </a:lnTo>
                  <a:lnTo>
                    <a:pt x="473" y="1686"/>
                  </a:lnTo>
                  <a:lnTo>
                    <a:pt x="466" y="1647"/>
                  </a:lnTo>
                  <a:lnTo>
                    <a:pt x="459" y="1608"/>
                  </a:lnTo>
                  <a:lnTo>
                    <a:pt x="453" y="1567"/>
                  </a:lnTo>
                  <a:lnTo>
                    <a:pt x="444" y="1510"/>
                  </a:lnTo>
                  <a:lnTo>
                    <a:pt x="437" y="1457"/>
                  </a:lnTo>
                  <a:lnTo>
                    <a:pt x="431" y="1408"/>
                  </a:lnTo>
                  <a:lnTo>
                    <a:pt x="426" y="1361"/>
                  </a:lnTo>
                  <a:lnTo>
                    <a:pt x="422" y="1313"/>
                  </a:lnTo>
                  <a:lnTo>
                    <a:pt x="418" y="1265"/>
                  </a:lnTo>
                  <a:lnTo>
                    <a:pt x="415" y="1214"/>
                  </a:lnTo>
                  <a:lnTo>
                    <a:pt x="413" y="1160"/>
                  </a:lnTo>
                  <a:lnTo>
                    <a:pt x="410" y="1160"/>
                  </a:lnTo>
                  <a:lnTo>
                    <a:pt x="385" y="1153"/>
                  </a:lnTo>
                  <a:lnTo>
                    <a:pt x="0" y="1195"/>
                  </a:lnTo>
                  <a:lnTo>
                    <a:pt x="0" y="1178"/>
                  </a:lnTo>
                  <a:lnTo>
                    <a:pt x="340" y="1142"/>
                  </a:lnTo>
                  <a:lnTo>
                    <a:pt x="320" y="1137"/>
                  </a:lnTo>
                  <a:lnTo>
                    <a:pt x="300" y="1133"/>
                  </a:lnTo>
                  <a:lnTo>
                    <a:pt x="280" y="1128"/>
                  </a:lnTo>
                  <a:lnTo>
                    <a:pt x="261" y="1125"/>
                  </a:lnTo>
                  <a:lnTo>
                    <a:pt x="224" y="1118"/>
                  </a:lnTo>
                  <a:lnTo>
                    <a:pt x="186" y="1111"/>
                  </a:lnTo>
                  <a:lnTo>
                    <a:pt x="167" y="1109"/>
                  </a:lnTo>
                  <a:lnTo>
                    <a:pt x="148" y="1106"/>
                  </a:lnTo>
                  <a:lnTo>
                    <a:pt x="108" y="1102"/>
                  </a:lnTo>
                  <a:lnTo>
                    <a:pt x="65" y="1097"/>
                  </a:lnTo>
                  <a:lnTo>
                    <a:pt x="19" y="1094"/>
                  </a:lnTo>
                  <a:lnTo>
                    <a:pt x="0" y="1092"/>
                  </a:lnTo>
                  <a:lnTo>
                    <a:pt x="0" y="1076"/>
                  </a:lnTo>
                  <a:lnTo>
                    <a:pt x="21" y="1078"/>
                  </a:lnTo>
                  <a:lnTo>
                    <a:pt x="72" y="1082"/>
                  </a:lnTo>
                  <a:lnTo>
                    <a:pt x="120" y="1087"/>
                  </a:lnTo>
                  <a:lnTo>
                    <a:pt x="164" y="1092"/>
                  </a:lnTo>
                  <a:lnTo>
                    <a:pt x="207" y="1098"/>
                  </a:lnTo>
                  <a:lnTo>
                    <a:pt x="0" y="1048"/>
                  </a:lnTo>
                  <a:lnTo>
                    <a:pt x="0" y="1032"/>
                  </a:lnTo>
                  <a:lnTo>
                    <a:pt x="364" y="1120"/>
                  </a:lnTo>
                  <a:lnTo>
                    <a:pt x="338" y="1103"/>
                  </a:lnTo>
                  <a:lnTo>
                    <a:pt x="312" y="1086"/>
                  </a:lnTo>
                  <a:lnTo>
                    <a:pt x="262" y="1056"/>
                  </a:lnTo>
                  <a:lnTo>
                    <a:pt x="237" y="1041"/>
                  </a:lnTo>
                  <a:lnTo>
                    <a:pt x="210" y="1026"/>
                  </a:lnTo>
                  <a:lnTo>
                    <a:pt x="182" y="1010"/>
                  </a:lnTo>
                  <a:lnTo>
                    <a:pt x="151" y="993"/>
                  </a:lnTo>
                  <a:lnTo>
                    <a:pt x="71" y="951"/>
                  </a:lnTo>
                  <a:lnTo>
                    <a:pt x="35" y="933"/>
                  </a:lnTo>
                  <a:lnTo>
                    <a:pt x="0" y="916"/>
                  </a:lnTo>
                  <a:lnTo>
                    <a:pt x="0" y="899"/>
                  </a:lnTo>
                  <a:lnTo>
                    <a:pt x="37" y="916"/>
                  </a:lnTo>
                  <a:lnTo>
                    <a:pt x="75" y="935"/>
                  </a:lnTo>
                  <a:lnTo>
                    <a:pt x="115" y="956"/>
                  </a:lnTo>
                  <a:lnTo>
                    <a:pt x="158" y="979"/>
                  </a:lnTo>
                  <a:lnTo>
                    <a:pt x="208" y="1006"/>
                  </a:lnTo>
                  <a:lnTo>
                    <a:pt x="230" y="1018"/>
                  </a:lnTo>
                  <a:lnTo>
                    <a:pt x="251" y="1030"/>
                  </a:lnTo>
                  <a:lnTo>
                    <a:pt x="272" y="1043"/>
                  </a:lnTo>
                  <a:lnTo>
                    <a:pt x="292" y="1055"/>
                  </a:lnTo>
                  <a:lnTo>
                    <a:pt x="333" y="1080"/>
                  </a:lnTo>
                  <a:lnTo>
                    <a:pt x="0" y="817"/>
                  </a:lnTo>
                  <a:lnTo>
                    <a:pt x="0" y="797"/>
                  </a:lnTo>
                  <a:lnTo>
                    <a:pt x="393" y="1108"/>
                  </a:lnTo>
                  <a:lnTo>
                    <a:pt x="379" y="1078"/>
                  </a:lnTo>
                  <a:lnTo>
                    <a:pt x="371" y="1064"/>
                  </a:lnTo>
                  <a:lnTo>
                    <a:pt x="364" y="1051"/>
                  </a:lnTo>
                  <a:lnTo>
                    <a:pt x="348" y="1025"/>
                  </a:lnTo>
                  <a:lnTo>
                    <a:pt x="340" y="1013"/>
                  </a:lnTo>
                  <a:lnTo>
                    <a:pt x="332" y="1001"/>
                  </a:lnTo>
                  <a:lnTo>
                    <a:pt x="323" y="989"/>
                  </a:lnTo>
                  <a:lnTo>
                    <a:pt x="313" y="977"/>
                  </a:lnTo>
                  <a:lnTo>
                    <a:pt x="303" y="965"/>
                  </a:lnTo>
                  <a:lnTo>
                    <a:pt x="293" y="953"/>
                  </a:lnTo>
                  <a:lnTo>
                    <a:pt x="282" y="941"/>
                  </a:lnTo>
                  <a:lnTo>
                    <a:pt x="270" y="929"/>
                  </a:lnTo>
                  <a:lnTo>
                    <a:pt x="258" y="917"/>
                  </a:lnTo>
                  <a:lnTo>
                    <a:pt x="245" y="904"/>
                  </a:lnTo>
                  <a:lnTo>
                    <a:pt x="222" y="883"/>
                  </a:lnTo>
                  <a:lnTo>
                    <a:pt x="201" y="865"/>
                  </a:lnTo>
                  <a:lnTo>
                    <a:pt x="180" y="848"/>
                  </a:lnTo>
                  <a:lnTo>
                    <a:pt x="170" y="841"/>
                  </a:lnTo>
                  <a:lnTo>
                    <a:pt x="160" y="834"/>
                  </a:lnTo>
                  <a:lnTo>
                    <a:pt x="149" y="826"/>
                  </a:lnTo>
                  <a:lnTo>
                    <a:pt x="138" y="820"/>
                  </a:lnTo>
                  <a:lnTo>
                    <a:pt x="115" y="806"/>
                  </a:lnTo>
                  <a:lnTo>
                    <a:pt x="91" y="793"/>
                  </a:lnTo>
                  <a:lnTo>
                    <a:pt x="63" y="779"/>
                  </a:lnTo>
                  <a:lnTo>
                    <a:pt x="31" y="763"/>
                  </a:lnTo>
                  <a:lnTo>
                    <a:pt x="15" y="756"/>
                  </a:lnTo>
                  <a:lnTo>
                    <a:pt x="0" y="750"/>
                  </a:lnTo>
                  <a:lnTo>
                    <a:pt x="0" y="732"/>
                  </a:lnTo>
                  <a:lnTo>
                    <a:pt x="17" y="739"/>
                  </a:lnTo>
                  <a:lnTo>
                    <a:pt x="34" y="747"/>
                  </a:lnTo>
                  <a:lnTo>
                    <a:pt x="52" y="755"/>
                  </a:lnTo>
                  <a:lnTo>
                    <a:pt x="70" y="764"/>
                  </a:lnTo>
                  <a:lnTo>
                    <a:pt x="98" y="779"/>
                  </a:lnTo>
                  <a:lnTo>
                    <a:pt x="123" y="792"/>
                  </a:lnTo>
                  <a:lnTo>
                    <a:pt x="147" y="806"/>
                  </a:lnTo>
                  <a:lnTo>
                    <a:pt x="169" y="820"/>
                  </a:lnTo>
                  <a:lnTo>
                    <a:pt x="190" y="836"/>
                  </a:lnTo>
                  <a:lnTo>
                    <a:pt x="211" y="852"/>
                  </a:lnTo>
                  <a:lnTo>
                    <a:pt x="233" y="871"/>
                  </a:lnTo>
                  <a:lnTo>
                    <a:pt x="256" y="893"/>
                  </a:lnTo>
                  <a:lnTo>
                    <a:pt x="268" y="905"/>
                  </a:lnTo>
                  <a:lnTo>
                    <a:pt x="280" y="917"/>
                  </a:lnTo>
                  <a:lnTo>
                    <a:pt x="303" y="940"/>
                  </a:lnTo>
                  <a:lnTo>
                    <a:pt x="313" y="952"/>
                  </a:lnTo>
                  <a:lnTo>
                    <a:pt x="323" y="963"/>
                  </a:lnTo>
                  <a:lnTo>
                    <a:pt x="341" y="986"/>
                  </a:lnTo>
                  <a:lnTo>
                    <a:pt x="349" y="998"/>
                  </a:lnTo>
                  <a:lnTo>
                    <a:pt x="357" y="1009"/>
                  </a:lnTo>
                  <a:lnTo>
                    <a:pt x="373" y="1034"/>
                  </a:lnTo>
                  <a:lnTo>
                    <a:pt x="380" y="1046"/>
                  </a:lnTo>
                  <a:lnTo>
                    <a:pt x="387" y="1059"/>
                  </a:lnTo>
                  <a:lnTo>
                    <a:pt x="401" y="1087"/>
                  </a:lnTo>
                  <a:lnTo>
                    <a:pt x="335" y="623"/>
                  </a:lnTo>
                  <a:lnTo>
                    <a:pt x="269" y="159"/>
                  </a:lnTo>
                  <a:lnTo>
                    <a:pt x="269" y="157"/>
                  </a:lnTo>
                  <a:lnTo>
                    <a:pt x="270" y="156"/>
                  </a:lnTo>
                  <a:lnTo>
                    <a:pt x="270" y="154"/>
                  </a:lnTo>
                  <a:lnTo>
                    <a:pt x="271" y="153"/>
                  </a:lnTo>
                  <a:lnTo>
                    <a:pt x="273" y="151"/>
                  </a:lnTo>
                  <a:lnTo>
                    <a:pt x="276" y="150"/>
                  </a:lnTo>
                  <a:lnTo>
                    <a:pt x="279" y="150"/>
                  </a:lnTo>
                  <a:lnTo>
                    <a:pt x="282" y="151"/>
                  </a:lnTo>
                  <a:lnTo>
                    <a:pt x="284" y="154"/>
                  </a:lnTo>
                  <a:lnTo>
                    <a:pt x="285" y="157"/>
                  </a:lnTo>
                  <a:lnTo>
                    <a:pt x="353" y="637"/>
                  </a:lnTo>
                  <a:lnTo>
                    <a:pt x="421" y="1117"/>
                  </a:lnTo>
                  <a:lnTo>
                    <a:pt x="424" y="1117"/>
                  </a:lnTo>
                  <a:lnTo>
                    <a:pt x="425" y="1119"/>
                  </a:lnTo>
                  <a:lnTo>
                    <a:pt x="439" y="1081"/>
                  </a:lnTo>
                  <a:lnTo>
                    <a:pt x="450" y="1045"/>
                  </a:lnTo>
                  <a:lnTo>
                    <a:pt x="461" y="1011"/>
                  </a:lnTo>
                  <a:lnTo>
                    <a:pt x="471" y="977"/>
                  </a:lnTo>
                  <a:lnTo>
                    <a:pt x="480" y="943"/>
                  </a:lnTo>
                  <a:lnTo>
                    <a:pt x="488" y="908"/>
                  </a:lnTo>
                  <a:lnTo>
                    <a:pt x="497" y="870"/>
                  </a:lnTo>
                  <a:lnTo>
                    <a:pt x="506" y="828"/>
                  </a:lnTo>
                  <a:lnTo>
                    <a:pt x="516" y="779"/>
                  </a:lnTo>
                  <a:lnTo>
                    <a:pt x="524" y="734"/>
                  </a:lnTo>
                  <a:lnTo>
                    <a:pt x="531" y="691"/>
                  </a:lnTo>
                  <a:lnTo>
                    <a:pt x="537" y="650"/>
                  </a:lnTo>
                  <a:lnTo>
                    <a:pt x="542" y="608"/>
                  </a:lnTo>
                  <a:lnTo>
                    <a:pt x="544" y="587"/>
                  </a:lnTo>
                  <a:lnTo>
                    <a:pt x="546" y="565"/>
                  </a:lnTo>
                  <a:lnTo>
                    <a:pt x="548" y="519"/>
                  </a:lnTo>
                  <a:lnTo>
                    <a:pt x="550" y="469"/>
                  </a:lnTo>
                  <a:lnTo>
                    <a:pt x="551" y="436"/>
                  </a:lnTo>
                  <a:lnTo>
                    <a:pt x="551" y="405"/>
                  </a:lnTo>
                  <a:lnTo>
                    <a:pt x="551" y="375"/>
                  </a:lnTo>
                  <a:lnTo>
                    <a:pt x="551" y="346"/>
                  </a:lnTo>
                  <a:lnTo>
                    <a:pt x="550" y="318"/>
                  </a:lnTo>
                  <a:lnTo>
                    <a:pt x="549" y="291"/>
                  </a:lnTo>
                  <a:lnTo>
                    <a:pt x="547" y="264"/>
                  </a:lnTo>
                  <a:lnTo>
                    <a:pt x="545" y="237"/>
                  </a:lnTo>
                  <a:lnTo>
                    <a:pt x="542" y="211"/>
                  </a:lnTo>
                  <a:lnTo>
                    <a:pt x="539" y="184"/>
                  </a:lnTo>
                  <a:lnTo>
                    <a:pt x="535" y="157"/>
                  </a:lnTo>
                  <a:lnTo>
                    <a:pt x="531" y="130"/>
                  </a:lnTo>
                  <a:lnTo>
                    <a:pt x="526" y="102"/>
                  </a:lnTo>
                  <a:lnTo>
                    <a:pt x="521" y="72"/>
                  </a:lnTo>
                  <a:lnTo>
                    <a:pt x="508" y="10"/>
                  </a:lnTo>
                  <a:lnTo>
                    <a:pt x="507" y="6"/>
                  </a:lnTo>
                  <a:lnTo>
                    <a:pt x="509" y="3"/>
                  </a:lnTo>
                  <a:lnTo>
                    <a:pt x="510" y="2"/>
                  </a:lnTo>
                  <a:lnTo>
                    <a:pt x="511" y="1"/>
                  </a:lnTo>
                  <a:lnTo>
                    <a:pt x="512" y="0"/>
                  </a:lnTo>
                  <a:lnTo>
                    <a:pt x="514" y="0"/>
                  </a:lnTo>
                  <a:lnTo>
                    <a:pt x="517" y="0"/>
                  </a:lnTo>
                  <a:lnTo>
                    <a:pt x="519" y="1"/>
                  </a:lnTo>
                  <a:lnTo>
                    <a:pt x="522" y="3"/>
                  </a:lnTo>
                  <a:lnTo>
                    <a:pt x="523" y="4"/>
                  </a:lnTo>
                  <a:lnTo>
                    <a:pt x="523" y="6"/>
                  </a:lnTo>
                  <a:lnTo>
                    <a:pt x="530" y="39"/>
                  </a:lnTo>
                  <a:lnTo>
                    <a:pt x="536" y="69"/>
                  </a:lnTo>
                  <a:lnTo>
                    <a:pt x="542" y="99"/>
                  </a:lnTo>
                  <a:lnTo>
                    <a:pt x="547" y="128"/>
                  </a:lnTo>
                  <a:lnTo>
                    <a:pt x="555" y="182"/>
                  </a:lnTo>
                  <a:lnTo>
                    <a:pt x="561" y="236"/>
                  </a:lnTo>
                  <a:lnTo>
                    <a:pt x="563" y="262"/>
                  </a:lnTo>
                  <a:lnTo>
                    <a:pt x="565" y="290"/>
                  </a:lnTo>
                  <a:lnTo>
                    <a:pt x="566" y="318"/>
                  </a:lnTo>
                  <a:lnTo>
                    <a:pt x="567" y="346"/>
                  </a:lnTo>
                  <a:lnTo>
                    <a:pt x="567" y="375"/>
                  </a:lnTo>
                  <a:lnTo>
                    <a:pt x="567" y="405"/>
                  </a:lnTo>
                  <a:lnTo>
                    <a:pt x="567" y="436"/>
                  </a:lnTo>
                  <a:lnTo>
                    <a:pt x="566" y="469"/>
                  </a:lnTo>
                  <a:lnTo>
                    <a:pt x="564" y="520"/>
                  </a:lnTo>
                  <a:lnTo>
                    <a:pt x="562" y="566"/>
                  </a:lnTo>
                  <a:lnTo>
                    <a:pt x="560" y="588"/>
                  </a:lnTo>
                  <a:lnTo>
                    <a:pt x="558" y="610"/>
                  </a:lnTo>
                  <a:lnTo>
                    <a:pt x="553" y="652"/>
                  </a:lnTo>
                  <a:lnTo>
                    <a:pt x="547" y="693"/>
                  </a:lnTo>
                  <a:lnTo>
                    <a:pt x="540" y="736"/>
                  </a:lnTo>
                  <a:lnTo>
                    <a:pt x="531" y="782"/>
                  </a:lnTo>
                  <a:lnTo>
                    <a:pt x="521" y="832"/>
                  </a:lnTo>
                  <a:lnTo>
                    <a:pt x="505" y="907"/>
                  </a:lnTo>
                  <a:lnTo>
                    <a:pt x="497" y="941"/>
                  </a:lnTo>
                  <a:lnTo>
                    <a:pt x="488" y="973"/>
                  </a:lnTo>
                  <a:lnTo>
                    <a:pt x="480" y="1005"/>
                  </a:lnTo>
                  <a:lnTo>
                    <a:pt x="470" y="1037"/>
                  </a:lnTo>
                  <a:lnTo>
                    <a:pt x="459" y="1069"/>
                  </a:lnTo>
                  <a:lnTo>
                    <a:pt x="448" y="1104"/>
                  </a:lnTo>
                  <a:lnTo>
                    <a:pt x="473" y="1076"/>
                  </a:lnTo>
                  <a:lnTo>
                    <a:pt x="496" y="1050"/>
                  </a:lnTo>
                  <a:lnTo>
                    <a:pt x="518" y="1024"/>
                  </a:lnTo>
                  <a:lnTo>
                    <a:pt x="539" y="998"/>
                  </a:lnTo>
                  <a:lnTo>
                    <a:pt x="561" y="971"/>
                  </a:lnTo>
                  <a:lnTo>
                    <a:pt x="583" y="943"/>
                  </a:lnTo>
                  <a:lnTo>
                    <a:pt x="630" y="880"/>
                  </a:lnTo>
                  <a:lnTo>
                    <a:pt x="660" y="838"/>
                  </a:lnTo>
                  <a:lnTo>
                    <a:pt x="688" y="800"/>
                  </a:lnTo>
                  <a:lnTo>
                    <a:pt x="714" y="763"/>
                  </a:lnTo>
                  <a:lnTo>
                    <a:pt x="738" y="728"/>
                  </a:lnTo>
                  <a:lnTo>
                    <a:pt x="761" y="691"/>
                  </a:lnTo>
                  <a:lnTo>
                    <a:pt x="772" y="673"/>
                  </a:lnTo>
                  <a:lnTo>
                    <a:pt x="784" y="653"/>
                  </a:lnTo>
                  <a:lnTo>
                    <a:pt x="808" y="612"/>
                  </a:lnTo>
                  <a:lnTo>
                    <a:pt x="833" y="567"/>
                  </a:lnTo>
                  <a:lnTo>
                    <a:pt x="850" y="536"/>
                  </a:lnTo>
                  <a:lnTo>
                    <a:pt x="865" y="506"/>
                  </a:lnTo>
                  <a:lnTo>
                    <a:pt x="879" y="477"/>
                  </a:lnTo>
                  <a:lnTo>
                    <a:pt x="893" y="449"/>
                  </a:lnTo>
                  <a:lnTo>
                    <a:pt x="906" y="422"/>
                  </a:lnTo>
                  <a:lnTo>
                    <a:pt x="917" y="395"/>
                  </a:lnTo>
                  <a:lnTo>
                    <a:pt x="929" y="369"/>
                  </a:lnTo>
                  <a:lnTo>
                    <a:pt x="939" y="343"/>
                  </a:lnTo>
                  <a:lnTo>
                    <a:pt x="950" y="316"/>
                  </a:lnTo>
                  <a:lnTo>
                    <a:pt x="960" y="289"/>
                  </a:lnTo>
                  <a:lnTo>
                    <a:pt x="969" y="260"/>
                  </a:lnTo>
                  <a:lnTo>
                    <a:pt x="979" y="232"/>
                  </a:lnTo>
                  <a:lnTo>
                    <a:pt x="988" y="202"/>
                  </a:lnTo>
                  <a:lnTo>
                    <a:pt x="997" y="172"/>
                  </a:lnTo>
                  <a:lnTo>
                    <a:pt x="1006" y="139"/>
                  </a:lnTo>
                  <a:lnTo>
                    <a:pt x="1016" y="105"/>
                  </a:lnTo>
                  <a:lnTo>
                    <a:pt x="1016" y="103"/>
                  </a:lnTo>
                  <a:lnTo>
                    <a:pt x="1017" y="102"/>
                  </a:lnTo>
                  <a:lnTo>
                    <a:pt x="1020" y="100"/>
                  </a:lnTo>
                  <a:lnTo>
                    <a:pt x="1023" y="99"/>
                  </a:lnTo>
                  <a:lnTo>
                    <a:pt x="1026" y="100"/>
                  </a:lnTo>
                  <a:lnTo>
                    <a:pt x="1028" y="101"/>
                  </a:lnTo>
                  <a:lnTo>
                    <a:pt x="1030" y="103"/>
                  </a:lnTo>
                  <a:lnTo>
                    <a:pt x="1031" y="104"/>
                  </a:lnTo>
                  <a:lnTo>
                    <a:pt x="1031" y="106"/>
                  </a:lnTo>
                  <a:lnTo>
                    <a:pt x="1032" y="108"/>
                  </a:lnTo>
                  <a:lnTo>
                    <a:pt x="1031" y="109"/>
                  </a:lnTo>
                  <a:lnTo>
                    <a:pt x="1022" y="144"/>
                  </a:lnTo>
                  <a:lnTo>
                    <a:pt x="1012" y="176"/>
                  </a:lnTo>
                  <a:lnTo>
                    <a:pt x="1003" y="207"/>
                  </a:lnTo>
                  <a:lnTo>
                    <a:pt x="994" y="237"/>
                  </a:lnTo>
                  <a:lnTo>
                    <a:pt x="984" y="266"/>
                  </a:lnTo>
                  <a:lnTo>
                    <a:pt x="975" y="294"/>
                  </a:lnTo>
                  <a:lnTo>
                    <a:pt x="965" y="322"/>
                  </a:lnTo>
                  <a:lnTo>
                    <a:pt x="954" y="348"/>
                  </a:lnTo>
                  <a:lnTo>
                    <a:pt x="944" y="375"/>
                  </a:lnTo>
                  <a:lnTo>
                    <a:pt x="932" y="402"/>
                  </a:lnTo>
                  <a:lnTo>
                    <a:pt x="920" y="429"/>
                  </a:lnTo>
                  <a:lnTo>
                    <a:pt x="907" y="456"/>
                  </a:lnTo>
                  <a:lnTo>
                    <a:pt x="894" y="484"/>
                  </a:lnTo>
                  <a:lnTo>
                    <a:pt x="879" y="513"/>
                  </a:lnTo>
                  <a:lnTo>
                    <a:pt x="847" y="574"/>
                  </a:lnTo>
                  <a:lnTo>
                    <a:pt x="835" y="598"/>
                  </a:lnTo>
                  <a:lnTo>
                    <a:pt x="822" y="620"/>
                  </a:lnTo>
                  <a:lnTo>
                    <a:pt x="810" y="641"/>
                  </a:lnTo>
                  <a:lnTo>
                    <a:pt x="799" y="662"/>
                  </a:lnTo>
                  <a:lnTo>
                    <a:pt x="774" y="700"/>
                  </a:lnTo>
                  <a:lnTo>
                    <a:pt x="751" y="736"/>
                  </a:lnTo>
                  <a:lnTo>
                    <a:pt x="727" y="772"/>
                  </a:lnTo>
                  <a:lnTo>
                    <a:pt x="701" y="809"/>
                  </a:lnTo>
                  <a:lnTo>
                    <a:pt x="674" y="847"/>
                  </a:lnTo>
                  <a:lnTo>
                    <a:pt x="643" y="889"/>
                  </a:lnTo>
                  <a:lnTo>
                    <a:pt x="596" y="951"/>
                  </a:lnTo>
                  <a:lnTo>
                    <a:pt x="575" y="979"/>
                  </a:lnTo>
                  <a:lnTo>
                    <a:pt x="554" y="1005"/>
                  </a:lnTo>
                  <a:lnTo>
                    <a:pt x="533" y="1031"/>
                  </a:lnTo>
                  <a:lnTo>
                    <a:pt x="512" y="1056"/>
                  </a:lnTo>
                  <a:lnTo>
                    <a:pt x="489" y="1082"/>
                  </a:lnTo>
                  <a:lnTo>
                    <a:pt x="465" y="1109"/>
                  </a:lnTo>
                  <a:lnTo>
                    <a:pt x="472" y="1106"/>
                  </a:lnTo>
                  <a:lnTo>
                    <a:pt x="514" y="1070"/>
                  </a:lnTo>
                  <a:lnTo>
                    <a:pt x="552" y="1035"/>
                  </a:lnTo>
                  <a:lnTo>
                    <a:pt x="588" y="1001"/>
                  </a:lnTo>
                  <a:lnTo>
                    <a:pt x="606" y="984"/>
                  </a:lnTo>
                  <a:lnTo>
                    <a:pt x="623" y="967"/>
                  </a:lnTo>
                  <a:lnTo>
                    <a:pt x="640" y="949"/>
                  </a:lnTo>
                  <a:lnTo>
                    <a:pt x="657" y="931"/>
                  </a:lnTo>
                  <a:lnTo>
                    <a:pt x="691" y="893"/>
                  </a:lnTo>
                  <a:lnTo>
                    <a:pt x="727" y="851"/>
                  </a:lnTo>
                  <a:lnTo>
                    <a:pt x="765" y="805"/>
                  </a:lnTo>
                  <a:lnTo>
                    <a:pt x="798" y="766"/>
                  </a:lnTo>
                  <a:lnTo>
                    <a:pt x="827" y="729"/>
                  </a:lnTo>
                  <a:lnTo>
                    <a:pt x="840" y="712"/>
                  </a:lnTo>
                  <a:lnTo>
                    <a:pt x="853" y="694"/>
                  </a:lnTo>
                  <a:lnTo>
                    <a:pt x="878" y="660"/>
                  </a:lnTo>
                  <a:lnTo>
                    <a:pt x="890" y="643"/>
                  </a:lnTo>
                  <a:lnTo>
                    <a:pt x="902" y="625"/>
                  </a:lnTo>
                  <a:lnTo>
                    <a:pt x="926" y="588"/>
                  </a:lnTo>
                  <a:lnTo>
                    <a:pt x="950" y="548"/>
                  </a:lnTo>
                  <a:lnTo>
                    <a:pt x="976" y="504"/>
                  </a:lnTo>
                  <a:lnTo>
                    <a:pt x="1001" y="459"/>
                  </a:lnTo>
                  <a:lnTo>
                    <a:pt x="1023" y="418"/>
                  </a:lnTo>
                  <a:lnTo>
                    <a:pt x="1044" y="378"/>
                  </a:lnTo>
                  <a:lnTo>
                    <a:pt x="1062" y="339"/>
                  </a:lnTo>
                  <a:lnTo>
                    <a:pt x="1071" y="320"/>
                  </a:lnTo>
                  <a:lnTo>
                    <a:pt x="1080" y="300"/>
                  </a:lnTo>
                  <a:lnTo>
                    <a:pt x="1088" y="280"/>
                  </a:lnTo>
                  <a:lnTo>
                    <a:pt x="1096" y="258"/>
                  </a:lnTo>
                  <a:lnTo>
                    <a:pt x="1113" y="214"/>
                  </a:lnTo>
                  <a:lnTo>
                    <a:pt x="1131" y="165"/>
                  </a:lnTo>
                  <a:lnTo>
                    <a:pt x="1133" y="162"/>
                  </a:lnTo>
                  <a:lnTo>
                    <a:pt x="1135" y="160"/>
                  </a:lnTo>
                  <a:lnTo>
                    <a:pt x="1137" y="160"/>
                  </a:lnTo>
                  <a:lnTo>
                    <a:pt x="1138" y="160"/>
                  </a:lnTo>
                  <a:lnTo>
                    <a:pt x="1141" y="160"/>
                  </a:lnTo>
                  <a:lnTo>
                    <a:pt x="1143" y="161"/>
                  </a:lnTo>
                  <a:lnTo>
                    <a:pt x="1144" y="162"/>
                  </a:lnTo>
                  <a:lnTo>
                    <a:pt x="1146" y="164"/>
                  </a:lnTo>
                  <a:lnTo>
                    <a:pt x="1146" y="165"/>
                  </a:lnTo>
                  <a:lnTo>
                    <a:pt x="1147" y="167"/>
                  </a:lnTo>
                  <a:lnTo>
                    <a:pt x="1147" y="169"/>
                  </a:lnTo>
                  <a:lnTo>
                    <a:pt x="1146" y="170"/>
                  </a:lnTo>
                  <a:lnTo>
                    <a:pt x="1128" y="219"/>
                  </a:lnTo>
                  <a:lnTo>
                    <a:pt x="1111" y="264"/>
                  </a:lnTo>
                  <a:lnTo>
                    <a:pt x="1094" y="306"/>
                  </a:lnTo>
                  <a:lnTo>
                    <a:pt x="1077" y="346"/>
                  </a:lnTo>
                  <a:lnTo>
                    <a:pt x="1058" y="385"/>
                  </a:lnTo>
                  <a:lnTo>
                    <a:pt x="1038" y="425"/>
                  </a:lnTo>
                  <a:lnTo>
                    <a:pt x="1015" y="467"/>
                  </a:lnTo>
                  <a:lnTo>
                    <a:pt x="989" y="512"/>
                  </a:lnTo>
                  <a:lnTo>
                    <a:pt x="964" y="557"/>
                  </a:lnTo>
                  <a:lnTo>
                    <a:pt x="939" y="597"/>
                  </a:lnTo>
                  <a:lnTo>
                    <a:pt x="915" y="634"/>
                  </a:lnTo>
                  <a:lnTo>
                    <a:pt x="891" y="669"/>
                  </a:lnTo>
                  <a:lnTo>
                    <a:pt x="866" y="704"/>
                  </a:lnTo>
                  <a:lnTo>
                    <a:pt x="840" y="739"/>
                  </a:lnTo>
                  <a:lnTo>
                    <a:pt x="810" y="776"/>
                  </a:lnTo>
                  <a:lnTo>
                    <a:pt x="777" y="816"/>
                  </a:lnTo>
                  <a:lnTo>
                    <a:pt x="747" y="851"/>
                  </a:lnTo>
                  <a:lnTo>
                    <a:pt x="719" y="885"/>
                  </a:lnTo>
                  <a:lnTo>
                    <a:pt x="692" y="916"/>
                  </a:lnTo>
                  <a:lnTo>
                    <a:pt x="666" y="945"/>
                  </a:lnTo>
                  <a:lnTo>
                    <a:pt x="639" y="973"/>
                  </a:lnTo>
                  <a:lnTo>
                    <a:pt x="613" y="1000"/>
                  </a:lnTo>
                  <a:lnTo>
                    <a:pt x="585" y="1026"/>
                  </a:lnTo>
                  <a:lnTo>
                    <a:pt x="557" y="1053"/>
                  </a:lnTo>
                  <a:lnTo>
                    <a:pt x="610" y="1018"/>
                  </a:lnTo>
                  <a:lnTo>
                    <a:pt x="635" y="1001"/>
                  </a:lnTo>
                  <a:lnTo>
                    <a:pt x="659" y="985"/>
                  </a:lnTo>
                  <a:lnTo>
                    <a:pt x="682" y="968"/>
                  </a:lnTo>
                  <a:lnTo>
                    <a:pt x="706" y="951"/>
                  </a:lnTo>
                  <a:lnTo>
                    <a:pt x="751" y="917"/>
                  </a:lnTo>
                  <a:lnTo>
                    <a:pt x="774" y="900"/>
                  </a:lnTo>
                  <a:lnTo>
                    <a:pt x="798" y="881"/>
                  </a:lnTo>
                  <a:lnTo>
                    <a:pt x="845" y="843"/>
                  </a:lnTo>
                  <a:lnTo>
                    <a:pt x="894" y="802"/>
                  </a:lnTo>
                  <a:lnTo>
                    <a:pt x="946" y="756"/>
                  </a:lnTo>
                  <a:lnTo>
                    <a:pt x="962" y="741"/>
                  </a:lnTo>
                  <a:lnTo>
                    <a:pt x="977" y="726"/>
                  </a:lnTo>
                  <a:lnTo>
                    <a:pt x="992" y="710"/>
                  </a:lnTo>
                  <a:lnTo>
                    <a:pt x="1006" y="695"/>
                  </a:lnTo>
                  <a:lnTo>
                    <a:pt x="1059" y="632"/>
                  </a:lnTo>
                  <a:lnTo>
                    <a:pt x="1073" y="617"/>
                  </a:lnTo>
                  <a:lnTo>
                    <a:pt x="1087" y="602"/>
                  </a:lnTo>
                  <a:lnTo>
                    <a:pt x="1101" y="587"/>
                  </a:lnTo>
                  <a:lnTo>
                    <a:pt x="1109" y="580"/>
                  </a:lnTo>
                  <a:lnTo>
                    <a:pt x="1116" y="572"/>
                  </a:lnTo>
                  <a:lnTo>
                    <a:pt x="1132" y="559"/>
                  </a:lnTo>
                  <a:lnTo>
                    <a:pt x="1150" y="545"/>
                  </a:lnTo>
                  <a:lnTo>
                    <a:pt x="1168" y="533"/>
                  </a:lnTo>
                  <a:lnTo>
                    <a:pt x="1187" y="521"/>
                  </a:lnTo>
                  <a:lnTo>
                    <a:pt x="1218" y="504"/>
                  </a:lnTo>
                  <a:lnTo>
                    <a:pt x="1232" y="497"/>
                  </a:lnTo>
                  <a:lnTo>
                    <a:pt x="1246" y="490"/>
                  </a:lnTo>
                  <a:lnTo>
                    <a:pt x="1260" y="483"/>
                  </a:lnTo>
                  <a:lnTo>
                    <a:pt x="1274" y="478"/>
                  </a:lnTo>
                  <a:lnTo>
                    <a:pt x="1281" y="475"/>
                  </a:lnTo>
                  <a:lnTo>
                    <a:pt x="1288" y="472"/>
                  </a:lnTo>
                  <a:lnTo>
                    <a:pt x="1301" y="467"/>
                  </a:lnTo>
                  <a:lnTo>
                    <a:pt x="1315" y="463"/>
                  </a:lnTo>
                  <a:lnTo>
                    <a:pt x="1329" y="459"/>
                  </a:lnTo>
                  <a:lnTo>
                    <a:pt x="1344" y="455"/>
                  </a:lnTo>
                  <a:lnTo>
                    <a:pt x="1358" y="451"/>
                  </a:lnTo>
                  <a:lnTo>
                    <a:pt x="1390" y="445"/>
                  </a:lnTo>
                  <a:lnTo>
                    <a:pt x="1424" y="440"/>
                  </a:lnTo>
                  <a:lnTo>
                    <a:pt x="1426" y="440"/>
                  </a:lnTo>
                  <a:lnTo>
                    <a:pt x="1428" y="440"/>
                  </a:lnTo>
                  <a:lnTo>
                    <a:pt x="1429" y="441"/>
                  </a:lnTo>
                  <a:lnTo>
                    <a:pt x="1430" y="441"/>
                  </a:lnTo>
                  <a:lnTo>
                    <a:pt x="1432" y="444"/>
                  </a:lnTo>
                  <a:lnTo>
                    <a:pt x="1433" y="447"/>
                  </a:lnTo>
                  <a:lnTo>
                    <a:pt x="1433" y="450"/>
                  </a:lnTo>
                  <a:lnTo>
                    <a:pt x="1432" y="452"/>
                  </a:lnTo>
                  <a:lnTo>
                    <a:pt x="1430" y="454"/>
                  </a:lnTo>
                  <a:lnTo>
                    <a:pt x="1426" y="456"/>
                  </a:lnTo>
                  <a:lnTo>
                    <a:pt x="1393" y="461"/>
                  </a:lnTo>
                  <a:lnTo>
                    <a:pt x="1362" y="467"/>
                  </a:lnTo>
                  <a:lnTo>
                    <a:pt x="1334" y="474"/>
                  </a:lnTo>
                  <a:lnTo>
                    <a:pt x="1320" y="478"/>
                  </a:lnTo>
                  <a:lnTo>
                    <a:pt x="1306" y="483"/>
                  </a:lnTo>
                  <a:lnTo>
                    <a:pt x="1293" y="487"/>
                  </a:lnTo>
                  <a:lnTo>
                    <a:pt x="1280" y="492"/>
                  </a:lnTo>
                  <a:lnTo>
                    <a:pt x="1267" y="498"/>
                  </a:lnTo>
                  <a:lnTo>
                    <a:pt x="1253" y="504"/>
                  </a:lnTo>
                  <a:lnTo>
                    <a:pt x="1225" y="518"/>
                  </a:lnTo>
                  <a:lnTo>
                    <a:pt x="1195" y="535"/>
                  </a:lnTo>
                  <a:lnTo>
                    <a:pt x="1176" y="546"/>
                  </a:lnTo>
                  <a:lnTo>
                    <a:pt x="1158" y="559"/>
                  </a:lnTo>
                  <a:lnTo>
                    <a:pt x="1142" y="572"/>
                  </a:lnTo>
                  <a:lnTo>
                    <a:pt x="1134" y="579"/>
                  </a:lnTo>
                  <a:lnTo>
                    <a:pt x="1126" y="585"/>
                  </a:lnTo>
                  <a:lnTo>
                    <a:pt x="1111" y="600"/>
                  </a:lnTo>
                  <a:lnTo>
                    <a:pt x="1104" y="607"/>
                  </a:lnTo>
                  <a:lnTo>
                    <a:pt x="1097" y="614"/>
                  </a:lnTo>
                  <a:lnTo>
                    <a:pt x="1083" y="629"/>
                  </a:lnTo>
                  <a:lnTo>
                    <a:pt x="1069" y="645"/>
                  </a:lnTo>
                  <a:lnTo>
                    <a:pt x="1043" y="676"/>
                  </a:lnTo>
                  <a:lnTo>
                    <a:pt x="1016" y="707"/>
                  </a:lnTo>
                  <a:lnTo>
                    <a:pt x="1002" y="723"/>
                  </a:lnTo>
                  <a:lnTo>
                    <a:pt x="987" y="738"/>
                  </a:lnTo>
                  <a:lnTo>
                    <a:pt x="972" y="753"/>
                  </a:lnTo>
                  <a:lnTo>
                    <a:pt x="957" y="768"/>
                  </a:lnTo>
                  <a:lnTo>
                    <a:pt x="907" y="811"/>
                  </a:lnTo>
                  <a:lnTo>
                    <a:pt x="884" y="831"/>
                  </a:lnTo>
                  <a:lnTo>
                    <a:pt x="861" y="850"/>
                  </a:lnTo>
                  <a:lnTo>
                    <a:pt x="839" y="869"/>
                  </a:lnTo>
                  <a:lnTo>
                    <a:pt x="817" y="886"/>
                  </a:lnTo>
                  <a:lnTo>
                    <a:pt x="773" y="920"/>
                  </a:lnTo>
                  <a:lnTo>
                    <a:pt x="731" y="953"/>
                  </a:lnTo>
                  <a:lnTo>
                    <a:pt x="687" y="984"/>
                  </a:lnTo>
                  <a:lnTo>
                    <a:pt x="643" y="1015"/>
                  </a:lnTo>
                  <a:lnTo>
                    <a:pt x="619" y="1031"/>
                  </a:lnTo>
                  <a:lnTo>
                    <a:pt x="595" y="1047"/>
                  </a:lnTo>
                  <a:lnTo>
                    <a:pt x="1042" y="834"/>
                  </a:lnTo>
                  <a:lnTo>
                    <a:pt x="1488" y="622"/>
                  </a:lnTo>
                  <a:lnTo>
                    <a:pt x="1492" y="621"/>
                  </a:lnTo>
                  <a:lnTo>
                    <a:pt x="1495" y="622"/>
                  </a:lnTo>
                  <a:lnTo>
                    <a:pt x="1497" y="623"/>
                  </a:lnTo>
                  <a:lnTo>
                    <a:pt x="1499" y="626"/>
                  </a:lnTo>
                  <a:lnTo>
                    <a:pt x="1500" y="629"/>
                  </a:lnTo>
                  <a:lnTo>
                    <a:pt x="1499" y="632"/>
                  </a:lnTo>
                  <a:lnTo>
                    <a:pt x="1499" y="633"/>
                  </a:lnTo>
                  <a:lnTo>
                    <a:pt x="1498" y="634"/>
                  </a:lnTo>
                  <a:lnTo>
                    <a:pt x="1495" y="636"/>
                  </a:lnTo>
                  <a:lnTo>
                    <a:pt x="1045" y="850"/>
                  </a:lnTo>
                  <a:lnTo>
                    <a:pt x="595" y="1065"/>
                  </a:lnTo>
                  <a:lnTo>
                    <a:pt x="1019" y="905"/>
                  </a:lnTo>
                  <a:lnTo>
                    <a:pt x="1442" y="746"/>
                  </a:lnTo>
                  <a:lnTo>
                    <a:pt x="1444" y="746"/>
                  </a:lnTo>
                  <a:lnTo>
                    <a:pt x="1445" y="746"/>
                  </a:lnTo>
                  <a:lnTo>
                    <a:pt x="1448" y="747"/>
                  </a:lnTo>
                  <a:lnTo>
                    <a:pt x="1451" y="749"/>
                  </a:lnTo>
                  <a:lnTo>
                    <a:pt x="1452" y="751"/>
                  </a:lnTo>
                  <a:lnTo>
                    <a:pt x="1453" y="754"/>
                  </a:lnTo>
                  <a:lnTo>
                    <a:pt x="1452" y="757"/>
                  </a:lnTo>
                  <a:lnTo>
                    <a:pt x="1452" y="758"/>
                  </a:lnTo>
                  <a:lnTo>
                    <a:pt x="1451" y="760"/>
                  </a:lnTo>
                  <a:lnTo>
                    <a:pt x="1448" y="761"/>
                  </a:lnTo>
                  <a:lnTo>
                    <a:pt x="959" y="945"/>
                  </a:lnTo>
                  <a:lnTo>
                    <a:pt x="469" y="1129"/>
                  </a:lnTo>
                  <a:lnTo>
                    <a:pt x="910" y="1095"/>
                  </a:lnTo>
                  <a:lnTo>
                    <a:pt x="1351" y="1062"/>
                  </a:lnTo>
                  <a:lnTo>
                    <a:pt x="1352" y="1062"/>
                  </a:lnTo>
                  <a:lnTo>
                    <a:pt x="1354" y="1062"/>
                  </a:lnTo>
                  <a:lnTo>
                    <a:pt x="1357" y="1064"/>
                  </a:lnTo>
                  <a:lnTo>
                    <a:pt x="1358" y="1066"/>
                  </a:lnTo>
                  <a:lnTo>
                    <a:pt x="1359" y="1069"/>
                  </a:lnTo>
                  <a:lnTo>
                    <a:pt x="1359" y="1072"/>
                  </a:lnTo>
                  <a:lnTo>
                    <a:pt x="1358" y="1075"/>
                  </a:lnTo>
                  <a:lnTo>
                    <a:pt x="1355" y="1077"/>
                  </a:lnTo>
                  <a:lnTo>
                    <a:pt x="1352" y="1078"/>
                  </a:lnTo>
                  <a:lnTo>
                    <a:pt x="927" y="1111"/>
                  </a:lnTo>
                  <a:lnTo>
                    <a:pt x="502" y="1144"/>
                  </a:lnTo>
                  <a:lnTo>
                    <a:pt x="1058" y="1265"/>
                  </a:lnTo>
                  <a:lnTo>
                    <a:pt x="1060" y="1266"/>
                  </a:lnTo>
                  <a:lnTo>
                    <a:pt x="1062" y="1266"/>
                  </a:lnTo>
                  <a:lnTo>
                    <a:pt x="1064" y="1269"/>
                  </a:lnTo>
                  <a:lnTo>
                    <a:pt x="1065" y="1272"/>
                  </a:lnTo>
                  <a:lnTo>
                    <a:pt x="1065" y="1273"/>
                  </a:lnTo>
                  <a:lnTo>
                    <a:pt x="1064" y="1275"/>
                  </a:lnTo>
                  <a:lnTo>
                    <a:pt x="1063" y="1277"/>
                  </a:lnTo>
                  <a:lnTo>
                    <a:pt x="1061" y="1279"/>
                  </a:lnTo>
                  <a:lnTo>
                    <a:pt x="1059" y="1281"/>
                  </a:lnTo>
                  <a:lnTo>
                    <a:pt x="1055" y="1281"/>
                  </a:lnTo>
                  <a:lnTo>
                    <a:pt x="519" y="1164"/>
                  </a:lnTo>
                  <a:lnTo>
                    <a:pt x="1042" y="1357"/>
                  </a:lnTo>
                  <a:lnTo>
                    <a:pt x="1045" y="1359"/>
                  </a:lnTo>
                  <a:lnTo>
                    <a:pt x="1047" y="1361"/>
                  </a:lnTo>
                  <a:lnTo>
                    <a:pt x="1047" y="1364"/>
                  </a:lnTo>
                  <a:lnTo>
                    <a:pt x="1047" y="1367"/>
                  </a:lnTo>
                  <a:lnTo>
                    <a:pt x="1046" y="1369"/>
                  </a:lnTo>
                  <a:lnTo>
                    <a:pt x="1045" y="1370"/>
                  </a:lnTo>
                  <a:lnTo>
                    <a:pt x="1043" y="1372"/>
                  </a:lnTo>
                  <a:lnTo>
                    <a:pt x="1040" y="1373"/>
                  </a:lnTo>
                  <a:lnTo>
                    <a:pt x="1038" y="1372"/>
                  </a:lnTo>
                  <a:lnTo>
                    <a:pt x="1036" y="1372"/>
                  </a:lnTo>
                  <a:lnTo>
                    <a:pt x="441" y="1152"/>
                  </a:lnTo>
                  <a:lnTo>
                    <a:pt x="439" y="1154"/>
                  </a:lnTo>
                  <a:lnTo>
                    <a:pt x="436" y="1156"/>
                  </a:lnTo>
                  <a:lnTo>
                    <a:pt x="433" y="1156"/>
                  </a:lnTo>
                  <a:lnTo>
                    <a:pt x="431" y="1156"/>
                  </a:lnTo>
                  <a:lnTo>
                    <a:pt x="429" y="1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Title 1"/>
          <p:cNvSpPr>
            <a:spLocks noGrp="1"/>
          </p:cNvSpPr>
          <p:nvPr>
            <p:ph type="ctrTitle"/>
          </p:nvPr>
        </p:nvSpPr>
        <p:spPr>
          <a:xfrm>
            <a:off x="623887" y="1916832"/>
            <a:ext cx="10944226" cy="1512168"/>
          </a:xfrm>
        </p:spPr>
        <p:txBody>
          <a:bodyPr anchor="b"/>
          <a:lstStyle>
            <a:lvl1pPr algn="ctr">
              <a:defRPr sz="4000" b="1" spc="-100" baseline="0">
                <a:solidFill>
                  <a:schemeClr val="bg1"/>
                </a:solidFill>
              </a:defRPr>
            </a:lvl1pPr>
          </a:lstStyle>
          <a:p>
            <a:r>
              <a:rPr lang="en-US"/>
              <a:t>Click to edit Master title style</a:t>
            </a:r>
            <a:endParaRPr lang="fi-FI" dirty="0"/>
          </a:p>
        </p:txBody>
      </p:sp>
      <p:sp>
        <p:nvSpPr>
          <p:cNvPr id="3" name="Subtitle 2"/>
          <p:cNvSpPr>
            <a:spLocks noGrp="1"/>
          </p:cNvSpPr>
          <p:nvPr>
            <p:ph type="subTitle" idx="1"/>
          </p:nvPr>
        </p:nvSpPr>
        <p:spPr>
          <a:xfrm>
            <a:off x="623887" y="3645024"/>
            <a:ext cx="10944225" cy="1584201"/>
          </a:xfrm>
        </p:spPr>
        <p:txBody>
          <a:bodyPr/>
          <a:lstStyle>
            <a:lvl1pPr marL="0" indent="0" algn="ctr">
              <a:buNone/>
              <a:defRPr sz="1400" cap="all" spc="1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
        <p:nvSpPr>
          <p:cNvPr id="4" name="Date Placeholder 3"/>
          <p:cNvSpPr>
            <a:spLocks noGrp="1"/>
          </p:cNvSpPr>
          <p:nvPr>
            <p:ph type="dt" sz="half" idx="10"/>
          </p:nvPr>
        </p:nvSpPr>
        <p:spPr/>
        <p:txBody>
          <a:bodyPr/>
          <a:lstStyle>
            <a:lvl1pPr>
              <a:defRPr>
                <a:noFill/>
              </a:defRPr>
            </a:lvl1pPr>
          </a:lstStyle>
          <a:p>
            <a:fld id="{2A03FF16-E9BC-4D9D-9495-29A6954770D4}" type="datetime4">
              <a:rPr lang="en-GB" smtClean="0"/>
              <a:t>16 February 2023</a:t>
            </a:fld>
            <a:endParaRPr lang="fi-FI"/>
          </a:p>
        </p:txBody>
      </p:sp>
      <p:sp>
        <p:nvSpPr>
          <p:cNvPr id="5" name="Footer Placeholder 4"/>
          <p:cNvSpPr>
            <a:spLocks noGrp="1"/>
          </p:cNvSpPr>
          <p:nvPr>
            <p:ph type="ftr" sz="quarter" idx="11"/>
          </p:nvPr>
        </p:nvSpPr>
        <p:spPr/>
        <p:txBody>
          <a:bodyPr/>
          <a:lstStyle>
            <a:lvl1pPr>
              <a:defRPr>
                <a:noFill/>
              </a:defRPr>
            </a:lvl1pPr>
          </a:lstStyle>
          <a:p>
            <a:r>
              <a:rPr lang="fi-FI"/>
              <a:t>CONFIDENTIAL</a:t>
            </a:r>
          </a:p>
        </p:txBody>
      </p:sp>
      <p:sp>
        <p:nvSpPr>
          <p:cNvPr id="6" name="Slide Number Placeholder 5"/>
          <p:cNvSpPr>
            <a:spLocks noGrp="1"/>
          </p:cNvSpPr>
          <p:nvPr>
            <p:ph type="sldNum" sz="quarter" idx="12"/>
          </p:nvPr>
        </p:nvSpPr>
        <p:spPr/>
        <p:txBody>
          <a:bodyPr/>
          <a:lstStyle>
            <a:lvl1pPr>
              <a:defRPr>
                <a:noFill/>
              </a:defRPr>
            </a:lvl1pPr>
          </a:lstStyle>
          <a:p>
            <a:fld id="{C681002B-9E36-49F2-803E-4F1D6FC85B63}" type="slidenum">
              <a:rPr lang="fi-FI" smtClean="0"/>
              <a:pPr/>
              <a:t>‹#›</a:t>
            </a:fld>
            <a:endParaRPr lang="fi-FI"/>
          </a:p>
        </p:txBody>
      </p:sp>
      <p:sp>
        <p:nvSpPr>
          <p:cNvPr id="11" name="Text Placeholder 11"/>
          <p:cNvSpPr>
            <a:spLocks noGrp="1"/>
          </p:cNvSpPr>
          <p:nvPr>
            <p:ph type="body" sz="quarter" idx="14" hasCustomPrompt="1"/>
          </p:nvPr>
        </p:nvSpPr>
        <p:spPr>
          <a:xfrm>
            <a:off x="623889" y="5445224"/>
            <a:ext cx="10944224" cy="432048"/>
          </a:xfrm>
        </p:spPr>
        <p:txBody>
          <a:bodyPr anchor="t" anchorCtr="0"/>
          <a:lstStyle>
            <a:lvl1pPr marL="0" indent="0" algn="ctr">
              <a:lnSpc>
                <a:spcPct val="100000"/>
              </a:lnSpc>
              <a:spcBef>
                <a:spcPts val="200"/>
              </a:spcBef>
              <a:buFontTx/>
              <a:buNone/>
              <a:defRPr sz="1200" b="0" cap="none" baseline="0">
                <a:solidFill>
                  <a:schemeClr val="bg1"/>
                </a:solidFill>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Date Place or other additional info</a:t>
            </a:r>
          </a:p>
        </p:txBody>
      </p:sp>
      <p:pic>
        <p:nvPicPr>
          <p:cNvPr id="21" name="Graphic 20">
            <a:extLst>
              <a:ext uri="{FF2B5EF4-FFF2-40B4-BE49-F238E27FC236}">
                <a16:creationId xmlns:a16="http://schemas.microsoft.com/office/drawing/2014/main" id="{D266F84B-1B3C-4E59-8339-EB15E2BD9E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45002" y="634852"/>
            <a:ext cx="2301994" cy="920798"/>
          </a:xfrm>
          <a:prstGeom prst="rect">
            <a:avLst/>
          </a:prstGeom>
        </p:spPr>
      </p:pic>
    </p:spTree>
    <p:extLst>
      <p:ext uri="{BB962C8B-B14F-4D97-AF65-F5344CB8AC3E}">
        <p14:creationId xmlns:p14="http://schemas.microsoft.com/office/powerpoint/2010/main" val="258467503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dirty="0"/>
          </a:p>
        </p:txBody>
      </p:sp>
      <p:sp>
        <p:nvSpPr>
          <p:cNvPr id="3" name="Content Placeholder 2"/>
          <p:cNvSpPr>
            <a:spLocks noGrp="1"/>
          </p:cNvSpPr>
          <p:nvPr>
            <p:ph idx="1"/>
          </p:nvPr>
        </p:nvSpPr>
        <p:spPr/>
        <p:txBody>
          <a:bodyPr/>
          <a:lstStyle>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 name="Date Placeholder 3"/>
          <p:cNvSpPr>
            <a:spLocks noGrp="1"/>
          </p:cNvSpPr>
          <p:nvPr>
            <p:ph type="dt" sz="half" idx="10"/>
          </p:nvPr>
        </p:nvSpPr>
        <p:spPr/>
        <p:txBody>
          <a:bodyPr/>
          <a:lstStyle/>
          <a:p>
            <a:fld id="{FD8D7F8A-95D3-493E-AB45-5E68E9F4890E}" type="datetime4">
              <a:rPr lang="en-GB" smtClean="0"/>
              <a:t>16 February 2023</a:t>
            </a:fld>
            <a:endParaRPr lang="fi-FI"/>
          </a:p>
        </p:txBody>
      </p:sp>
      <p:sp>
        <p:nvSpPr>
          <p:cNvPr id="5" name="Footer Placeholder 4"/>
          <p:cNvSpPr>
            <a:spLocks noGrp="1"/>
          </p:cNvSpPr>
          <p:nvPr>
            <p:ph type="ftr" sz="quarter" idx="11"/>
          </p:nvPr>
        </p:nvSpPr>
        <p:spPr/>
        <p:txBody>
          <a:bodyPr/>
          <a:lstStyle/>
          <a:p>
            <a:r>
              <a:rPr lang="fi-FI"/>
              <a:t>CONFIDENTIAL</a:t>
            </a:r>
          </a:p>
        </p:txBody>
      </p:sp>
      <p:sp>
        <p:nvSpPr>
          <p:cNvPr id="6" name="Slide Number Placeholder 5"/>
          <p:cNvSpPr>
            <a:spLocks noGrp="1"/>
          </p:cNvSpPr>
          <p:nvPr>
            <p:ph type="sldNum" sz="quarter" idx="12"/>
          </p:nvPr>
        </p:nvSpPr>
        <p:spPr/>
        <p:txBody>
          <a:bodyPr/>
          <a:lstStyle/>
          <a:p>
            <a:fld id="{C681002B-9E36-49F2-803E-4F1D6FC85B63}" type="slidenum">
              <a:rPr lang="fi-FI" smtClean="0"/>
              <a:t>‹#›</a:t>
            </a:fld>
            <a:endParaRPr lang="fi-FI"/>
          </a:p>
        </p:txBody>
      </p:sp>
      <p:sp>
        <p:nvSpPr>
          <p:cNvPr id="7" name="Text Placeholder 11"/>
          <p:cNvSpPr>
            <a:spLocks noGrp="1"/>
          </p:cNvSpPr>
          <p:nvPr>
            <p:ph type="body" sz="quarter" idx="15" hasCustomPrompt="1"/>
          </p:nvPr>
        </p:nvSpPr>
        <p:spPr>
          <a:xfrm>
            <a:off x="623888" y="404813"/>
            <a:ext cx="9001126" cy="215901"/>
          </a:xfrm>
        </p:spPr>
        <p:txBody>
          <a:bodyPr/>
          <a:lstStyle>
            <a:lvl1pPr marL="0" indent="0">
              <a:lnSpc>
                <a:spcPct val="90000"/>
              </a:lnSpc>
              <a:spcBef>
                <a:spcPts val="0"/>
              </a:spcBef>
              <a:buFontTx/>
              <a:buNone/>
              <a:defRPr sz="1200" b="0" cap="all" spc="100" baseline="0">
                <a:solidFill>
                  <a:schemeClr val="bg1">
                    <a:lumMod val="50000"/>
                  </a:schemeClr>
                </a:solidFill>
                <a:latin typeface="+mj-lt"/>
              </a:defRPr>
            </a:lvl1pPr>
            <a:lvl2pPr marL="0" indent="0">
              <a:lnSpc>
                <a:spcPct val="100000"/>
              </a:lnSpc>
              <a:spcBef>
                <a:spcPts val="200"/>
              </a:spcBef>
              <a:buFontTx/>
              <a:buNone/>
              <a:defRPr sz="1100"/>
            </a:lvl2pPr>
            <a:lvl3pPr marL="0" indent="0">
              <a:lnSpc>
                <a:spcPct val="100000"/>
              </a:lnSpc>
              <a:spcBef>
                <a:spcPts val="200"/>
              </a:spcBef>
              <a:buFontTx/>
              <a:buNone/>
              <a:defRPr sz="1100"/>
            </a:lvl3pPr>
            <a:lvl4pPr marL="0" indent="0">
              <a:lnSpc>
                <a:spcPct val="100000"/>
              </a:lnSpc>
              <a:spcBef>
                <a:spcPts val="200"/>
              </a:spcBef>
              <a:buFontTx/>
              <a:buNone/>
              <a:defRPr sz="1100"/>
            </a:lvl4pPr>
            <a:lvl5pPr marL="0" indent="0">
              <a:lnSpc>
                <a:spcPct val="100000"/>
              </a:lnSpc>
              <a:spcBef>
                <a:spcPts val="200"/>
              </a:spcBef>
              <a:buFontTx/>
              <a:buNone/>
              <a:defRPr sz="1100"/>
            </a:lvl5pPr>
          </a:lstStyle>
          <a:p>
            <a:pPr lvl="0"/>
            <a:r>
              <a:rPr lang="en-US" dirty="0"/>
              <a:t>Theme heading</a:t>
            </a:r>
          </a:p>
        </p:txBody>
      </p:sp>
      <p:sp>
        <p:nvSpPr>
          <p:cNvPr id="9" name="Text Placeholder 12"/>
          <p:cNvSpPr>
            <a:spLocks noGrp="1"/>
          </p:cNvSpPr>
          <p:nvPr>
            <p:ph type="body" sz="quarter" idx="27" hasCustomPrompt="1"/>
          </p:nvPr>
        </p:nvSpPr>
        <p:spPr>
          <a:xfrm>
            <a:off x="623889" y="6093296"/>
            <a:ext cx="10944224" cy="288032"/>
          </a:xfrm>
        </p:spPr>
        <p:txBody>
          <a:bodyPr wrap="square" anchor="t" anchorCtr="0">
            <a:noAutofit/>
          </a:bodyPr>
          <a:lstStyle>
            <a:lvl1pPr marL="0" indent="0">
              <a:lnSpc>
                <a:spcPct val="100000"/>
              </a:lnSpc>
              <a:spcBef>
                <a:spcPts val="200"/>
              </a:spcBef>
              <a:buFontTx/>
              <a:buNone/>
              <a:defRPr sz="800" baseline="0">
                <a:solidFill>
                  <a:srgbClr val="404040"/>
                </a:solidFill>
              </a:defRPr>
            </a:lvl1pPr>
            <a:lvl2pPr>
              <a:spcBef>
                <a:spcPts val="200"/>
              </a:spcBef>
              <a:defRPr sz="1000"/>
            </a:lvl2pPr>
            <a:lvl3pPr>
              <a:spcBef>
                <a:spcPts val="200"/>
              </a:spcBef>
              <a:defRPr sz="1000"/>
            </a:lvl3pPr>
            <a:lvl4pPr>
              <a:spcBef>
                <a:spcPts val="200"/>
              </a:spcBef>
              <a:defRPr sz="1050"/>
            </a:lvl4pPr>
            <a:lvl5pPr>
              <a:spcBef>
                <a:spcPts val="200"/>
              </a:spcBef>
              <a:defRPr sz="1000"/>
            </a:lvl5pPr>
          </a:lstStyle>
          <a:p>
            <a:pPr lvl="0"/>
            <a:r>
              <a:rPr lang="en-US" dirty="0"/>
              <a:t>Add source or additional info</a:t>
            </a:r>
          </a:p>
        </p:txBody>
      </p:sp>
    </p:spTree>
    <p:extLst>
      <p:ext uri="{BB962C8B-B14F-4D97-AF65-F5344CB8AC3E}">
        <p14:creationId xmlns:p14="http://schemas.microsoft.com/office/powerpoint/2010/main" val="183938657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p:spTree>
      <p:nvGrpSpPr>
        <p:cNvPr id="1" name=""/>
        <p:cNvGrpSpPr/>
        <p:nvPr/>
      </p:nvGrpSpPr>
      <p:grpSpPr>
        <a:xfrm>
          <a:off x="0" y="0"/>
          <a:ext cx="0" cy="0"/>
          <a:chOff x="0" y="0"/>
          <a:chExt cx="0" cy="0"/>
        </a:xfrm>
      </p:grpSpPr>
      <p:sp>
        <p:nvSpPr>
          <p:cNvPr id="2" name="Title 1"/>
          <p:cNvSpPr>
            <a:spLocks noGrp="1"/>
          </p:cNvSpPr>
          <p:nvPr>
            <p:ph type="title"/>
          </p:nvPr>
        </p:nvSpPr>
        <p:spPr>
          <a:xfrm>
            <a:off x="623888" y="1628775"/>
            <a:ext cx="10944225" cy="1800225"/>
          </a:xfrm>
        </p:spPr>
        <p:txBody>
          <a:bodyPr anchor="b" anchorCtr="0">
            <a:noAutofit/>
          </a:bodyPr>
          <a:lstStyle>
            <a:lvl1pPr algn="ctr">
              <a:defRPr sz="4000" b="1" spc="-100" baseline="0"/>
            </a:lvl1pPr>
          </a:lstStyle>
          <a:p>
            <a:r>
              <a:rPr lang="en-US"/>
              <a:t>Click to edit Master title style</a:t>
            </a:r>
            <a:endParaRPr lang="fi-FI" dirty="0"/>
          </a:p>
        </p:txBody>
      </p:sp>
      <p:sp>
        <p:nvSpPr>
          <p:cNvPr id="4" name="Date Placeholder 3"/>
          <p:cNvSpPr>
            <a:spLocks noGrp="1"/>
          </p:cNvSpPr>
          <p:nvPr>
            <p:ph type="dt" sz="half" idx="10"/>
          </p:nvPr>
        </p:nvSpPr>
        <p:spPr/>
        <p:txBody>
          <a:bodyPr/>
          <a:lstStyle/>
          <a:p>
            <a:fld id="{24DAD3F8-8609-4934-ACE7-7A9E0CE8C67E}" type="datetime4">
              <a:rPr lang="en-GB" smtClean="0"/>
              <a:t>16 February 2023</a:t>
            </a:fld>
            <a:endParaRPr lang="fi-FI"/>
          </a:p>
        </p:txBody>
      </p:sp>
      <p:sp>
        <p:nvSpPr>
          <p:cNvPr id="5" name="Footer Placeholder 4"/>
          <p:cNvSpPr>
            <a:spLocks noGrp="1"/>
          </p:cNvSpPr>
          <p:nvPr>
            <p:ph type="ftr" sz="quarter" idx="11"/>
          </p:nvPr>
        </p:nvSpPr>
        <p:spPr/>
        <p:txBody>
          <a:bodyPr/>
          <a:lstStyle/>
          <a:p>
            <a:r>
              <a:rPr lang="fi-FI"/>
              <a:t>CONFIDENTIAL</a:t>
            </a:r>
          </a:p>
        </p:txBody>
      </p:sp>
      <p:sp>
        <p:nvSpPr>
          <p:cNvPr id="6" name="Slide Number Placeholder 5"/>
          <p:cNvSpPr>
            <a:spLocks noGrp="1"/>
          </p:cNvSpPr>
          <p:nvPr>
            <p:ph type="sldNum" sz="quarter" idx="12"/>
          </p:nvPr>
        </p:nvSpPr>
        <p:spPr/>
        <p:txBody>
          <a:bodyPr/>
          <a:lstStyle/>
          <a:p>
            <a:fld id="{C681002B-9E36-49F2-803E-4F1D6FC85B63}" type="slidenum">
              <a:rPr lang="fi-FI" smtClean="0"/>
              <a:t>‹#›</a:t>
            </a:fld>
            <a:endParaRPr lang="fi-FI"/>
          </a:p>
        </p:txBody>
      </p:sp>
      <p:sp>
        <p:nvSpPr>
          <p:cNvPr id="9" name="Text Placeholder 27"/>
          <p:cNvSpPr>
            <a:spLocks noGrp="1"/>
          </p:cNvSpPr>
          <p:nvPr>
            <p:ph type="body" sz="quarter" idx="36" hasCustomPrompt="1"/>
          </p:nvPr>
        </p:nvSpPr>
        <p:spPr>
          <a:xfrm>
            <a:off x="623888" y="836713"/>
            <a:ext cx="10944225" cy="432047"/>
          </a:xfrm>
        </p:spPr>
        <p:txBody>
          <a:bodyPr/>
          <a:lstStyle>
            <a:lvl1pPr marL="0" indent="0" algn="ctr">
              <a:lnSpc>
                <a:spcPct val="100000"/>
              </a:lnSpc>
              <a:buFontTx/>
              <a:buNone/>
              <a:defRPr sz="1400" b="1" cap="all" baseline="0"/>
            </a:lvl1pPr>
            <a:lvl2pPr marL="0" indent="0">
              <a:lnSpc>
                <a:spcPct val="100000"/>
              </a:lnSpc>
              <a:buFontTx/>
              <a:buNone/>
              <a:defRPr sz="1200"/>
            </a:lvl2pPr>
            <a:lvl3pPr marL="0" indent="0">
              <a:lnSpc>
                <a:spcPct val="100000"/>
              </a:lnSpc>
              <a:buFontTx/>
              <a:buNone/>
              <a:defRPr sz="1200"/>
            </a:lvl3pPr>
            <a:lvl4pPr marL="0" indent="0">
              <a:buFontTx/>
              <a:buNone/>
              <a:defRPr sz="1200"/>
            </a:lvl4pPr>
            <a:lvl5pPr marL="0" indent="0">
              <a:buFontTx/>
              <a:buNone/>
              <a:defRPr sz="1200"/>
            </a:lvl5pPr>
            <a:lvl6pPr marL="0" indent="0">
              <a:buFontTx/>
              <a:buNone/>
              <a:defRPr sz="1200"/>
            </a:lvl6pPr>
            <a:lvl7pPr marL="0" indent="0">
              <a:buFontTx/>
              <a:buNone/>
              <a:defRPr sz="1200"/>
            </a:lvl7pPr>
            <a:lvl8pPr marL="0" indent="0">
              <a:buFontTx/>
              <a:buNone/>
              <a:defRPr sz="1200"/>
            </a:lvl8pPr>
            <a:lvl9pPr marL="0" indent="0">
              <a:buFontTx/>
              <a:buNone/>
              <a:defRPr sz="1200"/>
            </a:lvl9pPr>
          </a:lstStyle>
          <a:p>
            <a:pPr lvl="0"/>
            <a:r>
              <a:rPr lang="en-US" dirty="0"/>
              <a:t>section</a:t>
            </a:r>
          </a:p>
        </p:txBody>
      </p:sp>
      <p:sp>
        <p:nvSpPr>
          <p:cNvPr id="10" name="Subtitle 2"/>
          <p:cNvSpPr>
            <a:spLocks noGrp="1"/>
          </p:cNvSpPr>
          <p:nvPr>
            <p:ph type="subTitle" idx="1"/>
          </p:nvPr>
        </p:nvSpPr>
        <p:spPr>
          <a:xfrm>
            <a:off x="623887" y="3645024"/>
            <a:ext cx="10944225" cy="1584201"/>
          </a:xfrm>
        </p:spPr>
        <p:txBody>
          <a:bodyPr/>
          <a:lstStyle>
            <a:lvl1pPr marL="0" indent="0" algn="ctr">
              <a:buNone/>
              <a:defRPr sz="1400" cap="all" spc="1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dirty="0"/>
          </a:p>
        </p:txBody>
      </p:sp>
    </p:spTree>
    <p:extLst>
      <p:ext uri="{BB962C8B-B14F-4D97-AF65-F5344CB8AC3E}">
        <p14:creationId xmlns:p14="http://schemas.microsoft.com/office/powerpoint/2010/main" val="27656338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61"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4.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0C32B9-4975-4DB8-B8C5-C607E4912CFB}"/>
              </a:ext>
            </a:extLst>
          </p:cNvPr>
          <p:cNvGraphicFramePr>
            <a:graphicFrameLocks noChangeAspect="1"/>
          </p:cNvGraphicFramePr>
          <p:nvPr userDrawn="1">
            <p:custDataLst>
              <p:tags r:id="rId59"/>
            </p:custDataLst>
            <p:extLst>
              <p:ext uri="{D42A27DB-BD31-4B8C-83A1-F6EECF244321}">
                <p14:modId xmlns:p14="http://schemas.microsoft.com/office/powerpoint/2010/main" val="2255580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Slide" r:id="rId60" imgW="592" imgH="591" progId="TCLayout.ActiveDocument.1">
                  <p:embed/>
                </p:oleObj>
              </mc:Choice>
              <mc:Fallback>
                <p:oleObj name="think-cell Slide" r:id="rId60" imgW="592" imgH="591" progId="TCLayout.ActiveDocument.1">
                  <p:embed/>
                  <p:pic>
                    <p:nvPicPr>
                      <p:cNvPr id="0" name=""/>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3888" y="620713"/>
            <a:ext cx="9001125" cy="792063"/>
          </a:xfrm>
          <a:prstGeom prst="rect">
            <a:avLst/>
          </a:prstGeom>
        </p:spPr>
        <p:txBody>
          <a:bodyPr vert="horz" lIns="0" tIns="0" rIns="0" bIns="0" rtlCol="0" anchor="t" anchorCtr="0">
            <a:noAutofit/>
          </a:bodyPr>
          <a:lstStyle/>
          <a:p>
            <a:r>
              <a:rPr lang="en-US"/>
              <a:t>Click to edit Master title style</a:t>
            </a:r>
            <a:endParaRPr lang="fi-FI" dirty="0"/>
          </a:p>
        </p:txBody>
      </p:sp>
      <p:sp>
        <p:nvSpPr>
          <p:cNvPr id="3" name="Text Placeholder 2"/>
          <p:cNvSpPr>
            <a:spLocks noGrp="1"/>
          </p:cNvSpPr>
          <p:nvPr>
            <p:ph type="body" idx="1"/>
          </p:nvPr>
        </p:nvSpPr>
        <p:spPr>
          <a:xfrm>
            <a:off x="623888" y="1628775"/>
            <a:ext cx="10944225" cy="4392613"/>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 name="Date Placeholder 3"/>
          <p:cNvSpPr>
            <a:spLocks noGrp="1"/>
          </p:cNvSpPr>
          <p:nvPr>
            <p:ph type="dt" sz="half" idx="2"/>
          </p:nvPr>
        </p:nvSpPr>
        <p:spPr>
          <a:xfrm>
            <a:off x="9408368" y="6381179"/>
            <a:ext cx="1799456" cy="144165"/>
          </a:xfrm>
          <a:prstGeom prst="rect">
            <a:avLst/>
          </a:prstGeom>
        </p:spPr>
        <p:txBody>
          <a:bodyPr vert="horz" lIns="0" tIns="0" rIns="0" bIns="0" rtlCol="0" anchor="ctr" anchorCtr="0">
            <a:noAutofit/>
          </a:bodyPr>
          <a:lstStyle>
            <a:lvl1pPr algn="r">
              <a:defRPr sz="600" cap="all" spc="100" normalizeH="0" baseline="0">
                <a:solidFill>
                  <a:srgbClr val="404040"/>
                </a:solidFill>
              </a:defRPr>
            </a:lvl1pPr>
          </a:lstStyle>
          <a:p>
            <a:fld id="{5DF0B8DC-9546-4608-82F1-E483307673CA}" type="datetime4">
              <a:rPr lang="en-GB" smtClean="0"/>
              <a:t>16 February 2023</a:t>
            </a:fld>
            <a:endParaRPr lang="fi-FI"/>
          </a:p>
        </p:txBody>
      </p:sp>
      <p:sp>
        <p:nvSpPr>
          <p:cNvPr id="5" name="Footer Placeholder 4"/>
          <p:cNvSpPr>
            <a:spLocks noGrp="1"/>
          </p:cNvSpPr>
          <p:nvPr>
            <p:ph type="ftr" sz="quarter" idx="3"/>
          </p:nvPr>
        </p:nvSpPr>
        <p:spPr>
          <a:xfrm>
            <a:off x="623888" y="6381327"/>
            <a:ext cx="8785225" cy="144017"/>
          </a:xfrm>
          <a:prstGeom prst="rect">
            <a:avLst/>
          </a:prstGeom>
        </p:spPr>
        <p:txBody>
          <a:bodyPr vert="horz" lIns="0" tIns="0" rIns="0" bIns="0" rtlCol="0" anchor="ctr" anchorCtr="0">
            <a:noAutofit/>
          </a:bodyPr>
          <a:lstStyle>
            <a:lvl1pPr algn="l">
              <a:defRPr sz="600" cap="all" spc="100" normalizeH="0" baseline="0">
                <a:solidFill>
                  <a:srgbClr val="404040"/>
                </a:solidFill>
              </a:defRPr>
            </a:lvl1pPr>
          </a:lstStyle>
          <a:p>
            <a:r>
              <a:rPr lang="fi-FI" dirty="0"/>
              <a:t>CONFIDENTIAL</a:t>
            </a:r>
          </a:p>
        </p:txBody>
      </p:sp>
      <p:sp>
        <p:nvSpPr>
          <p:cNvPr id="6" name="Slide Number Placeholder 5"/>
          <p:cNvSpPr>
            <a:spLocks noGrp="1"/>
          </p:cNvSpPr>
          <p:nvPr>
            <p:ph type="sldNum" sz="quarter" idx="4"/>
          </p:nvPr>
        </p:nvSpPr>
        <p:spPr>
          <a:xfrm>
            <a:off x="11208569" y="6381180"/>
            <a:ext cx="359544" cy="144164"/>
          </a:xfrm>
          <a:prstGeom prst="rect">
            <a:avLst/>
          </a:prstGeom>
        </p:spPr>
        <p:txBody>
          <a:bodyPr vert="horz" lIns="0" tIns="0" rIns="0" bIns="0" rtlCol="0" anchor="ctr" anchorCtr="0">
            <a:noAutofit/>
          </a:bodyPr>
          <a:lstStyle>
            <a:lvl1pPr algn="r">
              <a:defRPr sz="600" cap="all" spc="100" normalizeH="0" baseline="0">
                <a:solidFill>
                  <a:srgbClr val="404040"/>
                </a:solidFill>
              </a:defRPr>
            </a:lvl1pPr>
          </a:lstStyle>
          <a:p>
            <a:fld id="{C681002B-9E36-49F2-803E-4F1D6FC85B63}" type="slidenum">
              <a:rPr lang="fi-FI" smtClean="0"/>
              <a:pPr/>
              <a:t>‹#›</a:t>
            </a:fld>
            <a:endParaRPr lang="fi-FI" dirty="0"/>
          </a:p>
        </p:txBody>
      </p:sp>
      <p:sp>
        <p:nvSpPr>
          <p:cNvPr id="13" name="(c)" hidden="1"/>
          <p:cNvSpPr txBox="1"/>
          <p:nvPr userDrawn="1"/>
        </p:nvSpPr>
        <p:spPr>
          <a:xfrm>
            <a:off x="12012166" y="6891795"/>
            <a:ext cx="173124" cy="30778"/>
          </a:xfrm>
          <a:prstGeom prst="rect">
            <a:avLst/>
          </a:prstGeom>
          <a:noFill/>
        </p:spPr>
        <p:txBody>
          <a:bodyPr wrap="none" lIns="0" tIns="0" rIns="0" bIns="0" rtlCol="0">
            <a:spAutoFit/>
          </a:bodyPr>
          <a:lstStyle/>
          <a:p>
            <a:pPr algn="r"/>
            <a:r>
              <a:rPr lang="fi-FI" sz="200" dirty="0">
                <a:solidFill>
                  <a:schemeClr val="bg1"/>
                </a:solidFill>
                <a:latin typeface="+mn-lt"/>
              </a:rPr>
              <a:t>©grow. for</a:t>
            </a:r>
            <a:r>
              <a:rPr lang="fi-FI" sz="200" baseline="0" dirty="0">
                <a:solidFill>
                  <a:schemeClr val="bg1"/>
                </a:solidFill>
                <a:latin typeface="+mn-lt"/>
              </a:rPr>
              <a:t> gaia</a:t>
            </a:r>
            <a:endParaRPr lang="en-GB" sz="200" dirty="0" err="1">
              <a:solidFill>
                <a:schemeClr val="bg1"/>
              </a:solidFill>
              <a:latin typeface="+mn-lt"/>
            </a:endParaRPr>
          </a:p>
        </p:txBody>
      </p:sp>
      <p:pic>
        <p:nvPicPr>
          <p:cNvPr id="14" name="(logo)" descr="Z:\GRW (grow)\logot\copyright_grow.png" hidden="1"/>
          <p:cNvPicPr>
            <a:picLocks noChangeAspect="1" noChangeArrowheads="1"/>
          </p:cNvPicPr>
          <p:nvPr userDrawn="1"/>
        </p:nvPicPr>
        <p:blipFill>
          <a:blip r:embed="rId62" cstate="print">
            <a:extLst>
              <a:ext uri="{28A0092B-C50C-407E-A947-70E740481C1C}">
                <a14:useLocalDpi xmlns:a14="http://schemas.microsoft.com/office/drawing/2010/main" val="0"/>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a:extLst>
              <a:ext uri="{FF2B5EF4-FFF2-40B4-BE49-F238E27FC236}">
                <a16:creationId xmlns:a16="http://schemas.microsoft.com/office/drawing/2014/main" id="{E62961D8-D958-4FC0-96AA-8D88C843D054}"/>
              </a:ext>
            </a:extLst>
          </p:cNvPr>
          <p:cNvPicPr>
            <a:picLocks noChangeAspect="1"/>
          </p:cNvPicPr>
          <p:nvPr userDrawn="1"/>
        </p:nvPicPr>
        <p:blipFill>
          <a:blip r:embed="rId63">
            <a:extLst>
              <a:ext uri="{96DAC541-7B7A-43D3-8B79-37D633B846F1}">
                <asvg:svgBlip xmlns:asvg="http://schemas.microsoft.com/office/drawing/2016/SVG/main" r:embed="rId64"/>
              </a:ext>
            </a:extLst>
          </a:blip>
          <a:stretch>
            <a:fillRect/>
          </a:stretch>
        </p:blipFill>
        <p:spPr>
          <a:xfrm>
            <a:off x="9859949" y="451367"/>
            <a:ext cx="1683441" cy="673377"/>
          </a:xfrm>
          <a:prstGeom prst="rect">
            <a:avLst/>
          </a:prstGeom>
        </p:spPr>
      </p:pic>
    </p:spTree>
    <p:extLst>
      <p:ext uri="{BB962C8B-B14F-4D97-AF65-F5344CB8AC3E}">
        <p14:creationId xmlns:p14="http://schemas.microsoft.com/office/powerpoint/2010/main" val="1397455014"/>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72" r:id="rId3"/>
    <p:sldLayoutId id="2147483674" r:id="rId4"/>
    <p:sldLayoutId id="2147483675" r:id="rId5"/>
    <p:sldLayoutId id="2147483676" r:id="rId6"/>
    <p:sldLayoutId id="2147483677" r:id="rId7"/>
    <p:sldLayoutId id="2147483650" r:id="rId8"/>
    <p:sldLayoutId id="2147483651" r:id="rId9"/>
    <p:sldLayoutId id="2147483705" r:id="rId10"/>
    <p:sldLayoutId id="2147483711" r:id="rId11"/>
    <p:sldLayoutId id="2147483661" r:id="rId12"/>
    <p:sldLayoutId id="2147483666" r:id="rId13"/>
    <p:sldLayoutId id="2147483652" r:id="rId14"/>
    <p:sldLayoutId id="2147483702" r:id="rId15"/>
    <p:sldLayoutId id="2147483689" r:id="rId16"/>
    <p:sldLayoutId id="2147483703" r:id="rId17"/>
    <p:sldLayoutId id="2147483693" r:id="rId18"/>
    <p:sldLayoutId id="2147483706" r:id="rId19"/>
    <p:sldLayoutId id="2147483694" r:id="rId20"/>
    <p:sldLayoutId id="2147483707" r:id="rId21"/>
    <p:sldLayoutId id="2147483690" r:id="rId22"/>
    <p:sldLayoutId id="2147483691" r:id="rId23"/>
    <p:sldLayoutId id="2147483653" r:id="rId24"/>
    <p:sldLayoutId id="2147483704" r:id="rId25"/>
    <p:sldLayoutId id="2147483692" r:id="rId26"/>
    <p:sldLayoutId id="2147483713" r:id="rId27"/>
    <p:sldLayoutId id="2147483712" r:id="rId28"/>
    <p:sldLayoutId id="2147483716" r:id="rId29"/>
    <p:sldLayoutId id="2147483715" r:id="rId30"/>
    <p:sldLayoutId id="2147483698" r:id="rId31"/>
    <p:sldLayoutId id="2147483701" r:id="rId32"/>
    <p:sldLayoutId id="2147483700" r:id="rId33"/>
    <p:sldLayoutId id="2147483699" r:id="rId34"/>
    <p:sldLayoutId id="2147483708" r:id="rId35"/>
    <p:sldLayoutId id="2147483667" r:id="rId36"/>
    <p:sldLayoutId id="2147483709" r:id="rId37"/>
    <p:sldLayoutId id="2147483710" r:id="rId38"/>
    <p:sldLayoutId id="2147483696" r:id="rId39"/>
    <p:sldLayoutId id="2147483654" r:id="rId40"/>
    <p:sldLayoutId id="2147483655" r:id="rId41"/>
    <p:sldLayoutId id="2147483663" r:id="rId42"/>
    <p:sldLayoutId id="2147483717" r:id="rId43"/>
    <p:sldLayoutId id="2147483684" r:id="rId44"/>
    <p:sldLayoutId id="2147483718" r:id="rId45"/>
    <p:sldLayoutId id="2147483685" r:id="rId46"/>
    <p:sldLayoutId id="2147483719" r:id="rId47"/>
    <p:sldLayoutId id="2147483686" r:id="rId48"/>
    <p:sldLayoutId id="2147483720" r:id="rId49"/>
    <p:sldLayoutId id="2147483687" r:id="rId50"/>
    <p:sldLayoutId id="2147483721" r:id="rId51"/>
    <p:sldLayoutId id="2147483683" r:id="rId52"/>
    <p:sldLayoutId id="2147483662" r:id="rId53"/>
    <p:sldLayoutId id="2147483673" r:id="rId54"/>
    <p:sldLayoutId id="2147483714" r:id="rId55"/>
    <p:sldLayoutId id="2147483695" r:id="rId56"/>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800" kern="1200" spc="10" baseline="0">
          <a:solidFill>
            <a:srgbClr val="404040"/>
          </a:solidFill>
          <a:latin typeface="+mj-lt"/>
          <a:ea typeface="+mj-ea"/>
          <a:cs typeface="+mj-cs"/>
        </a:defRPr>
      </a:lvl1pPr>
    </p:titleStyle>
    <p:bodyStyle>
      <a:lvl1pPr marL="269875" indent="-269875" algn="l" defTabSz="914400" rtl="0" eaLnBrk="1" latinLnBrk="0" hangingPunct="1">
        <a:lnSpc>
          <a:spcPct val="110000"/>
        </a:lnSpc>
        <a:spcBef>
          <a:spcPts val="400"/>
        </a:spcBef>
        <a:buFont typeface="Arial" panose="020B0604020202020204" pitchFamily="34" charset="0"/>
        <a:buChar char="•"/>
        <a:defRPr sz="1800" kern="1200" spc="10" baseline="0">
          <a:solidFill>
            <a:srgbClr val="404040"/>
          </a:solidFill>
          <a:latin typeface="+mn-lt"/>
          <a:ea typeface="+mn-ea"/>
          <a:cs typeface="+mn-cs"/>
        </a:defRPr>
      </a:lvl1pPr>
      <a:lvl2pPr marL="539750" indent="-266700" algn="l" defTabSz="914400" rtl="0" eaLnBrk="1" latinLnBrk="0" hangingPunct="1">
        <a:lnSpc>
          <a:spcPct val="110000"/>
        </a:lnSpc>
        <a:spcBef>
          <a:spcPts val="400"/>
        </a:spcBef>
        <a:buFont typeface="Arial" panose="020B0604020202020204" pitchFamily="34" charset="0"/>
        <a:buChar char="•"/>
        <a:defRPr sz="1600" kern="1200" spc="10" baseline="0">
          <a:solidFill>
            <a:srgbClr val="404040"/>
          </a:solidFill>
          <a:latin typeface="+mn-lt"/>
          <a:ea typeface="+mn-ea"/>
          <a:cs typeface="+mn-cs"/>
        </a:defRPr>
      </a:lvl2pPr>
      <a:lvl3pPr marL="803275" indent="-273050" algn="l" defTabSz="914400" rtl="0" eaLnBrk="1" latinLnBrk="0" hangingPunct="1">
        <a:lnSpc>
          <a:spcPct val="110000"/>
        </a:lnSpc>
        <a:spcBef>
          <a:spcPts val="400"/>
        </a:spcBef>
        <a:buFont typeface="Arial" panose="020B0604020202020204" pitchFamily="34" charset="0"/>
        <a:buChar char="•"/>
        <a:defRPr sz="1400" kern="1200" spc="10" baseline="0">
          <a:solidFill>
            <a:srgbClr val="404040"/>
          </a:solidFill>
          <a:latin typeface="+mn-lt"/>
          <a:ea typeface="+mn-ea"/>
          <a:cs typeface="+mn-cs"/>
        </a:defRPr>
      </a:lvl3pPr>
      <a:lvl4pPr marL="1073150" indent="-266700" algn="l" defTabSz="914400" rtl="0" eaLnBrk="1" latinLnBrk="0" hangingPunct="1">
        <a:lnSpc>
          <a:spcPct val="110000"/>
        </a:lnSpc>
        <a:spcBef>
          <a:spcPts val="400"/>
        </a:spcBef>
        <a:buFont typeface="Arial" panose="020B0604020202020204" pitchFamily="34" charset="0"/>
        <a:buChar char="•"/>
        <a:defRPr sz="1200" kern="1200" spc="10" baseline="0">
          <a:solidFill>
            <a:srgbClr val="404040"/>
          </a:solidFill>
          <a:latin typeface="+mn-lt"/>
          <a:ea typeface="+mn-ea"/>
          <a:cs typeface="+mn-cs"/>
        </a:defRPr>
      </a:lvl4pPr>
      <a:lvl5pPr marL="1344613" indent="-180975" algn="l" defTabSz="914400" rtl="0" eaLnBrk="1" latinLnBrk="0" hangingPunct="1">
        <a:lnSpc>
          <a:spcPct val="110000"/>
        </a:lnSpc>
        <a:spcBef>
          <a:spcPts val="400"/>
        </a:spcBef>
        <a:buFont typeface="Arial" panose="020B0604020202020204" pitchFamily="34" charset="0"/>
        <a:buChar char="•"/>
        <a:defRPr sz="1100" kern="1200" spc="10" baseline="0">
          <a:solidFill>
            <a:srgbClr val="404040"/>
          </a:solidFill>
          <a:latin typeface="+mn-lt"/>
          <a:ea typeface="+mn-ea"/>
          <a:cs typeface="+mn-cs"/>
        </a:defRPr>
      </a:lvl5pPr>
      <a:lvl6pPr marL="1524000" indent="-266700" algn="l" defTabSz="914400" rtl="0" eaLnBrk="1" latinLnBrk="0" hangingPunct="1">
        <a:lnSpc>
          <a:spcPct val="110000"/>
        </a:lnSpc>
        <a:spcBef>
          <a:spcPts val="400"/>
        </a:spcBef>
        <a:buFont typeface="Arial" panose="020B0604020202020204" pitchFamily="34" charset="0"/>
        <a:buChar char="•"/>
        <a:defRPr sz="1200" kern="1200" spc="10" baseline="0">
          <a:solidFill>
            <a:srgbClr val="404040"/>
          </a:solidFill>
          <a:latin typeface="+mn-lt"/>
          <a:ea typeface="+mn-ea"/>
          <a:cs typeface="+mn-cs"/>
        </a:defRPr>
      </a:lvl6pPr>
      <a:lvl7pPr marL="1793875" indent="-265113" algn="l" defTabSz="914400" rtl="0" eaLnBrk="1" latinLnBrk="0" hangingPunct="1">
        <a:lnSpc>
          <a:spcPct val="110000"/>
        </a:lnSpc>
        <a:spcBef>
          <a:spcPts val="400"/>
        </a:spcBef>
        <a:buFont typeface="Arial" panose="020B0604020202020204" pitchFamily="34" charset="0"/>
        <a:buChar char="•"/>
        <a:defRPr sz="1200" kern="1200" spc="10" baseline="0">
          <a:solidFill>
            <a:srgbClr val="404040"/>
          </a:solidFill>
          <a:latin typeface="+mn-lt"/>
          <a:ea typeface="+mn-ea"/>
          <a:cs typeface="+mn-cs"/>
        </a:defRPr>
      </a:lvl7pPr>
      <a:lvl8pPr marL="2063750" indent="-274638" algn="l" defTabSz="914400" rtl="0" eaLnBrk="1" latinLnBrk="0" hangingPunct="1">
        <a:lnSpc>
          <a:spcPct val="110000"/>
        </a:lnSpc>
        <a:spcBef>
          <a:spcPts val="400"/>
        </a:spcBef>
        <a:buFont typeface="Arial" panose="020B0604020202020204" pitchFamily="34" charset="0"/>
        <a:buChar char="•"/>
        <a:defRPr sz="1200" kern="1200" spc="10" baseline="0">
          <a:solidFill>
            <a:srgbClr val="404040"/>
          </a:solidFill>
          <a:latin typeface="+mn-lt"/>
          <a:ea typeface="+mn-ea"/>
          <a:cs typeface="+mn-cs"/>
        </a:defRPr>
      </a:lvl8pPr>
      <a:lvl9pPr marL="2335213" indent="-266700" algn="l" defTabSz="914400" rtl="0" eaLnBrk="1" latinLnBrk="0" hangingPunct="1">
        <a:lnSpc>
          <a:spcPct val="110000"/>
        </a:lnSpc>
        <a:spcBef>
          <a:spcPts val="400"/>
        </a:spcBef>
        <a:buFont typeface="Arial" panose="020B0604020202020204" pitchFamily="34" charset="0"/>
        <a:buChar char="•"/>
        <a:defRPr sz="1200" kern="1200" spc="10" baseline="0">
          <a:solidFill>
            <a:srgbClr val="404040"/>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8.xml"/><Relationship Id="rId7" Type="http://schemas.openxmlformats.org/officeDocument/2006/relationships/diagramLayout" Target="../diagrams/layout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slideLayout" Target="../slideLayouts/slideLayout35.xml"/><Relationship Id="rId7" Type="http://schemas.openxmlformats.org/officeDocument/2006/relationships/image" Target="../media/image10.svg"/><Relationship Id="rId12" Type="http://schemas.openxmlformats.org/officeDocument/2006/relationships/image" Target="../media/image15.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1.emf"/><Relationship Id="rId15" Type="http://schemas.openxmlformats.org/officeDocument/2006/relationships/image" Target="../media/image18.svg"/><Relationship Id="rId10" Type="http://schemas.openxmlformats.org/officeDocument/2006/relationships/image" Target="../media/image13.png"/><Relationship Id="rId4" Type="http://schemas.openxmlformats.org/officeDocument/2006/relationships/oleObject" Target="../embeddings/oleObject9.bin"/><Relationship Id="rId9" Type="http://schemas.openxmlformats.org/officeDocument/2006/relationships/image" Target="../media/image12.svg"/><Relationship Id="rId1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4A19496-7DD2-400C-91DF-3970EBFADEAB}"/>
              </a:ext>
            </a:extLst>
          </p:cNvPr>
          <p:cNvGraphicFramePr>
            <a:graphicFrameLocks noChangeAspect="1"/>
          </p:cNvGraphicFramePr>
          <p:nvPr>
            <p:custDataLst>
              <p:tags r:id="rId3"/>
            </p:custDataLst>
            <p:extLst>
              <p:ext uri="{D42A27DB-BD31-4B8C-83A1-F6EECF244321}">
                <p14:modId xmlns:p14="http://schemas.microsoft.com/office/powerpoint/2010/main" val="247793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6"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B9B8ED-5A07-4472-8328-5D8ADA519D1E}"/>
              </a:ext>
            </a:extLst>
          </p:cNvPr>
          <p:cNvSpPr>
            <a:spLocks noGrp="1"/>
          </p:cNvSpPr>
          <p:nvPr>
            <p:ph type="ctrTitle"/>
          </p:nvPr>
        </p:nvSpPr>
        <p:spPr/>
        <p:txBody>
          <a:bodyPr vert="horz"/>
          <a:lstStyle/>
          <a:p>
            <a:r>
              <a:rPr lang="fi-FI" dirty="0"/>
              <a:t>Ilmastopolitiikan pyöreän pöydän toiminnan arviointi ja kehittäminen </a:t>
            </a:r>
            <a:br>
              <a:rPr lang="fi-FI" dirty="0"/>
            </a:br>
            <a:r>
              <a:rPr lang="fi-FI" dirty="0"/>
              <a:t>sekä tilannekatsauksen toteuttaminen</a:t>
            </a:r>
          </a:p>
        </p:txBody>
      </p:sp>
      <p:sp>
        <p:nvSpPr>
          <p:cNvPr id="3" name="Subtitle 2">
            <a:extLst>
              <a:ext uri="{FF2B5EF4-FFF2-40B4-BE49-F238E27FC236}">
                <a16:creationId xmlns:a16="http://schemas.microsoft.com/office/drawing/2014/main" id="{DE49E48D-C04B-4723-853E-367594CC41E7}"/>
              </a:ext>
            </a:extLst>
          </p:cNvPr>
          <p:cNvSpPr>
            <a:spLocks noGrp="1"/>
          </p:cNvSpPr>
          <p:nvPr>
            <p:ph type="subTitle" idx="1"/>
          </p:nvPr>
        </p:nvSpPr>
        <p:spPr>
          <a:xfrm>
            <a:off x="623887" y="4005064"/>
            <a:ext cx="10944225" cy="1224161"/>
          </a:xfrm>
        </p:spPr>
        <p:txBody>
          <a:bodyPr/>
          <a:lstStyle/>
          <a:p>
            <a:r>
              <a:rPr lang="fi-FI" dirty="0"/>
              <a:t>Tulosten esittely </a:t>
            </a:r>
            <a:r>
              <a:rPr lang="fi-FI" dirty="0" err="1"/>
              <a:t>IPP:n</a:t>
            </a:r>
            <a:r>
              <a:rPr lang="fi-FI" dirty="0"/>
              <a:t> kokouksessa 21.2.2023</a:t>
            </a:r>
          </a:p>
          <a:p>
            <a:r>
              <a:rPr lang="fi-FI" u="sng" dirty="0"/>
              <a:t>Mari Hjelt</a:t>
            </a:r>
            <a:r>
              <a:rPr lang="fi-FI" dirty="0"/>
              <a:t>, Suvi Peltoniemi, Riina Pursiainen, Matleena Moisio </a:t>
            </a:r>
          </a:p>
        </p:txBody>
      </p:sp>
      <p:sp>
        <p:nvSpPr>
          <p:cNvPr id="4" name="Text Placeholder 3">
            <a:extLst>
              <a:ext uri="{FF2B5EF4-FFF2-40B4-BE49-F238E27FC236}">
                <a16:creationId xmlns:a16="http://schemas.microsoft.com/office/drawing/2014/main" id="{F09FEE00-A9C7-47D1-9064-68F73D06DA16}"/>
              </a:ext>
            </a:extLst>
          </p:cNvPr>
          <p:cNvSpPr>
            <a:spLocks noGrp="1"/>
          </p:cNvSpPr>
          <p:nvPr>
            <p:ph type="body" sz="quarter" idx="14"/>
          </p:nvPr>
        </p:nvSpPr>
        <p:spPr/>
        <p:txBody>
          <a:bodyPr/>
          <a:lstStyle/>
          <a:p>
            <a:r>
              <a:rPr lang="fi-FI" dirty="0" err="1"/>
              <a:t>Gaia</a:t>
            </a:r>
            <a:r>
              <a:rPr lang="fi-FI" dirty="0"/>
              <a:t> Consulting Oy </a:t>
            </a:r>
          </a:p>
        </p:txBody>
      </p:sp>
    </p:spTree>
    <p:custDataLst>
      <p:tags r:id="rId2"/>
    </p:custDataLst>
    <p:extLst>
      <p:ext uri="{BB962C8B-B14F-4D97-AF65-F5344CB8AC3E}">
        <p14:creationId xmlns:p14="http://schemas.microsoft.com/office/powerpoint/2010/main" val="346758982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a16="http://schemas.microsoft.com/office/drawing/2014/main"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7822AD0-E364-40EF-B2A0-91343A99BE58}"/>
              </a:ext>
            </a:extLst>
          </p:cNvPr>
          <p:cNvGraphicFramePr>
            <a:graphicFrameLocks noChangeAspect="1"/>
          </p:cNvGraphicFramePr>
          <p:nvPr>
            <p:custDataLst>
              <p:tags r:id="rId2"/>
            </p:custDataLst>
            <p:extLst>
              <p:ext uri="{D42A27DB-BD31-4B8C-83A1-F6EECF244321}">
                <p14:modId xmlns:p14="http://schemas.microsoft.com/office/powerpoint/2010/main" val="415749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461464-9D2A-45E4-93EF-F62D90190349}"/>
              </a:ext>
            </a:extLst>
          </p:cNvPr>
          <p:cNvSpPr>
            <a:spLocks noGrp="1"/>
          </p:cNvSpPr>
          <p:nvPr>
            <p:ph type="title"/>
          </p:nvPr>
        </p:nvSpPr>
        <p:spPr/>
        <p:txBody>
          <a:bodyPr vert="horz"/>
          <a:lstStyle/>
          <a:p>
            <a:r>
              <a:rPr lang="fi-FI" dirty="0"/>
              <a:t>Esityksen sisältö</a:t>
            </a:r>
          </a:p>
        </p:txBody>
      </p:sp>
      <p:sp>
        <p:nvSpPr>
          <p:cNvPr id="4" name="Footer Placeholder 3">
            <a:extLst>
              <a:ext uri="{FF2B5EF4-FFF2-40B4-BE49-F238E27FC236}">
                <a16:creationId xmlns:a16="http://schemas.microsoft.com/office/drawing/2014/main" id="{6AB8552F-2266-4B7B-9093-A54661AE7DA4}"/>
              </a:ext>
            </a:extLst>
          </p:cNvPr>
          <p:cNvSpPr>
            <a:spLocks noGrp="1"/>
          </p:cNvSpPr>
          <p:nvPr>
            <p:ph type="ftr" sz="quarter" idx="11"/>
          </p:nvPr>
        </p:nvSpPr>
        <p:spPr/>
        <p:txBody>
          <a:bodyPr/>
          <a:lstStyle/>
          <a:p>
            <a:r>
              <a:rPr lang="fi-FI"/>
              <a:t>CONFIDENTIAL</a:t>
            </a:r>
          </a:p>
        </p:txBody>
      </p:sp>
      <p:sp>
        <p:nvSpPr>
          <p:cNvPr id="5" name="Text Placeholder 4">
            <a:extLst>
              <a:ext uri="{FF2B5EF4-FFF2-40B4-BE49-F238E27FC236}">
                <a16:creationId xmlns:a16="http://schemas.microsoft.com/office/drawing/2014/main" id="{C3A6E0B8-34B3-44A6-8820-466044ECB1F5}"/>
              </a:ext>
            </a:extLst>
          </p:cNvPr>
          <p:cNvSpPr>
            <a:spLocks noGrp="1"/>
          </p:cNvSpPr>
          <p:nvPr>
            <p:ph type="body" sz="quarter" idx="15"/>
          </p:nvPr>
        </p:nvSpPr>
        <p:spPr/>
        <p:txBody>
          <a:bodyPr/>
          <a:lstStyle/>
          <a:p>
            <a:endParaRPr lang="fi-FI"/>
          </a:p>
        </p:txBody>
      </p:sp>
      <p:sp>
        <p:nvSpPr>
          <p:cNvPr id="6" name="Text Placeholder 5">
            <a:extLst>
              <a:ext uri="{FF2B5EF4-FFF2-40B4-BE49-F238E27FC236}">
                <a16:creationId xmlns:a16="http://schemas.microsoft.com/office/drawing/2014/main" id="{2C87F4A8-773D-4C57-9197-26A6C7CF0A0B}"/>
              </a:ext>
            </a:extLst>
          </p:cNvPr>
          <p:cNvSpPr>
            <a:spLocks noGrp="1"/>
          </p:cNvSpPr>
          <p:nvPr>
            <p:ph type="body" sz="quarter" idx="27"/>
          </p:nvPr>
        </p:nvSpPr>
        <p:spPr/>
        <p:txBody>
          <a:bodyPr/>
          <a:lstStyle/>
          <a:p>
            <a:endParaRPr lang="fi-FI"/>
          </a:p>
        </p:txBody>
      </p:sp>
      <p:sp>
        <p:nvSpPr>
          <p:cNvPr id="8" name="Rectangle 13">
            <a:extLst>
              <a:ext uri="{FF2B5EF4-FFF2-40B4-BE49-F238E27FC236}">
                <a16:creationId xmlns:a16="http://schemas.microsoft.com/office/drawing/2014/main" id="{32D35896-6901-49D4-BC48-96C2353CB9DC}"/>
              </a:ext>
            </a:extLst>
          </p:cNvPr>
          <p:cNvSpPr/>
          <p:nvPr/>
        </p:nvSpPr>
        <p:spPr>
          <a:xfrm>
            <a:off x="2031100" y="1593148"/>
            <a:ext cx="8442821" cy="648085"/>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a:lnSpc>
                <a:spcPct val="110000"/>
              </a:lnSpc>
              <a:spcBef>
                <a:spcPts val="400"/>
              </a:spcBef>
            </a:pPr>
            <a:r>
              <a:rPr lang="fi-FI" spc="10" dirty="0">
                <a:solidFill>
                  <a:schemeClr val="tx1"/>
                </a:solidFill>
                <a:latin typeface="Arial"/>
                <a:cs typeface="Arial"/>
              </a:rPr>
              <a:t>Työn tausta ja tavoitteet</a:t>
            </a:r>
          </a:p>
        </p:txBody>
      </p:sp>
      <p:sp>
        <p:nvSpPr>
          <p:cNvPr id="9" name="Rectangle 15">
            <a:extLst>
              <a:ext uri="{FF2B5EF4-FFF2-40B4-BE49-F238E27FC236}">
                <a16:creationId xmlns:a16="http://schemas.microsoft.com/office/drawing/2014/main" id="{6B95F870-05EB-459C-B719-D890B443AA26}"/>
              </a:ext>
            </a:extLst>
          </p:cNvPr>
          <p:cNvSpPr/>
          <p:nvPr/>
        </p:nvSpPr>
        <p:spPr>
          <a:xfrm>
            <a:off x="2023157" y="2397644"/>
            <a:ext cx="8442821" cy="648085"/>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a:lnSpc>
                <a:spcPct val="110000"/>
              </a:lnSpc>
              <a:spcBef>
                <a:spcPts val="400"/>
              </a:spcBef>
            </a:pPr>
            <a:r>
              <a:rPr lang="fi-FI" spc="10" dirty="0">
                <a:solidFill>
                  <a:schemeClr val="tx1"/>
                </a:solidFill>
                <a:latin typeface="Arial"/>
                <a:cs typeface="Arial"/>
              </a:rPr>
              <a:t>Tilannekatsauksen tulokset</a:t>
            </a:r>
          </a:p>
        </p:txBody>
      </p:sp>
      <p:sp>
        <p:nvSpPr>
          <p:cNvPr id="10" name="Rectangle 17">
            <a:extLst>
              <a:ext uri="{FF2B5EF4-FFF2-40B4-BE49-F238E27FC236}">
                <a16:creationId xmlns:a16="http://schemas.microsoft.com/office/drawing/2014/main" id="{6B4F4324-41CD-4F38-A565-CD0E6D558F61}"/>
              </a:ext>
            </a:extLst>
          </p:cNvPr>
          <p:cNvSpPr/>
          <p:nvPr/>
        </p:nvSpPr>
        <p:spPr>
          <a:xfrm>
            <a:off x="2023157" y="3156047"/>
            <a:ext cx="8442821" cy="648085"/>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a:lnSpc>
                <a:spcPct val="110000"/>
              </a:lnSpc>
              <a:spcBef>
                <a:spcPts val="400"/>
              </a:spcBef>
            </a:pPr>
            <a:r>
              <a:rPr lang="fi-FI" spc="10" dirty="0" err="1">
                <a:solidFill>
                  <a:schemeClr val="tx1"/>
                </a:solidFill>
                <a:latin typeface="Arial"/>
                <a:cs typeface="Arial"/>
              </a:rPr>
              <a:t>IPP:n</a:t>
            </a:r>
            <a:r>
              <a:rPr lang="fi-FI" spc="10" dirty="0">
                <a:solidFill>
                  <a:schemeClr val="tx1"/>
                </a:solidFill>
                <a:latin typeface="Arial"/>
                <a:cs typeface="Arial"/>
              </a:rPr>
              <a:t> toiminnan arvioinnin tulokset</a:t>
            </a:r>
          </a:p>
        </p:txBody>
      </p:sp>
      <p:sp>
        <p:nvSpPr>
          <p:cNvPr id="11" name="Rectangle 19">
            <a:extLst>
              <a:ext uri="{FF2B5EF4-FFF2-40B4-BE49-F238E27FC236}">
                <a16:creationId xmlns:a16="http://schemas.microsoft.com/office/drawing/2014/main" id="{EB1DB938-CE56-41D6-AFE0-830E1A57E0DD}"/>
              </a:ext>
            </a:extLst>
          </p:cNvPr>
          <p:cNvSpPr/>
          <p:nvPr/>
        </p:nvSpPr>
        <p:spPr>
          <a:xfrm>
            <a:off x="2023157" y="3914449"/>
            <a:ext cx="8442821" cy="648085"/>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a:lnSpc>
                <a:spcPct val="110000"/>
              </a:lnSpc>
              <a:spcBef>
                <a:spcPts val="400"/>
              </a:spcBef>
            </a:pPr>
            <a:r>
              <a:rPr lang="fi-FI" dirty="0">
                <a:solidFill>
                  <a:schemeClr val="tx1"/>
                </a:solidFill>
              </a:rPr>
              <a:t>Tulevaisuuden tarpeet ja vaihtoehtoiset toimintamallit </a:t>
            </a:r>
            <a:r>
              <a:rPr lang="fi-FI" dirty="0" err="1">
                <a:solidFill>
                  <a:schemeClr val="tx1"/>
                </a:solidFill>
              </a:rPr>
              <a:t>IPP:n</a:t>
            </a:r>
            <a:r>
              <a:rPr lang="fi-FI" dirty="0">
                <a:solidFill>
                  <a:schemeClr val="tx1"/>
                </a:solidFill>
              </a:rPr>
              <a:t> kaltaiselle toiminnalle</a:t>
            </a:r>
            <a:endParaRPr lang="fi-FI" spc="10" dirty="0">
              <a:solidFill>
                <a:schemeClr val="tx1"/>
              </a:solidFill>
              <a:latin typeface="Arial"/>
              <a:cs typeface="Arial"/>
            </a:endParaRPr>
          </a:p>
        </p:txBody>
      </p:sp>
      <p:sp>
        <p:nvSpPr>
          <p:cNvPr id="12" name="Rectangle 21">
            <a:extLst>
              <a:ext uri="{FF2B5EF4-FFF2-40B4-BE49-F238E27FC236}">
                <a16:creationId xmlns:a16="http://schemas.microsoft.com/office/drawing/2014/main" id="{6EE7B63D-A573-47D1-97F7-F234757DD5E2}"/>
              </a:ext>
            </a:extLst>
          </p:cNvPr>
          <p:cNvSpPr/>
          <p:nvPr/>
        </p:nvSpPr>
        <p:spPr>
          <a:xfrm>
            <a:off x="2023157" y="4672852"/>
            <a:ext cx="8442821" cy="648085"/>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0" tIns="45720" rIns="91440" bIns="45720" rtlCol="0" anchor="ctr"/>
          <a:lstStyle/>
          <a:p>
            <a:pPr>
              <a:lnSpc>
                <a:spcPct val="110000"/>
              </a:lnSpc>
              <a:spcBef>
                <a:spcPts val="400"/>
              </a:spcBef>
            </a:pPr>
            <a:r>
              <a:rPr lang="fi-FI" spc="10" dirty="0">
                <a:solidFill>
                  <a:schemeClr val="tx1"/>
                </a:solidFill>
                <a:latin typeface="Arial"/>
                <a:cs typeface="Arial"/>
              </a:rPr>
              <a:t>Keskeiset suositukset</a:t>
            </a:r>
          </a:p>
        </p:txBody>
      </p:sp>
      <p:sp>
        <p:nvSpPr>
          <p:cNvPr id="13" name="Rectangle 23">
            <a:extLst>
              <a:ext uri="{FF2B5EF4-FFF2-40B4-BE49-F238E27FC236}">
                <a16:creationId xmlns:a16="http://schemas.microsoft.com/office/drawing/2014/main" id="{E4D5B3B8-E19B-467E-86BA-98FAE5A8EBE1}"/>
              </a:ext>
            </a:extLst>
          </p:cNvPr>
          <p:cNvSpPr>
            <a:spLocks noChangeAspect="1"/>
          </p:cNvSpPr>
          <p:nvPr/>
        </p:nvSpPr>
        <p:spPr>
          <a:xfrm>
            <a:off x="1735437" y="1728300"/>
            <a:ext cx="575439" cy="470839"/>
          </a:xfrm>
          <a:prstGeom prst="rect">
            <a:avLst/>
          </a:prstGeom>
          <a:solidFill>
            <a:srgbClr val="DBE4E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i-FI" sz="1200" b="1" dirty="0">
                <a:solidFill>
                  <a:schemeClr val="tx1"/>
                </a:solidFill>
              </a:rPr>
              <a:t>1</a:t>
            </a:r>
          </a:p>
        </p:txBody>
      </p:sp>
      <p:sp>
        <p:nvSpPr>
          <p:cNvPr id="14" name="Rectangle 25">
            <a:extLst>
              <a:ext uri="{FF2B5EF4-FFF2-40B4-BE49-F238E27FC236}">
                <a16:creationId xmlns:a16="http://schemas.microsoft.com/office/drawing/2014/main" id="{A52EAB95-BAE1-47EC-8342-E380B65CEF84}"/>
              </a:ext>
            </a:extLst>
          </p:cNvPr>
          <p:cNvSpPr>
            <a:spLocks noChangeAspect="1"/>
          </p:cNvSpPr>
          <p:nvPr/>
        </p:nvSpPr>
        <p:spPr>
          <a:xfrm>
            <a:off x="1738573" y="2491264"/>
            <a:ext cx="575439" cy="470839"/>
          </a:xfrm>
          <a:prstGeom prst="rect">
            <a:avLst/>
          </a:prstGeom>
          <a:solidFill>
            <a:srgbClr val="DBE4E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i-FI" sz="1200" b="1" dirty="0">
                <a:solidFill>
                  <a:schemeClr val="tx1"/>
                </a:solidFill>
              </a:rPr>
              <a:t>2</a:t>
            </a:r>
          </a:p>
        </p:txBody>
      </p:sp>
      <p:sp>
        <p:nvSpPr>
          <p:cNvPr id="15" name="Rectangle 27">
            <a:extLst>
              <a:ext uri="{FF2B5EF4-FFF2-40B4-BE49-F238E27FC236}">
                <a16:creationId xmlns:a16="http://schemas.microsoft.com/office/drawing/2014/main" id="{7FC6D7A9-C8BA-4DB1-95E0-E0C83719BBD0}"/>
              </a:ext>
            </a:extLst>
          </p:cNvPr>
          <p:cNvSpPr>
            <a:spLocks noChangeAspect="1"/>
          </p:cNvSpPr>
          <p:nvPr/>
        </p:nvSpPr>
        <p:spPr>
          <a:xfrm>
            <a:off x="1743381" y="3249667"/>
            <a:ext cx="575439" cy="470839"/>
          </a:xfrm>
          <a:prstGeom prst="rect">
            <a:avLst/>
          </a:prstGeom>
          <a:solidFill>
            <a:srgbClr val="DBE4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a:solidFill>
                  <a:srgbClr val="000000"/>
                </a:solidFill>
              </a:rPr>
              <a:t>3</a:t>
            </a:r>
          </a:p>
        </p:txBody>
      </p:sp>
      <p:sp>
        <p:nvSpPr>
          <p:cNvPr id="16" name="Rectangle 29">
            <a:extLst>
              <a:ext uri="{FF2B5EF4-FFF2-40B4-BE49-F238E27FC236}">
                <a16:creationId xmlns:a16="http://schemas.microsoft.com/office/drawing/2014/main" id="{299EC4F8-B0A7-41A4-A93F-55DEEB236202}"/>
              </a:ext>
            </a:extLst>
          </p:cNvPr>
          <p:cNvSpPr>
            <a:spLocks noChangeAspect="1"/>
          </p:cNvSpPr>
          <p:nvPr/>
        </p:nvSpPr>
        <p:spPr>
          <a:xfrm>
            <a:off x="1733639" y="4008981"/>
            <a:ext cx="575439" cy="470839"/>
          </a:xfrm>
          <a:prstGeom prst="rect">
            <a:avLst/>
          </a:prstGeom>
          <a:solidFill>
            <a:srgbClr val="DBE4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a:solidFill>
                  <a:srgbClr val="000000"/>
                </a:solidFill>
              </a:rPr>
              <a:t>4</a:t>
            </a:r>
          </a:p>
        </p:txBody>
      </p:sp>
      <p:sp>
        <p:nvSpPr>
          <p:cNvPr id="17" name="Rectangle 31">
            <a:extLst>
              <a:ext uri="{FF2B5EF4-FFF2-40B4-BE49-F238E27FC236}">
                <a16:creationId xmlns:a16="http://schemas.microsoft.com/office/drawing/2014/main" id="{FC328165-2339-4403-9255-76CC1AFF92C8}"/>
              </a:ext>
            </a:extLst>
          </p:cNvPr>
          <p:cNvSpPr>
            <a:spLocks noChangeAspect="1"/>
          </p:cNvSpPr>
          <p:nvPr/>
        </p:nvSpPr>
        <p:spPr>
          <a:xfrm>
            <a:off x="1724433" y="4759208"/>
            <a:ext cx="575439" cy="470839"/>
          </a:xfrm>
          <a:prstGeom prst="rect">
            <a:avLst/>
          </a:prstGeom>
          <a:solidFill>
            <a:srgbClr val="DBE4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b="1">
                <a:solidFill>
                  <a:srgbClr val="000000"/>
                </a:solidFill>
              </a:rPr>
              <a:t>5</a:t>
            </a:r>
          </a:p>
        </p:txBody>
      </p:sp>
    </p:spTree>
    <p:extLst>
      <p:ext uri="{BB962C8B-B14F-4D97-AF65-F5344CB8AC3E}">
        <p14:creationId xmlns:p14="http://schemas.microsoft.com/office/powerpoint/2010/main" val="308117011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C559BBB-5690-4047-A858-75C4DEBFE523}"/>
              </a:ext>
            </a:extLst>
          </p:cNvPr>
          <p:cNvGraphicFramePr>
            <a:graphicFrameLocks noChangeAspect="1"/>
          </p:cNvGraphicFramePr>
          <p:nvPr>
            <p:custDataLst>
              <p:tags r:id="rId2"/>
            </p:custDataLst>
            <p:extLst>
              <p:ext uri="{D42A27DB-BD31-4B8C-83A1-F6EECF244321}">
                <p14:modId xmlns:p14="http://schemas.microsoft.com/office/powerpoint/2010/main" val="1134751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E8AC492A-494B-4A78-BCE9-41205B99D931}"/>
              </a:ext>
            </a:extLst>
          </p:cNvPr>
          <p:cNvSpPr>
            <a:spLocks noGrp="1"/>
          </p:cNvSpPr>
          <p:nvPr>
            <p:ph type="ftr" sz="quarter" idx="11"/>
          </p:nvPr>
        </p:nvSpPr>
        <p:spPr/>
        <p:txBody>
          <a:bodyPr/>
          <a:lstStyle/>
          <a:p>
            <a:r>
              <a:rPr lang="fi-FI"/>
              <a:t>CONFIDENTIAL</a:t>
            </a:r>
          </a:p>
        </p:txBody>
      </p:sp>
      <p:sp>
        <p:nvSpPr>
          <p:cNvPr id="15" name="Text Placeholder 14">
            <a:extLst>
              <a:ext uri="{FF2B5EF4-FFF2-40B4-BE49-F238E27FC236}">
                <a16:creationId xmlns:a16="http://schemas.microsoft.com/office/drawing/2014/main" id="{33D75CA0-3421-4E5F-A969-50D61112A9C8}"/>
              </a:ext>
            </a:extLst>
          </p:cNvPr>
          <p:cNvSpPr>
            <a:spLocks noGrp="1"/>
          </p:cNvSpPr>
          <p:nvPr>
            <p:ph type="body" sz="quarter" idx="15"/>
          </p:nvPr>
        </p:nvSpPr>
        <p:spPr/>
        <p:txBody>
          <a:bodyPr/>
          <a:lstStyle/>
          <a:p>
            <a:endParaRPr lang="en-GB"/>
          </a:p>
        </p:txBody>
      </p:sp>
      <p:sp>
        <p:nvSpPr>
          <p:cNvPr id="17" name="Text Placeholder 16">
            <a:extLst>
              <a:ext uri="{FF2B5EF4-FFF2-40B4-BE49-F238E27FC236}">
                <a16:creationId xmlns:a16="http://schemas.microsoft.com/office/drawing/2014/main" id="{D99633ED-F8E0-41C5-AD27-1AD47A01170C}"/>
              </a:ext>
            </a:extLst>
          </p:cNvPr>
          <p:cNvSpPr>
            <a:spLocks noGrp="1"/>
          </p:cNvSpPr>
          <p:nvPr>
            <p:ph type="body" sz="quarter" idx="31"/>
          </p:nvPr>
        </p:nvSpPr>
        <p:spPr>
          <a:xfrm>
            <a:off x="622340" y="2996951"/>
            <a:ext cx="3313420" cy="3528393"/>
          </a:xfrm>
        </p:spPr>
        <p:txBody>
          <a:bodyPr/>
          <a:lstStyle/>
          <a:p>
            <a:r>
              <a:rPr lang="en-US" sz="1800" b="0" dirty="0" err="1">
                <a:cs typeface="Arial"/>
              </a:rPr>
              <a:t>Ympäristöministeriö</a:t>
            </a:r>
            <a:r>
              <a:rPr lang="en-US" sz="1800" b="0" dirty="0">
                <a:cs typeface="Arial"/>
              </a:rPr>
              <a:t> </a:t>
            </a:r>
            <a:r>
              <a:rPr lang="en-US" sz="1800" b="0" dirty="0" err="1">
                <a:cs typeface="Arial"/>
              </a:rPr>
              <a:t>tilasi</a:t>
            </a:r>
            <a:r>
              <a:rPr lang="en-US" sz="1800" b="0" dirty="0">
                <a:cs typeface="Arial"/>
              </a:rPr>
              <a:t> </a:t>
            </a:r>
            <a:r>
              <a:rPr lang="en-US" sz="1800" b="0" dirty="0" err="1">
                <a:cs typeface="Arial"/>
              </a:rPr>
              <a:t>työn</a:t>
            </a:r>
            <a:r>
              <a:rPr lang="en-US" sz="1800" b="0" dirty="0">
                <a:cs typeface="Arial"/>
              </a:rPr>
              <a:t> </a:t>
            </a:r>
            <a:r>
              <a:rPr lang="en-US" sz="1800" b="0" dirty="0" err="1">
                <a:cs typeface="Arial"/>
              </a:rPr>
              <a:t>ilmastopolitiikan</a:t>
            </a:r>
            <a:r>
              <a:rPr lang="en-US" sz="1800" b="0" dirty="0">
                <a:cs typeface="Arial"/>
              </a:rPr>
              <a:t> </a:t>
            </a:r>
            <a:r>
              <a:rPr lang="en-US" sz="1800" b="0" dirty="0" err="1">
                <a:cs typeface="Arial"/>
              </a:rPr>
              <a:t>pyöreän</a:t>
            </a:r>
            <a:r>
              <a:rPr lang="en-US" sz="1800" b="0" dirty="0">
                <a:cs typeface="Arial"/>
              </a:rPr>
              <a:t> </a:t>
            </a:r>
            <a:r>
              <a:rPr lang="en-US" sz="1800" b="0" dirty="0" err="1">
                <a:cs typeface="Arial"/>
              </a:rPr>
              <a:t>pöydän</a:t>
            </a:r>
            <a:r>
              <a:rPr lang="en-US" sz="1800" b="0" dirty="0">
                <a:cs typeface="Arial"/>
              </a:rPr>
              <a:t> (IPP) </a:t>
            </a:r>
            <a:r>
              <a:rPr lang="en-US" sz="1800" b="0" dirty="0" err="1">
                <a:cs typeface="Arial"/>
              </a:rPr>
              <a:t>toiminnan</a:t>
            </a:r>
            <a:r>
              <a:rPr lang="en-US" sz="1800" b="0" dirty="0">
                <a:cs typeface="Arial"/>
              </a:rPr>
              <a:t> </a:t>
            </a:r>
            <a:r>
              <a:rPr lang="en-US" sz="1800" b="0" dirty="0" err="1">
                <a:cs typeface="Arial"/>
              </a:rPr>
              <a:t>arvioimiseksi</a:t>
            </a:r>
            <a:r>
              <a:rPr lang="en-US" sz="1800" b="0" dirty="0">
                <a:cs typeface="Arial"/>
              </a:rPr>
              <a:t> ja </a:t>
            </a:r>
            <a:r>
              <a:rPr lang="en-US" sz="1800" b="0" dirty="0" err="1">
                <a:cs typeface="Arial"/>
              </a:rPr>
              <a:t>kehittämiseksi</a:t>
            </a:r>
            <a:r>
              <a:rPr lang="en-US" sz="1800" b="0" dirty="0">
                <a:cs typeface="Arial"/>
              </a:rPr>
              <a:t> </a:t>
            </a:r>
            <a:r>
              <a:rPr lang="en-US" sz="1800" b="0" dirty="0" err="1">
                <a:cs typeface="Arial"/>
              </a:rPr>
              <a:t>sekä</a:t>
            </a:r>
            <a:r>
              <a:rPr lang="en-US" sz="1800" b="0" dirty="0">
                <a:cs typeface="Arial"/>
              </a:rPr>
              <a:t> </a:t>
            </a:r>
            <a:r>
              <a:rPr lang="en-US" sz="1800" b="0" dirty="0" err="1">
                <a:cs typeface="Arial"/>
              </a:rPr>
              <a:t>ilmastotoimien</a:t>
            </a:r>
            <a:r>
              <a:rPr lang="en-US" sz="1800" b="0" dirty="0">
                <a:cs typeface="Arial"/>
              </a:rPr>
              <a:t> </a:t>
            </a:r>
            <a:r>
              <a:rPr lang="en-US" sz="1800" b="0" dirty="0" err="1">
                <a:cs typeface="Arial"/>
              </a:rPr>
              <a:t>oikeudenmukaisuuteen</a:t>
            </a:r>
            <a:r>
              <a:rPr lang="en-US" sz="1800" b="0" dirty="0">
                <a:cs typeface="Arial"/>
              </a:rPr>
              <a:t> </a:t>
            </a:r>
            <a:r>
              <a:rPr lang="en-US" sz="1800" b="0" dirty="0" err="1">
                <a:cs typeface="Arial"/>
              </a:rPr>
              <a:t>liittyvän</a:t>
            </a:r>
            <a:r>
              <a:rPr lang="en-US" sz="1800" b="0" dirty="0">
                <a:cs typeface="Arial"/>
              </a:rPr>
              <a:t> </a:t>
            </a:r>
            <a:r>
              <a:rPr lang="en-US" sz="1800" b="0" dirty="0" err="1">
                <a:cs typeface="Arial"/>
              </a:rPr>
              <a:t>tilannekatsauksen</a:t>
            </a:r>
            <a:r>
              <a:rPr lang="en-US" sz="1800" b="0" dirty="0">
                <a:cs typeface="Arial"/>
              </a:rPr>
              <a:t> </a:t>
            </a:r>
            <a:r>
              <a:rPr lang="en-US" sz="1800" b="0" dirty="0" err="1">
                <a:cs typeface="Arial"/>
              </a:rPr>
              <a:t>toteuttamiseksi</a:t>
            </a:r>
            <a:r>
              <a:rPr lang="en-US" sz="1800" b="0" dirty="0">
                <a:cs typeface="Arial"/>
              </a:rPr>
              <a:t>.</a:t>
            </a:r>
          </a:p>
          <a:p>
            <a:endParaRPr lang="en-US" sz="1800" b="0" dirty="0">
              <a:cs typeface="Arial"/>
            </a:endParaRPr>
          </a:p>
          <a:p>
            <a:r>
              <a:rPr lang="en-US" sz="1800" b="0" dirty="0">
                <a:cs typeface="Arial"/>
              </a:rPr>
              <a:t> </a:t>
            </a:r>
          </a:p>
          <a:p>
            <a:endParaRPr lang="en-US" sz="2000" b="0" dirty="0">
              <a:cs typeface="Arial"/>
            </a:endParaRPr>
          </a:p>
          <a:p>
            <a:endParaRPr lang="en-US" sz="2000" b="0" dirty="0">
              <a:ea typeface="+mn-lt"/>
              <a:cs typeface="+mn-lt"/>
            </a:endParaRPr>
          </a:p>
          <a:p>
            <a:endParaRPr lang="en-US" sz="2000" b="0" dirty="0">
              <a:cs typeface="Arial"/>
            </a:endParaRPr>
          </a:p>
          <a:p>
            <a:endParaRPr lang="en-GB" sz="2000" b="0" dirty="0"/>
          </a:p>
        </p:txBody>
      </p:sp>
      <p:sp>
        <p:nvSpPr>
          <p:cNvPr id="14" name="Title 13">
            <a:extLst>
              <a:ext uri="{FF2B5EF4-FFF2-40B4-BE49-F238E27FC236}">
                <a16:creationId xmlns:a16="http://schemas.microsoft.com/office/drawing/2014/main" id="{C3527DB3-13A8-49BE-A7FD-3D0EE67EA476}"/>
              </a:ext>
            </a:extLst>
          </p:cNvPr>
          <p:cNvSpPr>
            <a:spLocks noGrp="1"/>
          </p:cNvSpPr>
          <p:nvPr>
            <p:ph type="title"/>
          </p:nvPr>
        </p:nvSpPr>
        <p:spPr/>
        <p:txBody>
          <a:bodyPr vert="horz"/>
          <a:lstStyle/>
          <a:p>
            <a:r>
              <a:rPr lang="en-GB" dirty="0" err="1"/>
              <a:t>Työn</a:t>
            </a:r>
            <a:r>
              <a:rPr lang="en-GB" dirty="0"/>
              <a:t> </a:t>
            </a:r>
            <a:r>
              <a:rPr lang="en-GB" dirty="0" err="1"/>
              <a:t>tausta</a:t>
            </a:r>
            <a:r>
              <a:rPr lang="en-GB" dirty="0"/>
              <a:t> </a:t>
            </a:r>
            <a:r>
              <a:rPr lang="en-GB" dirty="0" err="1"/>
              <a:t>ja</a:t>
            </a:r>
            <a:r>
              <a:rPr lang="en-GB" dirty="0"/>
              <a:t> </a:t>
            </a:r>
            <a:r>
              <a:rPr lang="en-GB" dirty="0" err="1"/>
              <a:t>tavoitteet</a:t>
            </a:r>
            <a:endParaRPr lang="en-GB" dirty="0"/>
          </a:p>
        </p:txBody>
      </p:sp>
      <p:sp>
        <p:nvSpPr>
          <p:cNvPr id="19" name="Text Placeholder 18">
            <a:extLst>
              <a:ext uri="{FF2B5EF4-FFF2-40B4-BE49-F238E27FC236}">
                <a16:creationId xmlns:a16="http://schemas.microsoft.com/office/drawing/2014/main" id="{ED8F5D48-568C-4709-BBC7-0472BB618714}"/>
              </a:ext>
            </a:extLst>
          </p:cNvPr>
          <p:cNvSpPr>
            <a:spLocks noGrp="1"/>
          </p:cNvSpPr>
          <p:nvPr>
            <p:ph type="body" sz="quarter" idx="33"/>
          </p:nvPr>
        </p:nvSpPr>
        <p:spPr>
          <a:xfrm>
            <a:off x="4290409" y="3021778"/>
            <a:ext cx="3470239" cy="3024436"/>
          </a:xfrm>
        </p:spPr>
        <p:txBody>
          <a:bodyPr/>
          <a:lstStyle/>
          <a:p>
            <a:r>
              <a:rPr lang="en-US" sz="1800" b="0" dirty="0" err="1">
                <a:cs typeface="Arial"/>
              </a:rPr>
              <a:t>IPP:n</a:t>
            </a:r>
            <a:r>
              <a:rPr lang="en-US" sz="1800" b="0" dirty="0">
                <a:cs typeface="Arial"/>
              </a:rPr>
              <a:t> </a:t>
            </a:r>
            <a:r>
              <a:rPr lang="en-US" sz="1800" b="0" dirty="0" err="1">
                <a:cs typeface="Arial"/>
              </a:rPr>
              <a:t>toiminnan</a:t>
            </a:r>
            <a:r>
              <a:rPr lang="en-US" sz="1800" b="0" dirty="0">
                <a:cs typeface="Arial"/>
              </a:rPr>
              <a:t> </a:t>
            </a:r>
            <a:r>
              <a:rPr lang="en-US" sz="1800" b="0" dirty="0" err="1">
                <a:cs typeface="Arial"/>
              </a:rPr>
              <a:t>arvioinnin</a:t>
            </a:r>
            <a:r>
              <a:rPr lang="en-US" sz="1800" b="0" dirty="0">
                <a:cs typeface="Arial"/>
              </a:rPr>
              <a:t> </a:t>
            </a:r>
            <a:r>
              <a:rPr lang="en-US" sz="1800" b="0" dirty="0" err="1">
                <a:cs typeface="Arial"/>
              </a:rPr>
              <a:t>tavoitteina</a:t>
            </a:r>
            <a:r>
              <a:rPr lang="en-US" sz="1800" b="0" dirty="0">
                <a:cs typeface="Arial"/>
              </a:rPr>
              <a:t> </a:t>
            </a:r>
            <a:r>
              <a:rPr lang="en-US" sz="1800" b="0" dirty="0" err="1">
                <a:cs typeface="Arial"/>
              </a:rPr>
              <a:t>oli</a:t>
            </a:r>
            <a:r>
              <a:rPr lang="en-US" sz="1800" b="0" dirty="0">
                <a:cs typeface="Arial"/>
              </a:rPr>
              <a:t> </a:t>
            </a:r>
            <a:r>
              <a:rPr lang="en-US" sz="1800" b="0" dirty="0" err="1">
                <a:cs typeface="Arial"/>
              </a:rPr>
              <a:t>selvittää</a:t>
            </a:r>
            <a:r>
              <a:rPr lang="en-US" sz="1800" b="0" dirty="0">
                <a:cs typeface="Arial"/>
              </a:rPr>
              <a:t> </a:t>
            </a:r>
            <a:r>
              <a:rPr lang="en-US" sz="1800" b="0" dirty="0" err="1">
                <a:cs typeface="Arial"/>
              </a:rPr>
              <a:t>kuinka</a:t>
            </a:r>
            <a:r>
              <a:rPr lang="en-US" sz="1800" b="0" dirty="0">
                <a:cs typeface="Arial"/>
              </a:rPr>
              <a:t> </a:t>
            </a:r>
            <a:r>
              <a:rPr lang="en-US" sz="1800" b="0" dirty="0" err="1">
                <a:cs typeface="Arial"/>
              </a:rPr>
              <a:t>IPP:n</a:t>
            </a:r>
            <a:r>
              <a:rPr lang="en-US" sz="1800" b="0" dirty="0">
                <a:cs typeface="Arial"/>
              </a:rPr>
              <a:t> </a:t>
            </a:r>
            <a:r>
              <a:rPr lang="en-US" sz="1800" b="0" dirty="0" err="1">
                <a:cs typeface="Arial"/>
              </a:rPr>
              <a:t>toiminta</a:t>
            </a:r>
            <a:r>
              <a:rPr lang="en-US" sz="1800" b="0" dirty="0">
                <a:cs typeface="Arial"/>
              </a:rPr>
              <a:t>, </a:t>
            </a:r>
            <a:r>
              <a:rPr lang="en-US" sz="1800" b="0" dirty="0" err="1">
                <a:cs typeface="Arial"/>
              </a:rPr>
              <a:t>kokoonpano</a:t>
            </a:r>
            <a:r>
              <a:rPr lang="en-US" sz="1800" b="0" dirty="0">
                <a:cs typeface="Arial"/>
              </a:rPr>
              <a:t>, </a:t>
            </a:r>
            <a:r>
              <a:rPr lang="en-US" sz="1800" b="0" dirty="0" err="1">
                <a:cs typeface="Arial"/>
              </a:rPr>
              <a:t>rooli</a:t>
            </a:r>
            <a:r>
              <a:rPr lang="en-US" sz="1800" b="0" dirty="0">
                <a:cs typeface="Arial"/>
              </a:rPr>
              <a:t> ja </a:t>
            </a:r>
            <a:r>
              <a:rPr lang="en-US" sz="1800" b="0" dirty="0" err="1">
                <a:cs typeface="Arial"/>
              </a:rPr>
              <a:t>vaikuttavuus</a:t>
            </a:r>
            <a:r>
              <a:rPr lang="en-US" sz="1800" b="0" dirty="0">
                <a:cs typeface="Arial"/>
              </a:rPr>
              <a:t> </a:t>
            </a:r>
            <a:r>
              <a:rPr lang="en-US" sz="1800" b="0" dirty="0" err="1">
                <a:cs typeface="Arial"/>
              </a:rPr>
              <a:t>edistävät</a:t>
            </a:r>
            <a:r>
              <a:rPr lang="en-US" sz="1800" b="0" dirty="0">
                <a:cs typeface="Arial"/>
              </a:rPr>
              <a:t> </a:t>
            </a:r>
            <a:r>
              <a:rPr lang="en-US" sz="1800" b="0" dirty="0" err="1">
                <a:cs typeface="Arial"/>
              </a:rPr>
              <a:t>ilmastopolitiikan</a:t>
            </a:r>
            <a:r>
              <a:rPr lang="en-US" sz="1800" b="0" dirty="0">
                <a:cs typeface="Arial"/>
              </a:rPr>
              <a:t> </a:t>
            </a:r>
            <a:r>
              <a:rPr lang="en-US" sz="1800" b="0" dirty="0" err="1">
                <a:cs typeface="Arial"/>
              </a:rPr>
              <a:t>hyväksyttävyyttä</a:t>
            </a:r>
            <a:r>
              <a:rPr lang="en-US" sz="1800" b="0" dirty="0">
                <a:cs typeface="Arial"/>
              </a:rPr>
              <a:t> ja </a:t>
            </a:r>
            <a:r>
              <a:rPr lang="en-US" sz="1800" b="0" dirty="0" err="1">
                <a:cs typeface="Arial"/>
              </a:rPr>
              <a:t>osallisuutta</a:t>
            </a:r>
            <a:r>
              <a:rPr lang="en-US" sz="1800" b="0" dirty="0">
                <a:cs typeface="Arial"/>
              </a:rPr>
              <a:t>.</a:t>
            </a:r>
          </a:p>
          <a:p>
            <a:pPr algn="ctr"/>
            <a:endParaRPr lang="en-GB" sz="1800" dirty="0"/>
          </a:p>
        </p:txBody>
      </p:sp>
      <p:sp>
        <p:nvSpPr>
          <p:cNvPr id="21" name="Text Placeholder 20">
            <a:extLst>
              <a:ext uri="{FF2B5EF4-FFF2-40B4-BE49-F238E27FC236}">
                <a16:creationId xmlns:a16="http://schemas.microsoft.com/office/drawing/2014/main" id="{1BA1E4F0-3631-4116-9BD4-339E778FFA06}"/>
              </a:ext>
            </a:extLst>
          </p:cNvPr>
          <p:cNvSpPr>
            <a:spLocks noGrp="1"/>
          </p:cNvSpPr>
          <p:nvPr>
            <p:ph type="body" sz="quarter" idx="35"/>
          </p:nvPr>
        </p:nvSpPr>
        <p:spPr>
          <a:xfrm>
            <a:off x="8113675" y="2996952"/>
            <a:ext cx="3958989" cy="3024436"/>
          </a:xfrm>
        </p:spPr>
        <p:txBody>
          <a:bodyPr/>
          <a:lstStyle/>
          <a:p>
            <a:r>
              <a:rPr lang="en-US" sz="1800" b="0" dirty="0" err="1">
                <a:cs typeface="Arial"/>
              </a:rPr>
              <a:t>Kansainvälisessä</a:t>
            </a:r>
            <a:r>
              <a:rPr lang="en-US" sz="1800" b="0" dirty="0">
                <a:cs typeface="Arial"/>
              </a:rPr>
              <a:t> </a:t>
            </a:r>
            <a:r>
              <a:rPr lang="en-US" sz="1800" b="0" dirty="0" err="1">
                <a:cs typeface="Arial"/>
              </a:rPr>
              <a:t>tilannekatsauksessa</a:t>
            </a:r>
            <a:r>
              <a:rPr lang="en-US" sz="1800" b="0" dirty="0">
                <a:cs typeface="Arial"/>
              </a:rPr>
              <a:t> </a:t>
            </a:r>
            <a:r>
              <a:rPr lang="en-US" sz="1800" b="0" dirty="0" err="1">
                <a:cs typeface="Arial"/>
              </a:rPr>
              <a:t>tarkasteltiin</a:t>
            </a:r>
            <a:r>
              <a:rPr lang="en-US" sz="1800" b="0" dirty="0">
                <a:cs typeface="Arial"/>
              </a:rPr>
              <a:t> </a:t>
            </a:r>
          </a:p>
          <a:p>
            <a:r>
              <a:rPr lang="en-US" sz="1800" b="0" dirty="0">
                <a:cs typeface="Arial"/>
              </a:rPr>
              <a:t>a) </a:t>
            </a:r>
            <a:r>
              <a:rPr lang="en-GB" sz="1800" b="0" dirty="0" err="1">
                <a:cs typeface="Arial"/>
              </a:rPr>
              <a:t>h</a:t>
            </a:r>
            <a:r>
              <a:rPr lang="en-GB" sz="1800" b="0" dirty="0" err="1"/>
              <a:t>allinnon</a:t>
            </a:r>
            <a:r>
              <a:rPr lang="en-GB" sz="1800" b="0" dirty="0"/>
              <a:t> </a:t>
            </a:r>
            <a:r>
              <a:rPr lang="en-GB" sz="1800" b="0" dirty="0" err="1"/>
              <a:t>näkökulmasta</a:t>
            </a:r>
            <a:r>
              <a:rPr lang="en-GB" sz="1800" b="0" dirty="0"/>
              <a:t> </a:t>
            </a:r>
            <a:r>
              <a:rPr lang="en-GB" sz="1800" b="0" dirty="0" err="1"/>
              <a:t>relevanttia</a:t>
            </a:r>
            <a:r>
              <a:rPr lang="en-GB" sz="1800" b="0" dirty="0"/>
              <a:t>  </a:t>
            </a:r>
            <a:r>
              <a:rPr lang="en-GB" sz="1800" b="0" dirty="0" err="1"/>
              <a:t>ilmastotoimien</a:t>
            </a:r>
            <a:r>
              <a:rPr lang="en-GB" sz="1800" b="0" dirty="0"/>
              <a:t> </a:t>
            </a:r>
            <a:r>
              <a:rPr lang="en-GB" sz="1800" b="0" dirty="0" err="1"/>
              <a:t>oikeudenmukaisuutta</a:t>
            </a:r>
            <a:r>
              <a:rPr lang="en-GB" sz="1800" b="0" dirty="0"/>
              <a:t> </a:t>
            </a:r>
            <a:r>
              <a:rPr lang="en-GB" sz="1800" b="0" dirty="0" err="1"/>
              <a:t>käsittelevää</a:t>
            </a:r>
            <a:r>
              <a:rPr lang="en-GB" sz="1800" b="0" dirty="0"/>
              <a:t> </a:t>
            </a:r>
            <a:r>
              <a:rPr lang="en-GB" sz="1800" b="0" dirty="0" err="1"/>
              <a:t>tutkimusta</a:t>
            </a:r>
            <a:r>
              <a:rPr lang="en-GB" sz="1800" b="0" dirty="0"/>
              <a:t>, </a:t>
            </a:r>
            <a:r>
              <a:rPr lang="en-GB" sz="1800" b="0" dirty="0" err="1"/>
              <a:t>sekä</a:t>
            </a:r>
            <a:r>
              <a:rPr lang="en-GB" sz="1800" b="0" dirty="0"/>
              <a:t> </a:t>
            </a:r>
          </a:p>
          <a:p>
            <a:r>
              <a:rPr lang="en-GB" sz="1800" b="0" dirty="0"/>
              <a:t>b) </a:t>
            </a:r>
            <a:r>
              <a:rPr lang="en-GB" sz="1800" b="0" dirty="0" err="1"/>
              <a:t>keskeisiä</a:t>
            </a:r>
            <a:r>
              <a:rPr lang="en-GB" sz="1800" b="0" dirty="0"/>
              <a:t> </a:t>
            </a:r>
            <a:r>
              <a:rPr lang="en-GB" sz="1800" b="0" dirty="0" err="1"/>
              <a:t>hallinnollisia</a:t>
            </a:r>
            <a:r>
              <a:rPr lang="en-GB" sz="1800" b="0" dirty="0"/>
              <a:t> </a:t>
            </a:r>
            <a:r>
              <a:rPr lang="en-GB" sz="1800" b="0" dirty="0" err="1"/>
              <a:t>ratkaisuja</a:t>
            </a:r>
            <a:r>
              <a:rPr lang="en-GB" sz="1800" b="0" dirty="0"/>
              <a:t> </a:t>
            </a:r>
            <a:r>
              <a:rPr lang="en-GB" sz="1800" b="0" dirty="0" err="1"/>
              <a:t>muualla</a:t>
            </a:r>
            <a:r>
              <a:rPr lang="en-GB" sz="1800" b="0" dirty="0"/>
              <a:t> </a:t>
            </a:r>
            <a:r>
              <a:rPr lang="en-GB" sz="1800" b="0" dirty="0" err="1"/>
              <a:t>ilmastotoimien</a:t>
            </a:r>
            <a:r>
              <a:rPr lang="en-GB" sz="1800" b="0" dirty="0"/>
              <a:t> </a:t>
            </a:r>
            <a:r>
              <a:rPr lang="en-GB" sz="1800" b="0" dirty="0" err="1"/>
              <a:t>oikeudenmukaisuuden</a:t>
            </a:r>
            <a:r>
              <a:rPr lang="en-GB" sz="1800" b="0" dirty="0"/>
              <a:t> </a:t>
            </a:r>
            <a:r>
              <a:rPr lang="en-GB" sz="1800" b="0" dirty="0" err="1"/>
              <a:t>ja</a:t>
            </a:r>
            <a:r>
              <a:rPr lang="en-GB" sz="1800" b="0" dirty="0"/>
              <a:t> </a:t>
            </a:r>
            <a:r>
              <a:rPr lang="en-GB" sz="1800" b="0" dirty="0" err="1"/>
              <a:t>hyväksyttävyyden</a:t>
            </a:r>
            <a:r>
              <a:rPr lang="en-GB" sz="1800" b="0" dirty="0"/>
              <a:t> </a:t>
            </a:r>
            <a:r>
              <a:rPr lang="en-GB" sz="1800" b="0" dirty="0" err="1"/>
              <a:t>varmistamiseksi</a:t>
            </a:r>
            <a:r>
              <a:rPr lang="en-GB" sz="1800" b="0" dirty="0"/>
              <a:t>.</a:t>
            </a:r>
          </a:p>
        </p:txBody>
      </p:sp>
      <p:sp>
        <p:nvSpPr>
          <p:cNvPr id="34" name="Graphic 6">
            <a:extLst>
              <a:ext uri="{FF2B5EF4-FFF2-40B4-BE49-F238E27FC236}">
                <a16:creationId xmlns:a16="http://schemas.microsoft.com/office/drawing/2014/main" id="{0E36C82B-5A9C-4B4B-A5CD-E2BC2126CBEE}"/>
              </a:ext>
            </a:extLst>
          </p:cNvPr>
          <p:cNvSpPr/>
          <p:nvPr/>
        </p:nvSpPr>
        <p:spPr>
          <a:xfrm>
            <a:off x="8913654" y="1414911"/>
            <a:ext cx="1335715" cy="1322516"/>
          </a:xfrm>
          <a:custGeom>
            <a:avLst/>
            <a:gdLst>
              <a:gd name="connsiteX0" fmla="*/ 657529 w 2511874"/>
              <a:gd name="connsiteY0" fmla="*/ 194538 h 2487053"/>
              <a:gd name="connsiteX1" fmla="*/ 691914 w 2511874"/>
              <a:gd name="connsiteY1" fmla="*/ 425329 h 2487053"/>
              <a:gd name="connsiteX2" fmla="*/ 398163 w 2511874"/>
              <a:gd name="connsiteY2" fmla="*/ 741750 h 2487053"/>
              <a:gd name="connsiteX3" fmla="*/ 165468 w 2511874"/>
              <a:gd name="connsiteY3" fmla="*/ 724605 h 2487053"/>
              <a:gd name="connsiteX4" fmla="*/ 78600 w 2511874"/>
              <a:gd name="connsiteY4" fmla="*/ 789279 h 2487053"/>
              <a:gd name="connsiteX5" fmla="*/ 2781 w 2511874"/>
              <a:gd name="connsiteY5" fmla="*/ 1097604 h 2487053"/>
              <a:gd name="connsiteX6" fmla="*/ 50025 w 2511874"/>
              <a:gd name="connsiteY6" fmla="*/ 1195044 h 2487053"/>
              <a:gd name="connsiteX7" fmla="*/ 263670 w 2511874"/>
              <a:gd name="connsiteY7" fmla="*/ 1286294 h 2487053"/>
              <a:gd name="connsiteX8" fmla="*/ 401973 w 2511874"/>
              <a:gd name="connsiteY8" fmla="*/ 1751304 h 2487053"/>
              <a:gd name="connsiteX9" fmla="*/ 272243 w 2511874"/>
              <a:gd name="connsiteY9" fmla="*/ 1944567 h 2487053"/>
              <a:gd name="connsiteX10" fmla="*/ 286149 w 2511874"/>
              <a:gd name="connsiteY10" fmla="*/ 2053152 h 2487053"/>
              <a:gd name="connsiteX11" fmla="*/ 518274 w 2511874"/>
              <a:gd name="connsiteY11" fmla="*/ 2268702 h 2487053"/>
              <a:gd name="connsiteX12" fmla="*/ 627621 w 2511874"/>
              <a:gd name="connsiteY12" fmla="*/ 2274608 h 2487053"/>
              <a:gd name="connsiteX13" fmla="*/ 812787 w 2511874"/>
              <a:gd name="connsiteY13" fmla="*/ 2132876 h 2487053"/>
              <a:gd name="connsiteX14" fmla="*/ 1284846 w 2511874"/>
              <a:gd name="connsiteY14" fmla="*/ 2238318 h 2487053"/>
              <a:gd name="connsiteX15" fmla="*/ 1393621 w 2511874"/>
              <a:gd name="connsiteY15" fmla="*/ 2442534 h 2487053"/>
              <a:gd name="connsiteX16" fmla="*/ 1494300 w 2511874"/>
              <a:gd name="connsiteY16" fmla="*/ 2482443 h 2487053"/>
              <a:gd name="connsiteX17" fmla="*/ 1796148 w 2511874"/>
              <a:gd name="connsiteY17" fmla="*/ 2383955 h 2487053"/>
              <a:gd name="connsiteX18" fmla="*/ 1854250 w 2511874"/>
              <a:gd name="connsiteY18" fmla="*/ 2292515 h 2487053"/>
              <a:gd name="connsiteX19" fmla="*/ 1817865 w 2511874"/>
              <a:gd name="connsiteY19" fmla="*/ 2059819 h 2487053"/>
              <a:gd name="connsiteX20" fmla="*/ 2111616 w 2511874"/>
              <a:gd name="connsiteY20" fmla="*/ 1743399 h 2487053"/>
              <a:gd name="connsiteX21" fmla="*/ 2344312 w 2511874"/>
              <a:gd name="connsiteY21" fmla="*/ 1760544 h 2487053"/>
              <a:gd name="connsiteX22" fmla="*/ 2433275 w 2511874"/>
              <a:gd name="connsiteY22" fmla="*/ 1697774 h 2487053"/>
              <a:gd name="connsiteX23" fmla="*/ 2509094 w 2511874"/>
              <a:gd name="connsiteY23" fmla="*/ 1389450 h 2487053"/>
              <a:gd name="connsiteX24" fmla="*/ 2461850 w 2511874"/>
              <a:gd name="connsiteY24" fmla="*/ 1292009 h 2487053"/>
              <a:gd name="connsiteX25" fmla="*/ 2248204 w 2511874"/>
              <a:gd name="connsiteY25" fmla="*/ 1200759 h 2487053"/>
              <a:gd name="connsiteX26" fmla="*/ 2109901 w 2511874"/>
              <a:gd name="connsiteY26" fmla="*/ 735749 h 2487053"/>
              <a:gd name="connsiteX27" fmla="*/ 2239632 w 2511874"/>
              <a:gd name="connsiteY27" fmla="*/ 542487 h 2487053"/>
              <a:gd name="connsiteX28" fmla="*/ 2225725 w 2511874"/>
              <a:gd name="connsiteY28" fmla="*/ 433902 h 2487053"/>
              <a:gd name="connsiteX29" fmla="*/ 1993601 w 2511874"/>
              <a:gd name="connsiteY29" fmla="*/ 218351 h 2487053"/>
              <a:gd name="connsiteX30" fmla="*/ 1884254 w 2511874"/>
              <a:gd name="connsiteY30" fmla="*/ 212445 h 2487053"/>
              <a:gd name="connsiteX31" fmla="*/ 1699088 w 2511874"/>
              <a:gd name="connsiteY31" fmla="*/ 354177 h 2487053"/>
              <a:gd name="connsiteX32" fmla="*/ 1227029 w 2511874"/>
              <a:gd name="connsiteY32" fmla="*/ 248736 h 2487053"/>
              <a:gd name="connsiteX33" fmla="*/ 1118158 w 2511874"/>
              <a:gd name="connsiteY33" fmla="*/ 44520 h 2487053"/>
              <a:gd name="connsiteX34" fmla="*/ 1017479 w 2511874"/>
              <a:gd name="connsiteY34" fmla="*/ 4610 h 2487053"/>
              <a:gd name="connsiteX35" fmla="*/ 715632 w 2511874"/>
              <a:gd name="connsiteY35" fmla="*/ 103098 h 2487053"/>
              <a:gd name="connsiteX36" fmla="*/ 657529 w 2511874"/>
              <a:gd name="connsiteY36" fmla="*/ 194538 h 2487053"/>
              <a:gd name="connsiteX37" fmla="*/ 840885 w 2511874"/>
              <a:gd name="connsiteY37" fmla="*/ 858240 h 2487053"/>
              <a:gd name="connsiteX38" fmla="*/ 840885 w 2511874"/>
              <a:gd name="connsiteY38" fmla="*/ 858240 h 2487053"/>
              <a:gd name="connsiteX39" fmla="*/ 1641176 w 2511874"/>
              <a:gd name="connsiteY39" fmla="*/ 828522 h 2487053"/>
              <a:gd name="connsiteX40" fmla="*/ 1670894 w 2511874"/>
              <a:gd name="connsiteY40" fmla="*/ 1628813 h 2487053"/>
              <a:gd name="connsiteX41" fmla="*/ 870603 w 2511874"/>
              <a:gd name="connsiteY41" fmla="*/ 1658531 h 2487053"/>
              <a:gd name="connsiteX42" fmla="*/ 840885 w 2511874"/>
              <a:gd name="connsiteY42" fmla="*/ 858240 h 248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511874" h="2487053">
                <a:moveTo>
                  <a:pt x="657529" y="194538"/>
                </a:moveTo>
                <a:lnTo>
                  <a:pt x="691914" y="425329"/>
                </a:lnTo>
                <a:cubicBezTo>
                  <a:pt x="571995" y="509149"/>
                  <a:pt x="472839" y="615924"/>
                  <a:pt x="398163" y="741750"/>
                </a:cubicBezTo>
                <a:lnTo>
                  <a:pt x="165468" y="724605"/>
                </a:lnTo>
                <a:cubicBezTo>
                  <a:pt x="125748" y="722128"/>
                  <a:pt x="88982" y="749274"/>
                  <a:pt x="78600" y="789279"/>
                </a:cubicBezTo>
                <a:lnTo>
                  <a:pt x="2781" y="1097604"/>
                </a:lnTo>
                <a:cubicBezTo>
                  <a:pt x="-7602" y="1137704"/>
                  <a:pt x="11734" y="1178566"/>
                  <a:pt x="50025" y="1195044"/>
                </a:cubicBezTo>
                <a:lnTo>
                  <a:pt x="263670" y="1286294"/>
                </a:lnTo>
                <a:cubicBezTo>
                  <a:pt x="271767" y="1450600"/>
                  <a:pt x="319296" y="1609572"/>
                  <a:pt x="401973" y="1751304"/>
                </a:cubicBezTo>
                <a:lnTo>
                  <a:pt x="272243" y="1944567"/>
                </a:lnTo>
                <a:cubicBezTo>
                  <a:pt x="247764" y="1979238"/>
                  <a:pt x="255384" y="2024577"/>
                  <a:pt x="286149" y="2053152"/>
                </a:cubicBezTo>
                <a:lnTo>
                  <a:pt x="518274" y="2268702"/>
                </a:lnTo>
                <a:cubicBezTo>
                  <a:pt x="549135" y="2297277"/>
                  <a:pt x="594855" y="2301564"/>
                  <a:pt x="627621" y="2274608"/>
                </a:cubicBezTo>
                <a:lnTo>
                  <a:pt x="812787" y="2132876"/>
                </a:lnTo>
                <a:cubicBezTo>
                  <a:pt x="958329" y="2206790"/>
                  <a:pt x="1120349" y="2242509"/>
                  <a:pt x="1284846" y="2238318"/>
                </a:cubicBezTo>
                <a:lnTo>
                  <a:pt x="1393621" y="2442534"/>
                </a:lnTo>
                <a:cubicBezTo>
                  <a:pt x="1412862" y="2479491"/>
                  <a:pt x="1455153" y="2495778"/>
                  <a:pt x="1494300" y="2482443"/>
                </a:cubicBezTo>
                <a:lnTo>
                  <a:pt x="1796148" y="2383955"/>
                </a:lnTo>
                <a:cubicBezTo>
                  <a:pt x="1835295" y="2370620"/>
                  <a:pt x="1859679" y="2332044"/>
                  <a:pt x="1854250" y="2292515"/>
                </a:cubicBezTo>
                <a:lnTo>
                  <a:pt x="1817865" y="2059819"/>
                </a:lnTo>
                <a:cubicBezTo>
                  <a:pt x="1937784" y="1975999"/>
                  <a:pt x="2036940" y="1869224"/>
                  <a:pt x="2111616" y="1743399"/>
                </a:cubicBezTo>
                <a:lnTo>
                  <a:pt x="2344312" y="1760544"/>
                </a:lnTo>
                <a:cubicBezTo>
                  <a:pt x="2386126" y="1764925"/>
                  <a:pt x="2422797" y="1737779"/>
                  <a:pt x="2433275" y="1697774"/>
                </a:cubicBezTo>
                <a:lnTo>
                  <a:pt x="2509094" y="1389450"/>
                </a:lnTo>
                <a:cubicBezTo>
                  <a:pt x="2519476" y="1349349"/>
                  <a:pt x="2500140" y="1308487"/>
                  <a:pt x="2461850" y="1292009"/>
                </a:cubicBezTo>
                <a:lnTo>
                  <a:pt x="2248204" y="1200759"/>
                </a:lnTo>
                <a:cubicBezTo>
                  <a:pt x="2240108" y="1036453"/>
                  <a:pt x="2192578" y="877481"/>
                  <a:pt x="2109901" y="735749"/>
                </a:cubicBezTo>
                <a:lnTo>
                  <a:pt x="2239632" y="542487"/>
                </a:lnTo>
                <a:cubicBezTo>
                  <a:pt x="2264111" y="507816"/>
                  <a:pt x="2256491" y="462477"/>
                  <a:pt x="2225725" y="433902"/>
                </a:cubicBezTo>
                <a:lnTo>
                  <a:pt x="1993601" y="218351"/>
                </a:lnTo>
                <a:cubicBezTo>
                  <a:pt x="1962740" y="189776"/>
                  <a:pt x="1917020" y="185490"/>
                  <a:pt x="1884254" y="212445"/>
                </a:cubicBezTo>
                <a:lnTo>
                  <a:pt x="1699088" y="354177"/>
                </a:lnTo>
                <a:cubicBezTo>
                  <a:pt x="1553546" y="280263"/>
                  <a:pt x="1391526" y="244545"/>
                  <a:pt x="1227029" y="248736"/>
                </a:cubicBezTo>
                <a:lnTo>
                  <a:pt x="1118158" y="44520"/>
                </a:lnTo>
                <a:cubicBezTo>
                  <a:pt x="1098918" y="7563"/>
                  <a:pt x="1056627" y="-8725"/>
                  <a:pt x="1017479" y="4610"/>
                </a:cubicBezTo>
                <a:lnTo>
                  <a:pt x="715632" y="103098"/>
                </a:lnTo>
                <a:cubicBezTo>
                  <a:pt x="676484" y="116529"/>
                  <a:pt x="652100" y="155105"/>
                  <a:pt x="657529" y="194538"/>
                </a:cubicBezTo>
                <a:close/>
                <a:moveTo>
                  <a:pt x="840885" y="858240"/>
                </a:moveTo>
                <a:lnTo>
                  <a:pt x="840885" y="858240"/>
                </a:lnTo>
                <a:cubicBezTo>
                  <a:pt x="1054531" y="628116"/>
                  <a:pt x="1411052" y="614877"/>
                  <a:pt x="1641176" y="828522"/>
                </a:cubicBezTo>
                <a:cubicBezTo>
                  <a:pt x="1871300" y="1042168"/>
                  <a:pt x="1884540" y="1398689"/>
                  <a:pt x="1670894" y="1628813"/>
                </a:cubicBezTo>
                <a:cubicBezTo>
                  <a:pt x="1457248" y="1858937"/>
                  <a:pt x="1100727" y="1872177"/>
                  <a:pt x="870603" y="1658531"/>
                </a:cubicBezTo>
                <a:cubicBezTo>
                  <a:pt x="644385" y="1444790"/>
                  <a:pt x="631145" y="1088174"/>
                  <a:pt x="840885" y="858240"/>
                </a:cubicBezTo>
                <a:close/>
              </a:path>
            </a:pathLst>
          </a:custGeom>
          <a:noFill/>
          <a:ln w="38100" cap="flat">
            <a:solidFill>
              <a:schemeClr val="tx2"/>
            </a:solidFill>
            <a:prstDash val="solid"/>
            <a:miter/>
          </a:ln>
        </p:spPr>
        <p:txBody>
          <a:bodyPr rtlCol="0" anchor="ctr"/>
          <a:lstStyle/>
          <a:p>
            <a:endParaRPr lang="en-GB"/>
          </a:p>
        </p:txBody>
      </p:sp>
      <p:sp>
        <p:nvSpPr>
          <p:cNvPr id="35" name="Graphic 2">
            <a:extLst>
              <a:ext uri="{FF2B5EF4-FFF2-40B4-BE49-F238E27FC236}">
                <a16:creationId xmlns:a16="http://schemas.microsoft.com/office/drawing/2014/main" id="{75499056-3765-45DB-9C1F-45B1EB2D16A5}"/>
              </a:ext>
            </a:extLst>
          </p:cNvPr>
          <p:cNvSpPr/>
          <p:nvPr/>
        </p:nvSpPr>
        <p:spPr>
          <a:xfrm>
            <a:off x="5231904" y="1403737"/>
            <a:ext cx="1314982" cy="1371351"/>
          </a:xfrm>
          <a:custGeom>
            <a:avLst/>
            <a:gdLst>
              <a:gd name="connsiteX0" fmla="*/ 1830708 w 1835383"/>
              <a:gd name="connsiteY0" fmla="*/ 708764 h 1914060"/>
              <a:gd name="connsiteX1" fmla="*/ 1279210 w 1835383"/>
              <a:gd name="connsiteY1" fmla="*/ 4676 h 1914060"/>
              <a:gd name="connsiteX2" fmla="*/ 575218 w 1835383"/>
              <a:gd name="connsiteY2" fmla="*/ 556173 h 1914060"/>
              <a:gd name="connsiteX3" fmla="*/ 733999 w 1835383"/>
              <a:gd name="connsiteY3" fmla="*/ 1056807 h 1914060"/>
              <a:gd name="connsiteX4" fmla="*/ 640083 w 1835383"/>
              <a:gd name="connsiteY4" fmla="*/ 1161582 h 1914060"/>
              <a:gd name="connsiteX5" fmla="*/ 638559 w 1835383"/>
              <a:gd name="connsiteY5" fmla="*/ 1163297 h 1914060"/>
              <a:gd name="connsiteX6" fmla="*/ 490826 w 1835383"/>
              <a:gd name="connsiteY6" fmla="*/ 1174155 h 1914060"/>
              <a:gd name="connsiteX7" fmla="*/ 29054 w 1835383"/>
              <a:gd name="connsiteY7" fmla="*/ 1671170 h 1914060"/>
              <a:gd name="connsiteX8" fmla="*/ 34674 w 1835383"/>
              <a:gd name="connsiteY8" fmla="*/ 1824999 h 1914060"/>
              <a:gd name="connsiteX9" fmla="*/ 99253 w 1835383"/>
              <a:gd name="connsiteY9" fmla="*/ 1885006 h 1914060"/>
              <a:gd name="connsiteX10" fmla="*/ 253082 w 1835383"/>
              <a:gd name="connsiteY10" fmla="*/ 1879386 h 1914060"/>
              <a:gd name="connsiteX11" fmla="*/ 714854 w 1835383"/>
              <a:gd name="connsiteY11" fmla="*/ 1382372 h 1914060"/>
              <a:gd name="connsiteX12" fmla="*/ 716759 w 1835383"/>
              <a:gd name="connsiteY12" fmla="*/ 1236354 h 1914060"/>
              <a:gd name="connsiteX13" fmla="*/ 717235 w 1835383"/>
              <a:gd name="connsiteY13" fmla="*/ 1235877 h 1914060"/>
              <a:gd name="connsiteX14" fmla="*/ 812199 w 1835383"/>
              <a:gd name="connsiteY14" fmla="*/ 1129959 h 1914060"/>
              <a:gd name="connsiteX15" fmla="*/ 957742 w 1835383"/>
              <a:gd name="connsiteY15" fmla="*/ 1215589 h 1914060"/>
              <a:gd name="connsiteX16" fmla="*/ 1126620 w 1835383"/>
              <a:gd name="connsiteY16" fmla="*/ 1260261 h 1914060"/>
              <a:gd name="connsiteX17" fmla="*/ 1830708 w 1835383"/>
              <a:gd name="connsiteY17" fmla="*/ 708764 h 191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35383" h="1914060">
                <a:moveTo>
                  <a:pt x="1830708" y="708764"/>
                </a:moveTo>
                <a:cubicBezTo>
                  <a:pt x="1872808" y="362054"/>
                  <a:pt x="1625920" y="46776"/>
                  <a:pt x="1279210" y="4676"/>
                </a:cubicBezTo>
                <a:cubicBezTo>
                  <a:pt x="932500" y="-37425"/>
                  <a:pt x="617318" y="209463"/>
                  <a:pt x="575218" y="556173"/>
                </a:cubicBezTo>
                <a:cubicBezTo>
                  <a:pt x="552167" y="745530"/>
                  <a:pt x="615413" y="925648"/>
                  <a:pt x="733999" y="1056807"/>
                </a:cubicBezTo>
                <a:lnTo>
                  <a:pt x="640083" y="1161582"/>
                </a:lnTo>
                <a:cubicBezTo>
                  <a:pt x="639511" y="1162154"/>
                  <a:pt x="639035" y="1162725"/>
                  <a:pt x="638559" y="1163297"/>
                </a:cubicBezTo>
                <a:cubicBezTo>
                  <a:pt x="594553" y="1127959"/>
                  <a:pt x="529879" y="1132150"/>
                  <a:pt x="490826" y="1174155"/>
                </a:cubicBezTo>
                <a:lnTo>
                  <a:pt x="29054" y="1671170"/>
                </a:lnTo>
                <a:cubicBezTo>
                  <a:pt x="-11808" y="1715080"/>
                  <a:pt x="-9237" y="1784136"/>
                  <a:pt x="34674" y="1824999"/>
                </a:cubicBezTo>
                <a:lnTo>
                  <a:pt x="99253" y="1885006"/>
                </a:lnTo>
                <a:cubicBezTo>
                  <a:pt x="143163" y="1925868"/>
                  <a:pt x="212220" y="1923297"/>
                  <a:pt x="253082" y="1879386"/>
                </a:cubicBezTo>
                <a:lnTo>
                  <a:pt x="714854" y="1382372"/>
                </a:lnTo>
                <a:cubicBezTo>
                  <a:pt x="753240" y="1341033"/>
                  <a:pt x="753335" y="1277692"/>
                  <a:pt x="716759" y="1236354"/>
                </a:cubicBezTo>
                <a:cubicBezTo>
                  <a:pt x="716949" y="1236258"/>
                  <a:pt x="717140" y="1236068"/>
                  <a:pt x="717235" y="1235877"/>
                </a:cubicBezTo>
                <a:lnTo>
                  <a:pt x="812199" y="1129959"/>
                </a:lnTo>
                <a:cubicBezTo>
                  <a:pt x="856110" y="1164535"/>
                  <a:pt x="904973" y="1193491"/>
                  <a:pt x="957742" y="1215589"/>
                </a:cubicBezTo>
                <a:cubicBezTo>
                  <a:pt x="1010415" y="1237687"/>
                  <a:pt x="1067089" y="1253022"/>
                  <a:pt x="1126620" y="1260261"/>
                </a:cubicBezTo>
                <a:cubicBezTo>
                  <a:pt x="1473330" y="1302362"/>
                  <a:pt x="1788512" y="1055474"/>
                  <a:pt x="1830708" y="708764"/>
                </a:cubicBezTo>
                <a:close/>
              </a:path>
            </a:pathLst>
          </a:custGeom>
          <a:noFill/>
          <a:ln w="38100" cap="flat">
            <a:solidFill>
              <a:schemeClr val="tx2"/>
            </a:solidFill>
            <a:prstDash val="solid"/>
            <a:miter/>
          </a:ln>
        </p:spPr>
        <p:txBody>
          <a:bodyPr rtlCol="0" anchor="ctr"/>
          <a:lstStyle/>
          <a:p>
            <a:endParaRPr lang="en-GB"/>
          </a:p>
        </p:txBody>
      </p:sp>
      <p:sp>
        <p:nvSpPr>
          <p:cNvPr id="36" name="Speech Bubble: Oval 35">
            <a:extLst>
              <a:ext uri="{FF2B5EF4-FFF2-40B4-BE49-F238E27FC236}">
                <a16:creationId xmlns:a16="http://schemas.microsoft.com/office/drawing/2014/main" id="{8CCEC034-2F29-4FEA-9375-028872BEC753}"/>
              </a:ext>
            </a:extLst>
          </p:cNvPr>
          <p:cNvSpPr/>
          <p:nvPr/>
        </p:nvSpPr>
        <p:spPr>
          <a:xfrm>
            <a:off x="1082563" y="1917484"/>
            <a:ext cx="1114715" cy="699855"/>
          </a:xfrm>
          <a:prstGeom prst="wedgeEllipseCallout">
            <a:avLst>
              <a:gd name="adj1" fmla="val -27177"/>
              <a:gd name="adj2" fmla="val 66502"/>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w="38100">
                <a:solidFill>
                  <a:schemeClr val="tx1"/>
                </a:solidFill>
              </a:ln>
            </a:endParaRPr>
          </a:p>
        </p:txBody>
      </p:sp>
      <p:sp>
        <p:nvSpPr>
          <p:cNvPr id="37" name="Speech Bubble: Oval 36">
            <a:extLst>
              <a:ext uri="{FF2B5EF4-FFF2-40B4-BE49-F238E27FC236}">
                <a16:creationId xmlns:a16="http://schemas.microsoft.com/office/drawing/2014/main" id="{C6100C06-57A7-41EA-8C32-6CEAD0384AB9}"/>
              </a:ext>
            </a:extLst>
          </p:cNvPr>
          <p:cNvSpPr/>
          <p:nvPr/>
        </p:nvSpPr>
        <p:spPr>
          <a:xfrm flipH="1">
            <a:off x="2231935" y="1424707"/>
            <a:ext cx="1134270" cy="699854"/>
          </a:xfrm>
          <a:prstGeom prst="wedgeEllipseCallout">
            <a:avLst>
              <a:gd name="adj1" fmla="val -27177"/>
              <a:gd name="adj2" fmla="val 66502"/>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w="38100">
                <a:solidFill>
                  <a:schemeClr val="tx1"/>
                </a:solidFill>
              </a:ln>
            </a:endParaRPr>
          </a:p>
        </p:txBody>
      </p:sp>
      <p:sp>
        <p:nvSpPr>
          <p:cNvPr id="5" name="TextBox 4">
            <a:extLst>
              <a:ext uri="{FF2B5EF4-FFF2-40B4-BE49-F238E27FC236}">
                <a16:creationId xmlns:a16="http://schemas.microsoft.com/office/drawing/2014/main" id="{05DDF627-E78E-4222-BF65-C482AADA2269}"/>
              </a:ext>
            </a:extLst>
          </p:cNvPr>
          <p:cNvSpPr txBox="1"/>
          <p:nvPr/>
        </p:nvSpPr>
        <p:spPr>
          <a:xfrm>
            <a:off x="1709815" y="6262591"/>
            <a:ext cx="8785225" cy="338554"/>
          </a:xfrm>
          <a:prstGeom prst="rect">
            <a:avLst/>
          </a:prstGeom>
          <a:noFill/>
        </p:spPr>
        <p:txBody>
          <a:bodyPr wrap="square" rtlCol="0">
            <a:spAutoFit/>
          </a:bodyPr>
          <a:lstStyle/>
          <a:p>
            <a:r>
              <a:rPr lang="fi-FI" sz="1600" i="1" dirty="0">
                <a:solidFill>
                  <a:schemeClr val="tx2"/>
                </a:solidFill>
              </a:rPr>
              <a:t>Selvityksen toteutti </a:t>
            </a:r>
            <a:r>
              <a:rPr lang="fi-FI" sz="1600" i="1" dirty="0" err="1">
                <a:solidFill>
                  <a:schemeClr val="tx2"/>
                </a:solidFill>
              </a:rPr>
              <a:t>Gaia</a:t>
            </a:r>
            <a:r>
              <a:rPr lang="fi-FI" sz="1600" i="1" dirty="0">
                <a:solidFill>
                  <a:schemeClr val="tx2"/>
                </a:solidFill>
              </a:rPr>
              <a:t> Consulting Oy marraskuu 2022 – helmikuu 2023 välisenä aikana  </a:t>
            </a:r>
          </a:p>
        </p:txBody>
      </p:sp>
    </p:spTree>
    <p:extLst>
      <p:ext uri="{BB962C8B-B14F-4D97-AF65-F5344CB8AC3E}">
        <p14:creationId xmlns:p14="http://schemas.microsoft.com/office/powerpoint/2010/main" val="336458778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A42E005-5460-4282-97B4-F393786FA237}"/>
              </a:ext>
            </a:extLst>
          </p:cNvPr>
          <p:cNvGraphicFramePr>
            <a:graphicFrameLocks noChangeAspect="1"/>
          </p:cNvGraphicFramePr>
          <p:nvPr>
            <p:custDataLst>
              <p:tags r:id="rId2"/>
            </p:custDataLst>
            <p:extLst>
              <p:ext uri="{D42A27DB-BD31-4B8C-83A1-F6EECF244321}">
                <p14:modId xmlns:p14="http://schemas.microsoft.com/office/powerpoint/2010/main" val="177615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7"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067854-6BFB-492F-8734-3C4C5B6DFFB4}"/>
              </a:ext>
            </a:extLst>
          </p:cNvPr>
          <p:cNvSpPr>
            <a:spLocks noGrp="1"/>
          </p:cNvSpPr>
          <p:nvPr>
            <p:ph type="title"/>
          </p:nvPr>
        </p:nvSpPr>
        <p:spPr/>
        <p:txBody>
          <a:bodyPr vert="horz"/>
          <a:lstStyle/>
          <a:p>
            <a:r>
              <a:rPr lang="fi-FI" dirty="0"/>
              <a:t>Tilannekatsauksen päähavaintoja</a:t>
            </a:r>
          </a:p>
        </p:txBody>
      </p:sp>
      <p:sp>
        <p:nvSpPr>
          <p:cNvPr id="3" name="Content Placeholder 2">
            <a:extLst>
              <a:ext uri="{FF2B5EF4-FFF2-40B4-BE49-F238E27FC236}">
                <a16:creationId xmlns:a16="http://schemas.microsoft.com/office/drawing/2014/main" id="{0D2B050F-408A-4B09-8354-58D375B2F815}"/>
              </a:ext>
            </a:extLst>
          </p:cNvPr>
          <p:cNvSpPr>
            <a:spLocks noGrp="1"/>
          </p:cNvSpPr>
          <p:nvPr>
            <p:ph idx="1"/>
          </p:nvPr>
        </p:nvSpPr>
        <p:spPr>
          <a:xfrm>
            <a:off x="506275" y="1412776"/>
            <a:ext cx="6283019" cy="4608512"/>
          </a:xfrm>
        </p:spPr>
        <p:txBody>
          <a:bodyPr/>
          <a:lstStyle/>
          <a:p>
            <a:r>
              <a:rPr lang="fi-FI" dirty="0">
                <a:ea typeface="+mn-lt"/>
                <a:cs typeface="+mn-lt"/>
              </a:rPr>
              <a:t>Toistaiseksi tutkimus ilmastonmuutoksen hillinnän politiikkojen vaikutuksesta sosiaaliseen haavoittuvuuteen on vähäistä ja kansainväliset esimerkit toimenpiteistä ovat suhteellisen tuoreita </a:t>
            </a:r>
          </a:p>
          <a:p>
            <a:r>
              <a:rPr lang="fi-FI" spc="10" dirty="0">
                <a:effectLst/>
                <a:latin typeface="Arial" panose="020B0604020202020204" pitchFamily="34" charset="0"/>
                <a:ea typeface="SimSun" panose="02010600030101010101" pitchFamily="2" charset="-122"/>
                <a:cs typeface="Times New Roman" panose="02020603050405020304" pitchFamily="18" charset="0"/>
              </a:rPr>
              <a:t>Suuri osa tunnistetuista toiminnan esimerkeistä ovat luonteeltaan taloudellisia ja liittyvät työllisyyteen ja toimeentuloon, eli hyvittävään oikeudenmukaisuuteen.</a:t>
            </a:r>
          </a:p>
          <a:p>
            <a:r>
              <a:rPr lang="fi-FI" spc="10" dirty="0">
                <a:effectLst/>
                <a:latin typeface="Arial" panose="020B0604020202020204" pitchFamily="34" charset="0"/>
                <a:ea typeface="SimSun" panose="02010600030101010101" pitchFamily="2" charset="-122"/>
                <a:cs typeface="Times New Roman" panose="02020603050405020304" pitchFamily="18" charset="0"/>
              </a:rPr>
              <a:t>Suomen toimenpiteet myötäilevät jo kansainvälisesti vallalla olevaa mallia, jossa ilmasto-oikeudenmukaisuuden toimenpiteitä sidotaan ilmastolakiin ja erillisiin ilmastostrategioihin</a:t>
            </a:r>
            <a:r>
              <a:rPr lang="fi-FI" dirty="0">
                <a:latin typeface="Arial" panose="020B0604020202020204" pitchFamily="34" charset="0"/>
                <a:ea typeface="SimSun" panose="02010600030101010101" pitchFamily="2" charset="-122"/>
                <a:cs typeface="Times New Roman" panose="02020603050405020304" pitchFamily="18" charset="0"/>
              </a:rPr>
              <a:t>.</a:t>
            </a:r>
            <a:endParaRPr lang="fi-FI" dirty="0">
              <a:cs typeface="Arial"/>
            </a:endParaRPr>
          </a:p>
          <a:p>
            <a:r>
              <a:rPr lang="fi-FI" spc="10" dirty="0">
                <a:effectLst/>
                <a:latin typeface="Arial" panose="020B0604020202020204" pitchFamily="34" charset="0"/>
                <a:ea typeface="SimSun" panose="02010600030101010101" pitchFamily="2" charset="-122"/>
                <a:cs typeface="Times New Roman" panose="02020603050405020304" pitchFamily="18" charset="0"/>
              </a:rPr>
              <a:t>Suomi on toimenpiteissään vähintäänkin samalla tasolla muiden maiden kanssa.</a:t>
            </a:r>
          </a:p>
          <a:p>
            <a:r>
              <a:rPr lang="fi-FI" dirty="0">
                <a:latin typeface="Arial" panose="020B0604020202020204" pitchFamily="34" charset="0"/>
                <a:ea typeface="SimSun" panose="02010600030101010101" pitchFamily="2" charset="-122"/>
                <a:cs typeface="Times New Roman" panose="02020603050405020304" pitchFamily="18" charset="0"/>
              </a:rPr>
              <a:t>IPP on ainutlaatuinen korkean tason keskustelufoorumi, jossa on edustettuna maan korkein johto monipuolisesti.</a:t>
            </a:r>
            <a:endParaRPr lang="fi-FI" dirty="0"/>
          </a:p>
        </p:txBody>
      </p:sp>
      <p:sp>
        <p:nvSpPr>
          <p:cNvPr id="5" name="Text Placeholder 4">
            <a:extLst>
              <a:ext uri="{FF2B5EF4-FFF2-40B4-BE49-F238E27FC236}">
                <a16:creationId xmlns:a16="http://schemas.microsoft.com/office/drawing/2014/main" id="{94DEE9CB-68DB-4F8B-B1D0-FBAACE40E260}"/>
              </a:ext>
            </a:extLst>
          </p:cNvPr>
          <p:cNvSpPr>
            <a:spLocks noGrp="1"/>
          </p:cNvSpPr>
          <p:nvPr>
            <p:ph type="body" sz="quarter" idx="15"/>
          </p:nvPr>
        </p:nvSpPr>
        <p:spPr/>
        <p:txBody>
          <a:bodyPr/>
          <a:lstStyle/>
          <a:p>
            <a:endParaRPr lang="fi-FI"/>
          </a:p>
        </p:txBody>
      </p:sp>
      <p:graphicFrame>
        <p:nvGraphicFramePr>
          <p:cNvPr id="9" name="Diagram 8" descr="kolmitasoinen kaavio oikeudenmukaisuuden huomioimisesta ilmastopolitiikassa. Ylimmällä tasolla on ilmastolaki, jonka alapuolella strategia/toimenpidesuunnitelmat. Alimmalla tasolla 1) Kansalais- ja asiantuntijapaneelit, 2) alueelliset tuet/vihreän siirtymän rahoitusinstrumentit, 3) muut toimenpiteet mm. vihreän siirtymän ministeriöt. ">
            <a:extLst>
              <a:ext uri="{FF2B5EF4-FFF2-40B4-BE49-F238E27FC236}">
                <a16:creationId xmlns:a16="http://schemas.microsoft.com/office/drawing/2014/main" id="{3195A229-18AB-4F98-BACF-AB204835ABAA}"/>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3749850169"/>
              </p:ext>
            </p:extLst>
          </p:nvPr>
        </p:nvGraphicFramePr>
        <p:xfrm>
          <a:off x="7150080" y="1276091"/>
          <a:ext cx="4896047" cy="430581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0" name="TextBox 9">
            <a:extLst>
              <a:ext uri="{FF2B5EF4-FFF2-40B4-BE49-F238E27FC236}">
                <a16:creationId xmlns:a16="http://schemas.microsoft.com/office/drawing/2014/main" id="{28FCF9D2-D241-467C-BA66-905C91AAC727}"/>
              </a:ext>
            </a:extLst>
          </p:cNvPr>
          <p:cNvSpPr txBox="1"/>
          <p:nvPr/>
        </p:nvSpPr>
        <p:spPr>
          <a:xfrm>
            <a:off x="6820059" y="5546269"/>
            <a:ext cx="5256833" cy="584775"/>
          </a:xfrm>
          <a:prstGeom prst="rect">
            <a:avLst/>
          </a:prstGeom>
          <a:noFill/>
        </p:spPr>
        <p:txBody>
          <a:bodyPr wrap="square" rtlCol="0">
            <a:spAutoFit/>
          </a:bodyPr>
          <a:lstStyle/>
          <a:p>
            <a:pPr algn="ctr"/>
            <a:r>
              <a:rPr lang="fi-FI" sz="1600" dirty="0">
                <a:solidFill>
                  <a:srgbClr val="404040"/>
                </a:solidFill>
              </a:rPr>
              <a:t>Eri maissa toistuva rakenne oikeudenmukaisuuden huomioimisesta ilmastopolitiikassa.</a:t>
            </a:r>
          </a:p>
        </p:txBody>
      </p:sp>
      <p:cxnSp>
        <p:nvCxnSpPr>
          <p:cNvPr id="12" name="Straight Arrow Connector 11">
            <a:extLst>
              <a:ext uri="{FF2B5EF4-FFF2-40B4-BE49-F238E27FC236}">
                <a16:creationId xmlns:a16="http://schemas.microsoft.com/office/drawing/2014/main" id="{F1B8D1DE-EDB5-4361-830C-9A19256ECDE2}"/>
              </a:ext>
              <a:ext uri="{C183D7F6-B498-43B3-948B-1728B52AA6E4}">
                <adec:decorative xmlns:adec="http://schemas.microsoft.com/office/drawing/2017/decorative" val="1"/>
              </a:ext>
            </a:extLst>
          </p:cNvPr>
          <p:cNvCxnSpPr>
            <a:cxnSpLocks/>
          </p:cNvCxnSpPr>
          <p:nvPr/>
        </p:nvCxnSpPr>
        <p:spPr bwMode="auto">
          <a:xfrm flipH="1">
            <a:off x="7334685" y="2003141"/>
            <a:ext cx="1440160" cy="1584382"/>
          </a:xfrm>
          <a:prstGeom prst="straightConnector1">
            <a:avLst/>
          </a:prstGeom>
          <a:ln>
            <a:solidFill>
              <a:schemeClr val="tx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1C2F6F8-16EA-4E0C-AA8D-6366BD36EDFF}"/>
              </a:ext>
              <a:ext uri="{C183D7F6-B498-43B3-948B-1728B52AA6E4}">
                <adec:decorative xmlns:adec="http://schemas.microsoft.com/office/drawing/2017/decorative" val="1"/>
              </a:ext>
            </a:extLst>
          </p:cNvPr>
          <p:cNvCxnSpPr/>
          <p:nvPr/>
        </p:nvCxnSpPr>
        <p:spPr bwMode="auto">
          <a:xfrm>
            <a:off x="8099623" y="3261434"/>
            <a:ext cx="45085" cy="349885"/>
          </a:xfrm>
          <a:prstGeom prst="straightConnector1">
            <a:avLst/>
          </a:prstGeom>
          <a:ln>
            <a:solidFill>
              <a:schemeClr val="tx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06591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C8ED927-DCA5-4743-B897-DC693F167ECE}"/>
              </a:ext>
            </a:extLst>
          </p:cNvPr>
          <p:cNvGraphicFramePr>
            <a:graphicFrameLocks noChangeAspect="1"/>
          </p:cNvGraphicFramePr>
          <p:nvPr>
            <p:custDataLst>
              <p:tags r:id="rId2"/>
            </p:custDataLst>
            <p:extLst>
              <p:ext uri="{D42A27DB-BD31-4B8C-83A1-F6EECF244321}">
                <p14:modId xmlns:p14="http://schemas.microsoft.com/office/powerpoint/2010/main" val="525865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ED25DA-8F4B-4439-8407-6429CAB88F57}"/>
              </a:ext>
            </a:extLst>
          </p:cNvPr>
          <p:cNvSpPr>
            <a:spLocks noGrp="1"/>
          </p:cNvSpPr>
          <p:nvPr>
            <p:ph type="title"/>
          </p:nvPr>
        </p:nvSpPr>
        <p:spPr/>
        <p:txBody>
          <a:bodyPr vert="horz"/>
          <a:lstStyle/>
          <a:p>
            <a:r>
              <a:rPr lang="fi-FI" dirty="0"/>
              <a:t>Mielenkiintoisia esimerkkejä maailmalta</a:t>
            </a:r>
          </a:p>
        </p:txBody>
      </p:sp>
      <p:sp>
        <p:nvSpPr>
          <p:cNvPr id="3" name="Content Placeholder 2">
            <a:extLst>
              <a:ext uri="{FF2B5EF4-FFF2-40B4-BE49-F238E27FC236}">
                <a16:creationId xmlns:a16="http://schemas.microsoft.com/office/drawing/2014/main" id="{D72888B6-6277-48F1-B7D8-A5AE928D1E9A}"/>
              </a:ext>
            </a:extLst>
          </p:cNvPr>
          <p:cNvSpPr>
            <a:spLocks noGrp="1"/>
          </p:cNvSpPr>
          <p:nvPr>
            <p:ph idx="1"/>
          </p:nvPr>
        </p:nvSpPr>
        <p:spPr>
          <a:xfrm>
            <a:off x="617317" y="1679202"/>
            <a:ext cx="10591251" cy="4392613"/>
          </a:xfrm>
        </p:spPr>
        <p:txBody>
          <a:bodyPr/>
          <a:lstStyle/>
          <a:p>
            <a:r>
              <a:rPr lang="fi-FI" b="1" dirty="0"/>
              <a:t>Kalifornian päästökauppaohjelmasta </a:t>
            </a:r>
            <a:r>
              <a:rPr lang="fi-FI" dirty="0"/>
              <a:t>saaduilla tuotoilla rahoitetaan projekteja, jotka sekä vähentävät päästöjä, että tuovat taloudellisia, ympäristöllisiä ja terveydellisiä hyötyjä. Hyötyjen tulee kohdentua sekä koko Kalifornialle, että </a:t>
            </a:r>
            <a:r>
              <a:rPr lang="fi-FI" u="sng" dirty="0"/>
              <a:t>erikseen määritellyille prioriteettiyhteisöille ja heikommassa asemassa oleville yhteisöille</a:t>
            </a:r>
            <a:r>
              <a:rPr lang="fi-FI" dirty="0"/>
              <a:t>.</a:t>
            </a:r>
          </a:p>
          <a:p>
            <a:r>
              <a:rPr lang="fi-FI" b="1" dirty="0"/>
              <a:t>Walesin Tulevien sukupolvien hyvinvoinnin laki (</a:t>
            </a:r>
            <a:r>
              <a:rPr lang="fi-FI" b="1" dirty="0" err="1"/>
              <a:t>Well-being</a:t>
            </a:r>
            <a:r>
              <a:rPr lang="fi-FI" b="1" dirty="0"/>
              <a:t> of </a:t>
            </a:r>
            <a:r>
              <a:rPr lang="fi-FI" b="1" dirty="0" err="1"/>
              <a:t>Future</a:t>
            </a:r>
            <a:r>
              <a:rPr lang="fi-FI" b="1" dirty="0"/>
              <a:t> </a:t>
            </a:r>
            <a:r>
              <a:rPr lang="fi-FI" b="1" dirty="0" err="1"/>
              <a:t>Generations</a:t>
            </a:r>
            <a:r>
              <a:rPr lang="fi-FI" b="1" dirty="0"/>
              <a:t> Act ) </a:t>
            </a:r>
            <a:r>
              <a:rPr lang="fi-FI" dirty="0"/>
              <a:t>Walesin viranomaisia huomioimaan toimintansa pitkän ajan vaikutukset tuleville sukupolville sekä nykyisille ihmisille, jotka jo kärsivät esimerkiksi köyhyydestä tai terveyshaasteista, joita ilmastonmuutos pahentaa. Laissa määritellään niin kutsutun tulevien sukupolvien komissaarin tehtävä (vastine Suomessa esimerkiksi lapsiasiainvaltuutettu). </a:t>
            </a:r>
          </a:p>
          <a:p>
            <a:r>
              <a:rPr lang="fi-FI" b="1" dirty="0"/>
              <a:t>Kansalaispaneeleja</a:t>
            </a:r>
            <a:r>
              <a:rPr lang="fi-FI" dirty="0"/>
              <a:t> pystytetään monessa maassa ja ne etsivät vakiintuneita toimintamallejaan. Esimerkkeinä Viron nuorten ilmastofoorumi, Tanskan kansalaisten ilmastopaneeli ja Kanadan kansalaisdialogit Kanadan energian tulevaisuudesta. </a:t>
            </a:r>
          </a:p>
          <a:p>
            <a:endParaRPr lang="fi-FI" dirty="0"/>
          </a:p>
        </p:txBody>
      </p:sp>
      <p:sp>
        <p:nvSpPr>
          <p:cNvPr id="4" name="Footer Placeholder 3">
            <a:extLst>
              <a:ext uri="{FF2B5EF4-FFF2-40B4-BE49-F238E27FC236}">
                <a16:creationId xmlns:a16="http://schemas.microsoft.com/office/drawing/2014/main" id="{F67CFE5E-86F6-4840-A971-BE521A952532}"/>
              </a:ext>
            </a:extLst>
          </p:cNvPr>
          <p:cNvSpPr>
            <a:spLocks noGrp="1"/>
          </p:cNvSpPr>
          <p:nvPr>
            <p:ph type="ftr" sz="quarter" idx="11"/>
          </p:nvPr>
        </p:nvSpPr>
        <p:spPr/>
        <p:txBody>
          <a:bodyPr/>
          <a:lstStyle/>
          <a:p>
            <a:r>
              <a:rPr lang="fi-FI"/>
              <a:t>CONFIDENTIAL</a:t>
            </a:r>
          </a:p>
        </p:txBody>
      </p:sp>
      <p:sp>
        <p:nvSpPr>
          <p:cNvPr id="5" name="Text Placeholder 4">
            <a:extLst>
              <a:ext uri="{FF2B5EF4-FFF2-40B4-BE49-F238E27FC236}">
                <a16:creationId xmlns:a16="http://schemas.microsoft.com/office/drawing/2014/main" id="{5152F7C1-BC3E-4D09-9BBE-4162BCBCC896}"/>
              </a:ext>
            </a:extLst>
          </p:cNvPr>
          <p:cNvSpPr>
            <a:spLocks noGrp="1"/>
          </p:cNvSpPr>
          <p:nvPr>
            <p:ph type="body" sz="quarter" idx="15"/>
          </p:nvPr>
        </p:nvSpPr>
        <p:spPr/>
        <p:txBody>
          <a:bodyPr/>
          <a:lstStyle/>
          <a:p>
            <a:endParaRPr lang="fi-FI"/>
          </a:p>
        </p:txBody>
      </p:sp>
      <p:sp>
        <p:nvSpPr>
          <p:cNvPr id="6" name="Text Placeholder 5">
            <a:extLst>
              <a:ext uri="{FF2B5EF4-FFF2-40B4-BE49-F238E27FC236}">
                <a16:creationId xmlns:a16="http://schemas.microsoft.com/office/drawing/2014/main" id="{026428C3-F831-499F-93E3-D7E9693D56F4}"/>
              </a:ext>
            </a:extLst>
          </p:cNvPr>
          <p:cNvSpPr>
            <a:spLocks noGrp="1"/>
          </p:cNvSpPr>
          <p:nvPr>
            <p:ph type="body" sz="quarter" idx="27"/>
          </p:nvPr>
        </p:nvSpPr>
        <p:spPr/>
        <p:txBody>
          <a:bodyPr/>
          <a:lstStyle/>
          <a:p>
            <a:endParaRPr lang="fi-FI"/>
          </a:p>
        </p:txBody>
      </p:sp>
    </p:spTree>
    <p:extLst>
      <p:ext uri="{BB962C8B-B14F-4D97-AF65-F5344CB8AC3E}">
        <p14:creationId xmlns:p14="http://schemas.microsoft.com/office/powerpoint/2010/main" val="106277490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1A2EB87-5731-4A04-99C7-9030D6FBC146}"/>
              </a:ext>
            </a:extLst>
          </p:cNvPr>
          <p:cNvGraphicFramePr>
            <a:graphicFrameLocks noChangeAspect="1"/>
          </p:cNvGraphicFramePr>
          <p:nvPr>
            <p:custDataLst>
              <p:tags r:id="rId2"/>
            </p:custDataLst>
            <p:extLst>
              <p:ext uri="{D42A27DB-BD31-4B8C-83A1-F6EECF244321}">
                <p14:modId xmlns:p14="http://schemas.microsoft.com/office/powerpoint/2010/main" val="649500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B2141D-A9FF-4B44-A544-43CD4CD229B8}"/>
              </a:ext>
            </a:extLst>
          </p:cNvPr>
          <p:cNvSpPr>
            <a:spLocks noGrp="1"/>
          </p:cNvSpPr>
          <p:nvPr>
            <p:ph type="title"/>
          </p:nvPr>
        </p:nvSpPr>
        <p:spPr/>
        <p:txBody>
          <a:bodyPr vert="horz"/>
          <a:lstStyle/>
          <a:p>
            <a:r>
              <a:rPr lang="fi-FI" dirty="0"/>
              <a:t>Arvioinnin tuloksia </a:t>
            </a:r>
            <a:r>
              <a:rPr lang="fi-FI" dirty="0" err="1"/>
              <a:t>IPP:n</a:t>
            </a:r>
            <a:r>
              <a:rPr lang="fi-FI" dirty="0"/>
              <a:t> toiminnasta</a:t>
            </a:r>
          </a:p>
        </p:txBody>
      </p:sp>
      <p:sp>
        <p:nvSpPr>
          <p:cNvPr id="3" name="Content Placeholder 2">
            <a:extLst>
              <a:ext uri="{FF2B5EF4-FFF2-40B4-BE49-F238E27FC236}">
                <a16:creationId xmlns:a16="http://schemas.microsoft.com/office/drawing/2014/main" id="{78068A81-B0E9-4C58-9A92-F7941F59E84B}"/>
              </a:ext>
            </a:extLst>
          </p:cNvPr>
          <p:cNvSpPr>
            <a:spLocks noGrp="1"/>
          </p:cNvSpPr>
          <p:nvPr>
            <p:ph sz="half" idx="1"/>
          </p:nvPr>
        </p:nvSpPr>
        <p:spPr>
          <a:xfrm>
            <a:off x="623887" y="1628775"/>
            <a:ext cx="6434001" cy="4392613"/>
          </a:xfrm>
        </p:spPr>
        <p:txBody>
          <a:bodyPr>
            <a:noAutofit/>
          </a:bodyPr>
          <a:lstStyle/>
          <a:p>
            <a:pPr>
              <a:spcBef>
                <a:spcPts val="0"/>
              </a:spcBef>
              <a:spcAft>
                <a:spcPts val="600"/>
              </a:spcAft>
            </a:pPr>
            <a:r>
              <a:rPr lang="fi-FI" sz="1600" spc="10" dirty="0">
                <a:effectLst/>
                <a:latin typeface="Arial" panose="020B0604020202020204" pitchFamily="34" charset="0"/>
                <a:ea typeface="SimSun" panose="02010600030101010101" pitchFamily="2" charset="-122"/>
                <a:cs typeface="Times New Roman" panose="02020603050405020304" pitchFamily="18" charset="0"/>
              </a:rPr>
              <a:t>Yleisesti </a:t>
            </a:r>
            <a:r>
              <a:rPr lang="fi-FI" sz="1600" spc="10" dirty="0" err="1">
                <a:effectLst/>
                <a:latin typeface="Arial" panose="020B0604020202020204" pitchFamily="34" charset="0"/>
                <a:ea typeface="SimSun" panose="02010600030101010101" pitchFamily="2" charset="-122"/>
                <a:cs typeface="Times New Roman" panose="02020603050405020304" pitchFamily="18" charset="0"/>
              </a:rPr>
              <a:t>IPP:n</a:t>
            </a:r>
            <a:r>
              <a:rPr lang="fi-FI" sz="1600" spc="10" dirty="0">
                <a:effectLst/>
                <a:latin typeface="Arial" panose="020B0604020202020204" pitchFamily="34" charset="0"/>
                <a:ea typeface="SimSun" panose="02010600030101010101" pitchFamily="2" charset="-122"/>
                <a:cs typeface="Times New Roman" panose="02020603050405020304" pitchFamily="18" charset="0"/>
              </a:rPr>
              <a:t> kokoustava toimintamalli on palvellut tarkoitustaan, ja se on koettu hyvänä. </a:t>
            </a:r>
            <a:endParaRPr lang="fi-FI" sz="1600" dirty="0">
              <a:ea typeface="+mn-lt"/>
              <a:cs typeface="+mn-lt"/>
            </a:endParaRPr>
          </a:p>
          <a:p>
            <a:pPr>
              <a:spcBef>
                <a:spcPts val="0"/>
              </a:spcBef>
              <a:spcAft>
                <a:spcPts val="600"/>
              </a:spcAft>
            </a:pPr>
            <a:r>
              <a:rPr lang="fi-FI" sz="1600" dirty="0">
                <a:latin typeface="Arial" panose="020B0604020202020204" pitchFamily="34" charset="0"/>
                <a:ea typeface="SimSun" panose="02010600030101010101" pitchFamily="2" charset="-122"/>
                <a:cs typeface="Times New Roman" panose="02020603050405020304" pitchFamily="18" charset="0"/>
              </a:rPr>
              <a:t>K</a:t>
            </a:r>
            <a:r>
              <a:rPr lang="fi-FI" sz="1600" spc="10" dirty="0">
                <a:effectLst/>
                <a:latin typeface="Arial" panose="020B0604020202020204" pitchFamily="34" charset="0"/>
                <a:ea typeface="SimSun" panose="02010600030101010101" pitchFamily="2" charset="-122"/>
                <a:cs typeface="Times New Roman" panose="02020603050405020304" pitchFamily="18" charset="0"/>
              </a:rPr>
              <a:t>eskustelevia kokouksia tarvitaan ja </a:t>
            </a:r>
            <a:r>
              <a:rPr lang="fi-FI" sz="1600" spc="10" dirty="0" err="1">
                <a:effectLst/>
                <a:latin typeface="Arial" panose="020B0604020202020204" pitchFamily="34" charset="0"/>
                <a:ea typeface="SimSun" panose="02010600030101010101" pitchFamily="2" charset="-122"/>
                <a:cs typeface="Times New Roman" panose="02020603050405020304" pitchFamily="18" charset="0"/>
              </a:rPr>
              <a:t>IPP:tä</a:t>
            </a:r>
            <a:r>
              <a:rPr lang="fi-FI" sz="1600" spc="10" dirty="0">
                <a:effectLst/>
                <a:latin typeface="Arial" panose="020B0604020202020204" pitchFamily="34" charset="0"/>
                <a:ea typeface="SimSun" panose="02010600030101010101" pitchFamily="2" charset="-122"/>
                <a:cs typeface="Times New Roman" panose="02020603050405020304" pitchFamily="18" charset="0"/>
              </a:rPr>
              <a:t> vastaavaa keskustelufoorumia ei ole ollut. </a:t>
            </a:r>
            <a:endParaRPr lang="fi-FI" sz="1600" spc="10" dirty="0">
              <a:effectLst/>
              <a:latin typeface="Arial" panose="020B0604020202020204" pitchFamily="34" charset="0"/>
              <a:ea typeface="+mn-lt"/>
              <a:cs typeface="+mn-lt"/>
            </a:endParaRPr>
          </a:p>
          <a:p>
            <a:pPr>
              <a:spcBef>
                <a:spcPts val="0"/>
              </a:spcBef>
              <a:spcAft>
                <a:spcPts val="600"/>
              </a:spcAft>
            </a:pPr>
            <a:r>
              <a:rPr lang="fi-FI" sz="1600" spc="10" dirty="0" err="1">
                <a:effectLst/>
                <a:latin typeface="Arial" panose="020B0604020202020204" pitchFamily="34" charset="0"/>
                <a:ea typeface="SimSun" panose="02010600030101010101" pitchFamily="2" charset="-122"/>
                <a:cs typeface="Times New Roman" panose="02020603050405020304" pitchFamily="18" charset="0"/>
              </a:rPr>
              <a:t>IPP:n</a:t>
            </a:r>
            <a:r>
              <a:rPr lang="fi-FI" sz="1600" spc="10" dirty="0">
                <a:effectLst/>
                <a:latin typeface="Arial" panose="020B0604020202020204" pitchFamily="34" charset="0"/>
                <a:ea typeface="SimSun" panose="02010600030101010101" pitchFamily="2" charset="-122"/>
                <a:cs typeface="Times New Roman" panose="02020603050405020304" pitchFamily="18" charset="0"/>
              </a:rPr>
              <a:t> kokouksissa on sen ensimmäisellä toimikaudella jäänyt vain vähän tilaa informaalille ajatustenvaihdolle.</a:t>
            </a:r>
          </a:p>
          <a:p>
            <a:pPr>
              <a:spcBef>
                <a:spcPts val="0"/>
              </a:spcBef>
              <a:spcAft>
                <a:spcPts val="600"/>
              </a:spcAft>
            </a:pPr>
            <a:r>
              <a:rPr lang="fi-FI" sz="1600" spc="10" dirty="0">
                <a:effectLst/>
                <a:latin typeface="Arial" panose="020B0604020202020204" pitchFamily="34" charset="0"/>
                <a:ea typeface="Arial" panose="020B0604020202020204" pitchFamily="34" charset="0"/>
              </a:rPr>
              <a:t>Korkean tason edustus ilmastopolitiikan pyöreän pöydän kokoonpanossa on tärkeää sille asetettujen tavoitteiden saavuttamiseksi</a:t>
            </a:r>
            <a:r>
              <a:rPr lang="fi-FI" sz="1600" dirty="0">
                <a:latin typeface="Arial" panose="020B0604020202020204" pitchFamily="34" charset="0"/>
                <a:ea typeface="SimSun" panose="02010600030101010101" pitchFamily="2" charset="-122"/>
                <a:cs typeface="Times New Roman" panose="02020603050405020304" pitchFamily="18" charset="0"/>
              </a:rPr>
              <a:t>.</a:t>
            </a:r>
          </a:p>
          <a:p>
            <a:pPr>
              <a:spcBef>
                <a:spcPts val="0"/>
              </a:spcBef>
              <a:spcAft>
                <a:spcPts val="600"/>
              </a:spcAft>
            </a:pPr>
            <a:r>
              <a:rPr lang="fi-FI" sz="1600" spc="10" dirty="0" err="1">
                <a:effectLst/>
                <a:latin typeface="Arial" panose="020B0604020202020204" pitchFamily="34" charset="0"/>
                <a:ea typeface="Arial" panose="020B0604020202020204" pitchFamily="34" charset="0"/>
              </a:rPr>
              <a:t>IPP:n</a:t>
            </a:r>
            <a:r>
              <a:rPr lang="fi-FI" sz="1600" spc="10" dirty="0">
                <a:effectLst/>
                <a:latin typeface="Arial" panose="020B0604020202020204" pitchFamily="34" charset="0"/>
                <a:ea typeface="Arial" panose="020B0604020202020204" pitchFamily="34" charset="0"/>
              </a:rPr>
              <a:t> kokoonpano tasapainottelee samaan aikaan laajan edustavuuden ja keskustelun mahdollistavan, rajatun jäsenmäärän välillä.</a:t>
            </a:r>
          </a:p>
          <a:p>
            <a:pPr>
              <a:spcBef>
                <a:spcPts val="0"/>
              </a:spcBef>
              <a:spcAft>
                <a:spcPts val="600"/>
              </a:spcAft>
            </a:pPr>
            <a:r>
              <a:rPr lang="fi-FI" sz="1600" spc="10" dirty="0">
                <a:effectLst/>
                <a:latin typeface="Arial" panose="020B0604020202020204" pitchFamily="34" charset="0"/>
                <a:ea typeface="Arial" panose="020B0604020202020204" pitchFamily="34" charset="0"/>
              </a:rPr>
              <a:t>Yleisesti muu </a:t>
            </a:r>
            <a:r>
              <a:rPr lang="fi-FI" sz="1600" spc="10" dirty="0" err="1">
                <a:effectLst/>
                <a:latin typeface="Arial" panose="020B0604020202020204" pitchFamily="34" charset="0"/>
                <a:ea typeface="Arial" panose="020B0604020202020204" pitchFamily="34" charset="0"/>
              </a:rPr>
              <a:t>IPP:n</a:t>
            </a:r>
            <a:r>
              <a:rPr lang="fi-FI" sz="1600" spc="10" dirty="0">
                <a:effectLst/>
                <a:latin typeface="Arial" panose="020B0604020202020204" pitchFamily="34" charset="0"/>
                <a:ea typeface="Arial" panose="020B0604020202020204" pitchFamily="34" charset="0"/>
              </a:rPr>
              <a:t> kokousten lisäksi käynnistetty toiminta nähtiin positiivisena tai neutraalina. Muun toiminnan valmistelu ja syöttö </a:t>
            </a:r>
            <a:r>
              <a:rPr lang="fi-FI" sz="1600" spc="10" dirty="0" err="1">
                <a:effectLst/>
                <a:latin typeface="Arial" panose="020B0604020202020204" pitchFamily="34" charset="0"/>
                <a:ea typeface="Arial" panose="020B0604020202020204" pitchFamily="34" charset="0"/>
              </a:rPr>
              <a:t>IPP:n</a:t>
            </a:r>
            <a:r>
              <a:rPr lang="fi-FI" sz="1600" spc="10" dirty="0">
                <a:effectLst/>
                <a:latin typeface="Arial" panose="020B0604020202020204" pitchFamily="34" charset="0"/>
                <a:ea typeface="Arial" panose="020B0604020202020204" pitchFamily="34" charset="0"/>
              </a:rPr>
              <a:t> kokouksiin </a:t>
            </a:r>
            <a:r>
              <a:rPr lang="fi-FI" sz="1600" dirty="0">
                <a:latin typeface="Arial" panose="020B0604020202020204" pitchFamily="34" charset="0"/>
                <a:ea typeface="Arial" panose="020B0604020202020204" pitchFamily="34" charset="0"/>
              </a:rPr>
              <a:t>on jäänyt </a:t>
            </a:r>
            <a:r>
              <a:rPr lang="fi-FI" sz="1600" spc="10" dirty="0">
                <a:effectLst/>
                <a:latin typeface="Arial" panose="020B0604020202020204" pitchFamily="34" charset="0"/>
                <a:ea typeface="Arial" panose="020B0604020202020204" pitchFamily="34" charset="0"/>
              </a:rPr>
              <a:t>vähäiseksi.</a:t>
            </a:r>
            <a:endParaRPr lang="fi-FI" sz="1600" dirty="0"/>
          </a:p>
        </p:txBody>
      </p:sp>
      <p:sp>
        <p:nvSpPr>
          <p:cNvPr id="6" name="Text Placeholder 5">
            <a:extLst>
              <a:ext uri="{FF2B5EF4-FFF2-40B4-BE49-F238E27FC236}">
                <a16:creationId xmlns:a16="http://schemas.microsoft.com/office/drawing/2014/main" id="{D7284644-3DC2-4D64-B939-668A3AA85DCC}"/>
              </a:ext>
            </a:extLst>
          </p:cNvPr>
          <p:cNvSpPr>
            <a:spLocks noGrp="1"/>
          </p:cNvSpPr>
          <p:nvPr>
            <p:ph type="body" sz="quarter" idx="15"/>
          </p:nvPr>
        </p:nvSpPr>
        <p:spPr/>
        <p:txBody>
          <a:bodyPr/>
          <a:lstStyle/>
          <a:p>
            <a:endParaRPr lang="fi-FI"/>
          </a:p>
        </p:txBody>
      </p:sp>
      <p:graphicFrame>
        <p:nvGraphicFramePr>
          <p:cNvPr id="13" name="Chart 12" descr="Pylväsdiagrammi IPP:n kokousten valmistelun ja toteutuksen onnistumisesta suhteessa tavoitteisiin asteikolla 1-5, jossa 1=erittäin heikosti ja 5=erittäin hyvin. Vastauksia 14 kpl. Eniten ääniä sai arvosana 4 (8 vastausta) ja toiseksi eniten arvosana 4 (4 vastausta). Arvosanat 2 ja 5 saivat molemmat yhden äänen.">
            <a:extLst>
              <a:ext uri="{FF2B5EF4-FFF2-40B4-BE49-F238E27FC236}">
                <a16:creationId xmlns:a16="http://schemas.microsoft.com/office/drawing/2014/main" id="{1253A84D-4090-4BD5-8B54-6336D72C60D1}"/>
              </a:ext>
            </a:extLst>
          </p:cNvPr>
          <p:cNvGraphicFramePr/>
          <p:nvPr>
            <p:extLst>
              <p:ext uri="{D42A27DB-BD31-4B8C-83A1-F6EECF244321}">
                <p14:modId xmlns:p14="http://schemas.microsoft.com/office/powerpoint/2010/main" val="2655296706"/>
              </p:ext>
            </p:extLst>
          </p:nvPr>
        </p:nvGraphicFramePr>
        <p:xfrm>
          <a:off x="7059873" y="2204864"/>
          <a:ext cx="4698479" cy="2664296"/>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9">
            <a:extLst>
              <a:ext uri="{FF2B5EF4-FFF2-40B4-BE49-F238E27FC236}">
                <a16:creationId xmlns:a16="http://schemas.microsoft.com/office/drawing/2014/main" id="{5D7CA414-55F0-421D-94AE-6FABFD864B80}"/>
              </a:ext>
            </a:extLst>
          </p:cNvPr>
          <p:cNvSpPr txBox="1"/>
          <p:nvPr/>
        </p:nvSpPr>
        <p:spPr>
          <a:xfrm>
            <a:off x="7275773" y="4838401"/>
            <a:ext cx="4698479" cy="400110"/>
          </a:xfrm>
          <a:prstGeom prst="rect">
            <a:avLst/>
          </a:prstGeom>
          <a:noFill/>
        </p:spPr>
        <p:txBody>
          <a:bodyPr wrap="square" rtlCol="0">
            <a:spAutoFit/>
          </a:bodyPr>
          <a:lstStyle/>
          <a:p>
            <a:r>
              <a:rPr lang="fi-FI" sz="1000" dirty="0">
                <a:solidFill>
                  <a:srgbClr val="404040"/>
                </a:solidFill>
              </a:rPr>
              <a:t>Kuva: Kuinka hyvin </a:t>
            </a:r>
            <a:r>
              <a:rPr lang="fi-FI" sz="1000" dirty="0" err="1">
                <a:solidFill>
                  <a:srgbClr val="404040"/>
                </a:solidFill>
              </a:rPr>
              <a:t>IPP:n</a:t>
            </a:r>
            <a:r>
              <a:rPr lang="fi-FI" sz="1000" dirty="0">
                <a:solidFill>
                  <a:srgbClr val="404040"/>
                </a:solidFill>
              </a:rPr>
              <a:t> kokousten valmistelu ja toteutus onnistui suhteessa sen tarkoitukseen ja </a:t>
            </a:r>
            <a:r>
              <a:rPr lang="fi-FI" sz="1000" dirty="0" err="1">
                <a:solidFill>
                  <a:srgbClr val="404040"/>
                </a:solidFill>
              </a:rPr>
              <a:t>avoiteeseen</a:t>
            </a:r>
            <a:r>
              <a:rPr lang="fi-FI" sz="1000" dirty="0">
                <a:solidFill>
                  <a:srgbClr val="404040"/>
                </a:solidFill>
              </a:rPr>
              <a:t>?</a:t>
            </a:r>
          </a:p>
        </p:txBody>
      </p:sp>
    </p:spTree>
    <p:extLst>
      <p:ext uri="{BB962C8B-B14F-4D97-AF65-F5344CB8AC3E}">
        <p14:creationId xmlns:p14="http://schemas.microsoft.com/office/powerpoint/2010/main" val="286672957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A9CC6E0-37D4-4458-B5D0-43FD3EA757FF}"/>
              </a:ext>
            </a:extLst>
          </p:cNvPr>
          <p:cNvGraphicFramePr>
            <a:graphicFrameLocks noChangeAspect="1"/>
          </p:cNvGraphicFramePr>
          <p:nvPr>
            <p:custDataLst>
              <p:tags r:id="rId2"/>
            </p:custDataLst>
            <p:extLst>
              <p:ext uri="{D42A27DB-BD31-4B8C-83A1-F6EECF244321}">
                <p14:modId xmlns:p14="http://schemas.microsoft.com/office/powerpoint/2010/main" val="3425477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5"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06634B-51EC-43C8-B473-C2226D07E1E2}"/>
              </a:ext>
            </a:extLst>
          </p:cNvPr>
          <p:cNvSpPr>
            <a:spLocks noGrp="1"/>
          </p:cNvSpPr>
          <p:nvPr>
            <p:ph type="title"/>
          </p:nvPr>
        </p:nvSpPr>
        <p:spPr>
          <a:xfrm>
            <a:off x="636724" y="764804"/>
            <a:ext cx="9001125" cy="792063"/>
          </a:xfrm>
        </p:spPr>
        <p:txBody>
          <a:bodyPr vert="horz"/>
          <a:lstStyle/>
          <a:p>
            <a:r>
              <a:rPr lang="fi-FI" dirty="0"/>
              <a:t>Arvioinnin tuloksia </a:t>
            </a:r>
            <a:r>
              <a:rPr lang="fi-FI" dirty="0" err="1"/>
              <a:t>IPP:n</a:t>
            </a:r>
            <a:r>
              <a:rPr lang="fi-FI" dirty="0"/>
              <a:t> vaikutuksista</a:t>
            </a:r>
          </a:p>
        </p:txBody>
      </p:sp>
      <p:sp>
        <p:nvSpPr>
          <p:cNvPr id="3" name="Content Placeholder 2">
            <a:extLst>
              <a:ext uri="{FF2B5EF4-FFF2-40B4-BE49-F238E27FC236}">
                <a16:creationId xmlns:a16="http://schemas.microsoft.com/office/drawing/2014/main" id="{8736AAC0-824F-48DF-A1FF-D67D4B0829F1}"/>
              </a:ext>
            </a:extLst>
          </p:cNvPr>
          <p:cNvSpPr>
            <a:spLocks noGrp="1"/>
          </p:cNvSpPr>
          <p:nvPr>
            <p:ph sz="half" idx="1"/>
          </p:nvPr>
        </p:nvSpPr>
        <p:spPr>
          <a:xfrm>
            <a:off x="623888" y="1628775"/>
            <a:ext cx="6336208" cy="4752553"/>
          </a:xfrm>
        </p:spPr>
        <p:txBody>
          <a:bodyPr>
            <a:normAutofit lnSpcReduction="10000"/>
          </a:bodyPr>
          <a:lstStyle/>
          <a:p>
            <a:r>
              <a:rPr lang="fi-FI" sz="1600" dirty="0" err="1">
                <a:latin typeface="Arial" panose="020B0604020202020204" pitchFamily="34" charset="0"/>
                <a:ea typeface="SimSun" panose="02010600030101010101" pitchFamily="2" charset="-122"/>
                <a:cs typeface="Times New Roman" panose="02020603050405020304" pitchFamily="18" charset="0"/>
              </a:rPr>
              <a:t>IPP:n</a:t>
            </a:r>
            <a:r>
              <a:rPr lang="fi-FI" sz="1600" dirty="0">
                <a:latin typeface="Arial" panose="020B0604020202020204" pitchFamily="34" charset="0"/>
                <a:ea typeface="SimSun" panose="02010600030101010101" pitchFamily="2" charset="-122"/>
                <a:cs typeface="Times New Roman" panose="02020603050405020304" pitchFamily="18" charset="0"/>
              </a:rPr>
              <a:t> vaikuttavuus syntyy sen kyvystä tuoda yhteen yhteiskunnan eri osien edustajat ja edistää näiden tahojen dialogia ja tiedonvaihtoa. </a:t>
            </a:r>
          </a:p>
          <a:p>
            <a:r>
              <a:rPr lang="fi-FI" sz="1600" spc="10" dirty="0" err="1">
                <a:effectLst/>
                <a:latin typeface="Arial" panose="020B0604020202020204" pitchFamily="34" charset="0"/>
                <a:ea typeface="SimSun" panose="02010600030101010101" pitchFamily="2" charset="-122"/>
                <a:cs typeface="Times New Roman" panose="02020603050405020304" pitchFamily="18" charset="0"/>
              </a:rPr>
              <a:t>IPP:n</a:t>
            </a:r>
            <a:r>
              <a:rPr lang="fi-FI" sz="1600" spc="10" dirty="0">
                <a:effectLst/>
                <a:latin typeface="Arial" panose="020B0604020202020204" pitchFamily="34" charset="0"/>
                <a:ea typeface="SimSun" panose="02010600030101010101" pitchFamily="2" charset="-122"/>
                <a:cs typeface="Times New Roman" panose="02020603050405020304" pitchFamily="18" charset="0"/>
              </a:rPr>
              <a:t> käsittelemät aiheet nähtiin yleisesti hyvinä ja informatiivisina, mutta  joukkoon kaivattiin lisää uusia ajatuksia herättäviä aiheita ja agendajatkumoita.</a:t>
            </a:r>
          </a:p>
          <a:p>
            <a:r>
              <a:rPr lang="fi-FI" sz="1600" dirty="0">
                <a:latin typeface="Arial" panose="020B0604020202020204" pitchFamily="34" charset="0"/>
                <a:ea typeface="SimSun" panose="02010600030101010101" pitchFamily="2" charset="-122"/>
                <a:cs typeface="Times New Roman" panose="02020603050405020304" pitchFamily="18" charset="0"/>
              </a:rPr>
              <a:t>Aiheiden valinnassa nähtiin t</a:t>
            </a:r>
            <a:r>
              <a:rPr lang="fi-FI" sz="1600" spc="10" dirty="0">
                <a:effectLst/>
                <a:latin typeface="Arial" panose="020B0604020202020204" pitchFamily="34" charset="0"/>
                <a:ea typeface="SimSun" panose="02010600030101010101" pitchFamily="2" charset="-122"/>
                <a:cs typeface="Times New Roman" panose="02020603050405020304" pitchFamily="18" charset="0"/>
              </a:rPr>
              <a:t>arve vahvemmalle ennakoivalle otteelle, jotta IPP voisi toimia paremmin osana ilmastopolitiikan valmistelua</a:t>
            </a:r>
            <a:r>
              <a:rPr lang="fi-FI" sz="1600" dirty="0">
                <a:latin typeface="Arial" panose="020B0604020202020204" pitchFamily="34" charset="0"/>
                <a:ea typeface="SimSun" panose="02010600030101010101" pitchFamily="2" charset="-122"/>
                <a:cs typeface="Times New Roman" panose="02020603050405020304" pitchFamily="18" charset="0"/>
              </a:rPr>
              <a:t>.</a:t>
            </a:r>
          </a:p>
          <a:p>
            <a:r>
              <a:rPr lang="fi-FI" sz="1600" dirty="0">
                <a:latin typeface="Arial" panose="020B0604020202020204" pitchFamily="34" charset="0"/>
                <a:ea typeface="SimSun" panose="02010600030101010101" pitchFamily="2" charset="-122"/>
                <a:cs typeface="Times New Roman" panose="02020603050405020304" pitchFamily="18" charset="0"/>
              </a:rPr>
              <a:t>K</a:t>
            </a:r>
            <a:r>
              <a:rPr lang="fi-FI" sz="1600" spc="10" dirty="0">
                <a:effectLst/>
                <a:latin typeface="Arial" panose="020B0604020202020204" pitchFamily="34" charset="0"/>
                <a:ea typeface="SimSun" panose="02010600030101010101" pitchFamily="2" charset="-122"/>
                <a:cs typeface="Times New Roman" panose="02020603050405020304" pitchFamily="18" charset="0"/>
              </a:rPr>
              <a:t>okouksiin toivottiin liitettävän konkreettisia toimenpiteitä ja toimenpiteiden toteutuksen seurantaa jäsenten vastuulle.</a:t>
            </a:r>
          </a:p>
          <a:p>
            <a:r>
              <a:rPr lang="fi-FI" sz="1600" spc="10" dirty="0" err="1">
                <a:effectLst/>
                <a:latin typeface="Arial" panose="020B0604020202020204" pitchFamily="34" charset="0"/>
                <a:ea typeface="SimSun" panose="02010600030101010101" pitchFamily="2" charset="-122"/>
                <a:cs typeface="Times New Roman" panose="02020603050405020304" pitchFamily="18" charset="0"/>
              </a:rPr>
              <a:t>IPP:n</a:t>
            </a:r>
            <a:r>
              <a:rPr lang="fi-FI" sz="1600" spc="10" dirty="0">
                <a:effectLst/>
                <a:latin typeface="Arial" panose="020B0604020202020204" pitchFamily="34" charset="0"/>
                <a:ea typeface="SimSun" panose="02010600030101010101" pitchFamily="2" charset="-122"/>
                <a:cs typeface="Times New Roman" panose="02020603050405020304" pitchFamily="18" charset="0"/>
              </a:rPr>
              <a:t> ensimmäisen kauden tulosten hyödyntämisestä ilmastopolitiikan valmistelussa on haastavaa tuottaa selkeää arviota. </a:t>
            </a:r>
          </a:p>
          <a:p>
            <a:r>
              <a:rPr lang="fi-FI" sz="1600" spc="10" dirty="0">
                <a:effectLst/>
                <a:latin typeface="Arial" panose="020B0604020202020204" pitchFamily="34" charset="0"/>
                <a:ea typeface="SimSun" panose="02010600030101010101" pitchFamily="2" charset="-122"/>
                <a:cs typeface="Times New Roman" panose="02020603050405020304" pitchFamily="18" charset="0"/>
              </a:rPr>
              <a:t>Arvioinnissa ei noussut esiin erityisiä havaintoja siitä, että </a:t>
            </a:r>
            <a:r>
              <a:rPr lang="fi-FI" sz="1600" spc="10" dirty="0" err="1">
                <a:effectLst/>
                <a:latin typeface="Arial" panose="020B0604020202020204" pitchFamily="34" charset="0"/>
                <a:ea typeface="SimSun" panose="02010600030101010101" pitchFamily="2" charset="-122"/>
                <a:cs typeface="Times New Roman" panose="02020603050405020304" pitchFamily="18" charset="0"/>
              </a:rPr>
              <a:t>IPP:n</a:t>
            </a:r>
            <a:r>
              <a:rPr lang="fi-FI" sz="1600" spc="10" dirty="0">
                <a:effectLst/>
                <a:latin typeface="Arial" panose="020B0604020202020204" pitchFamily="34" charset="0"/>
                <a:ea typeface="SimSun" panose="02010600030101010101" pitchFamily="2" charset="-122"/>
                <a:cs typeface="Times New Roman" panose="02020603050405020304" pitchFamily="18" charset="0"/>
              </a:rPr>
              <a:t> toiminta olisi merkittävästi lisännyt yleistä ilmastopolitiikan hyväksyttävyyttä.</a:t>
            </a:r>
            <a:endParaRPr lang="fi-FI" sz="1000" dirty="0"/>
          </a:p>
        </p:txBody>
      </p:sp>
      <p:sp>
        <p:nvSpPr>
          <p:cNvPr id="6" name="Text Placeholder 5">
            <a:extLst>
              <a:ext uri="{FF2B5EF4-FFF2-40B4-BE49-F238E27FC236}">
                <a16:creationId xmlns:a16="http://schemas.microsoft.com/office/drawing/2014/main" id="{8493A7B5-D16D-4D1D-A0BA-C36D1EB2E7FE}"/>
              </a:ext>
            </a:extLst>
          </p:cNvPr>
          <p:cNvSpPr>
            <a:spLocks noGrp="1"/>
          </p:cNvSpPr>
          <p:nvPr>
            <p:ph type="body" sz="quarter" idx="15"/>
          </p:nvPr>
        </p:nvSpPr>
        <p:spPr/>
        <p:txBody>
          <a:bodyPr/>
          <a:lstStyle/>
          <a:p>
            <a:endParaRPr lang="fi-FI"/>
          </a:p>
        </p:txBody>
      </p:sp>
      <p:graphicFrame>
        <p:nvGraphicFramePr>
          <p:cNvPr id="8" name="Chart 7" descr="Pylväsdiagrammi: Kuinka hyvin IPP on mielestäsi saavuttanut tarkoituksensa ja tavoitteensa? Asteikolla 1-5, jossa 1= ei lainkaan ja 5 = erittäin hyvin. Vaihtoehto 3 sai eniten vastauksia (8kpl) ja vaihtoehdot 2 ja 4 molemmat kolme vastausta">
            <a:extLst>
              <a:ext uri="{FF2B5EF4-FFF2-40B4-BE49-F238E27FC236}">
                <a16:creationId xmlns:a16="http://schemas.microsoft.com/office/drawing/2014/main" id="{59A2A50A-7613-487E-8CD7-F3C72FD42A63}"/>
              </a:ext>
            </a:extLst>
          </p:cNvPr>
          <p:cNvGraphicFramePr/>
          <p:nvPr>
            <p:extLst>
              <p:ext uri="{D42A27DB-BD31-4B8C-83A1-F6EECF244321}">
                <p14:modId xmlns:p14="http://schemas.microsoft.com/office/powerpoint/2010/main" val="1224357575"/>
              </p:ext>
            </p:extLst>
          </p:nvPr>
        </p:nvGraphicFramePr>
        <p:xfrm>
          <a:off x="7464152" y="3442564"/>
          <a:ext cx="4103960" cy="2650632"/>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Box 18">
            <a:extLst>
              <a:ext uri="{FF2B5EF4-FFF2-40B4-BE49-F238E27FC236}">
                <a16:creationId xmlns:a16="http://schemas.microsoft.com/office/drawing/2014/main" id="{274A7AD6-A3D2-4B54-8A82-1640D8ACF4BF}"/>
              </a:ext>
            </a:extLst>
          </p:cNvPr>
          <p:cNvSpPr txBox="1"/>
          <p:nvPr/>
        </p:nvSpPr>
        <p:spPr>
          <a:xfrm>
            <a:off x="7140116" y="1369154"/>
            <a:ext cx="4464496" cy="1878271"/>
          </a:xfrm>
          <a:prstGeom prst="rect">
            <a:avLst/>
          </a:prstGeom>
          <a:solidFill>
            <a:schemeClr val="bg1">
              <a:lumMod val="95000"/>
            </a:schemeClr>
          </a:solidFill>
        </p:spPr>
        <p:txBody>
          <a:bodyPr wrap="square">
            <a:spAutoFit/>
          </a:bodyPr>
          <a:lstStyle/>
          <a:p>
            <a:pPr>
              <a:lnSpc>
                <a:spcPct val="120000"/>
              </a:lnSpc>
              <a:spcBef>
                <a:spcPts val="600"/>
              </a:spcBef>
              <a:spcAft>
                <a:spcPts val="600"/>
              </a:spcAft>
            </a:pPr>
            <a:r>
              <a:rPr lang="fi-FI" sz="1400" i="1" kern="1200" spc="0" dirty="0" err="1">
                <a:solidFill>
                  <a:srgbClr val="000000"/>
                </a:solidFill>
                <a:effectLst/>
                <a:latin typeface="Arial" panose="020B0604020202020204" pitchFamily="34" charset="0"/>
                <a:ea typeface="+mn-ea"/>
                <a:cs typeface="Arial" panose="020B0604020202020204" pitchFamily="34" charset="0"/>
              </a:rPr>
              <a:t>IPP:n</a:t>
            </a:r>
            <a:r>
              <a:rPr lang="fi-FI" sz="1400" i="1" kern="1200" spc="0" dirty="0">
                <a:solidFill>
                  <a:srgbClr val="000000"/>
                </a:solidFill>
                <a:effectLst/>
                <a:latin typeface="Arial" panose="020B0604020202020204" pitchFamily="34" charset="0"/>
                <a:ea typeface="+mn-ea"/>
                <a:cs typeface="Arial" panose="020B0604020202020204" pitchFamily="34" charset="0"/>
              </a:rPr>
              <a:t> tarkoituksena on luoda yhteistä ymmärrystä ja näkymää siitä, miten Suomessa voidaan siirtyä hiilineutraaliin yhteiskuntaan oikeudenmukaisesti nopeutetulla aikataululla vuoteen 2035 mennessä</a:t>
            </a:r>
            <a:r>
              <a:rPr lang="fi-FI" sz="1400" i="1" spc="10" dirty="0">
                <a:latin typeface="Arial" panose="020B0604020202020204" pitchFamily="34" charset="0"/>
                <a:ea typeface="SimSun" panose="02010600030101010101" pitchFamily="2" charset="-122"/>
                <a:cs typeface="Times New Roman" panose="02020603050405020304" pitchFamily="18" charset="0"/>
              </a:rPr>
              <a:t>. </a:t>
            </a:r>
            <a:r>
              <a:rPr lang="fi-FI" sz="1400" i="1" kern="1200" spc="0" dirty="0" err="1">
                <a:solidFill>
                  <a:srgbClr val="000000"/>
                </a:solidFill>
                <a:effectLst/>
                <a:latin typeface="Arial" panose="020B0604020202020204" pitchFamily="34" charset="0"/>
                <a:ea typeface="+mn-ea"/>
                <a:cs typeface="Arial" panose="020B0604020202020204" pitchFamily="34" charset="0"/>
              </a:rPr>
              <a:t>IPP:n</a:t>
            </a:r>
            <a:r>
              <a:rPr lang="fi-FI" sz="1400" i="1" kern="1200" spc="0" dirty="0">
                <a:solidFill>
                  <a:srgbClr val="000000"/>
                </a:solidFill>
                <a:effectLst/>
                <a:latin typeface="Arial" panose="020B0604020202020204" pitchFamily="34" charset="0"/>
                <a:ea typeface="+mn-ea"/>
                <a:cs typeface="Arial" panose="020B0604020202020204" pitchFamily="34" charset="0"/>
              </a:rPr>
              <a:t> tavoitteena on 1) lisätä ilmastopolitiikan hyväksyttävyyttä ja 2) tarjota sidosryhmille kanava osallistua ilmastotoimien kansalliseen valmisteluun. </a:t>
            </a:r>
            <a:endParaRPr lang="fi-FI" sz="1400" i="1" spc="10" dirty="0">
              <a:effectLst/>
              <a:latin typeface="Arial" panose="020B060402020202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56550659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8661757-8394-4BF3-A666-808D8D76F64C}"/>
              </a:ext>
            </a:extLst>
          </p:cNvPr>
          <p:cNvGraphicFramePr>
            <a:graphicFrameLocks noChangeAspect="1"/>
          </p:cNvGraphicFramePr>
          <p:nvPr>
            <p:custDataLst>
              <p:tags r:id="rId2"/>
            </p:custDataLst>
            <p:extLst>
              <p:ext uri="{D42A27DB-BD31-4B8C-83A1-F6EECF244321}">
                <p14:modId xmlns:p14="http://schemas.microsoft.com/office/powerpoint/2010/main" val="1103237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9"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9432FBB3-314A-4349-8229-2EF19D21E635}"/>
              </a:ext>
            </a:extLst>
          </p:cNvPr>
          <p:cNvSpPr>
            <a:spLocks noGrp="1"/>
          </p:cNvSpPr>
          <p:nvPr>
            <p:ph type="body" sz="quarter" idx="15"/>
          </p:nvPr>
        </p:nvSpPr>
        <p:spPr/>
        <p:txBody>
          <a:bodyPr/>
          <a:lstStyle/>
          <a:p>
            <a:endParaRPr lang="fi-FI"/>
          </a:p>
        </p:txBody>
      </p:sp>
      <p:sp>
        <p:nvSpPr>
          <p:cNvPr id="10" name="Text Placeholder 9">
            <a:extLst>
              <a:ext uri="{FF2B5EF4-FFF2-40B4-BE49-F238E27FC236}">
                <a16:creationId xmlns:a16="http://schemas.microsoft.com/office/drawing/2014/main" id="{2F25759F-D92C-4A57-B04C-83D187CCA5C1}"/>
              </a:ext>
            </a:extLst>
          </p:cNvPr>
          <p:cNvSpPr>
            <a:spLocks noGrp="1"/>
          </p:cNvSpPr>
          <p:nvPr>
            <p:ph type="body" sz="quarter" idx="31"/>
          </p:nvPr>
        </p:nvSpPr>
        <p:spPr>
          <a:xfrm>
            <a:off x="1943256" y="2192602"/>
            <a:ext cx="2426690" cy="2088257"/>
          </a:xfrm>
        </p:spPr>
        <p:txBody>
          <a:bodyPr/>
          <a:lstStyle/>
          <a:p>
            <a:r>
              <a:rPr lang="fi-FI" dirty="0" err="1"/>
              <a:t>IPP:n</a:t>
            </a:r>
            <a:r>
              <a:rPr lang="fi-FI" dirty="0"/>
              <a:t> jäsenten lukumäärä ja edustavuus</a:t>
            </a:r>
          </a:p>
        </p:txBody>
      </p:sp>
      <p:sp>
        <p:nvSpPr>
          <p:cNvPr id="7" name="Title 6">
            <a:extLst>
              <a:ext uri="{FF2B5EF4-FFF2-40B4-BE49-F238E27FC236}">
                <a16:creationId xmlns:a16="http://schemas.microsoft.com/office/drawing/2014/main" id="{ACAD627B-CD11-4532-856C-D3178D72585C}"/>
              </a:ext>
            </a:extLst>
          </p:cNvPr>
          <p:cNvSpPr>
            <a:spLocks noGrp="1"/>
          </p:cNvSpPr>
          <p:nvPr>
            <p:ph type="title"/>
          </p:nvPr>
        </p:nvSpPr>
        <p:spPr/>
        <p:txBody>
          <a:bodyPr vert="horz"/>
          <a:lstStyle/>
          <a:p>
            <a:r>
              <a:rPr lang="fi-FI" dirty="0" err="1"/>
              <a:t>IPP:n</a:t>
            </a:r>
            <a:r>
              <a:rPr lang="fi-FI" dirty="0"/>
              <a:t> toiminnan jatkon suunnitteluparametrit</a:t>
            </a:r>
          </a:p>
        </p:txBody>
      </p:sp>
      <p:sp>
        <p:nvSpPr>
          <p:cNvPr id="12" name="Text Placeholder 11">
            <a:extLst>
              <a:ext uri="{FF2B5EF4-FFF2-40B4-BE49-F238E27FC236}">
                <a16:creationId xmlns:a16="http://schemas.microsoft.com/office/drawing/2014/main" id="{E57B373D-78BC-4220-9AA5-E44F484F0A6E}"/>
              </a:ext>
            </a:extLst>
          </p:cNvPr>
          <p:cNvSpPr>
            <a:spLocks noGrp="1"/>
          </p:cNvSpPr>
          <p:nvPr>
            <p:ph type="body" sz="quarter" idx="33"/>
          </p:nvPr>
        </p:nvSpPr>
        <p:spPr>
          <a:xfrm>
            <a:off x="5688027" y="2192602"/>
            <a:ext cx="2290003" cy="2088256"/>
          </a:xfrm>
        </p:spPr>
        <p:txBody>
          <a:bodyPr/>
          <a:lstStyle/>
          <a:p>
            <a:r>
              <a:rPr lang="fi-FI" dirty="0"/>
              <a:t>Asiantuntijatyön ja korkeimman johdon työskentelyn tasapaino</a:t>
            </a:r>
          </a:p>
        </p:txBody>
      </p:sp>
      <p:sp>
        <p:nvSpPr>
          <p:cNvPr id="14" name="Text Placeholder 13">
            <a:extLst>
              <a:ext uri="{FF2B5EF4-FFF2-40B4-BE49-F238E27FC236}">
                <a16:creationId xmlns:a16="http://schemas.microsoft.com/office/drawing/2014/main" id="{D9A0A8BF-5DE4-43A3-A1D3-1FC593A4D338}"/>
              </a:ext>
            </a:extLst>
          </p:cNvPr>
          <p:cNvSpPr>
            <a:spLocks noGrp="1"/>
          </p:cNvSpPr>
          <p:nvPr>
            <p:ph type="body" sz="quarter" idx="35"/>
          </p:nvPr>
        </p:nvSpPr>
        <p:spPr>
          <a:xfrm>
            <a:off x="9706868" y="2348880"/>
            <a:ext cx="2305309" cy="2088256"/>
          </a:xfrm>
        </p:spPr>
        <p:txBody>
          <a:bodyPr/>
          <a:lstStyle/>
          <a:p>
            <a:r>
              <a:rPr lang="fi-FI" dirty="0"/>
              <a:t>Kokousrytmi</a:t>
            </a:r>
          </a:p>
        </p:txBody>
      </p:sp>
      <p:sp>
        <p:nvSpPr>
          <p:cNvPr id="9" name="Text Placeholder 8">
            <a:extLst>
              <a:ext uri="{FF2B5EF4-FFF2-40B4-BE49-F238E27FC236}">
                <a16:creationId xmlns:a16="http://schemas.microsoft.com/office/drawing/2014/main" id="{74033979-246D-414E-812E-812BD47308EE}"/>
              </a:ext>
            </a:extLst>
          </p:cNvPr>
          <p:cNvSpPr>
            <a:spLocks noGrp="1"/>
          </p:cNvSpPr>
          <p:nvPr>
            <p:ph type="body" sz="quarter" idx="27"/>
          </p:nvPr>
        </p:nvSpPr>
        <p:spPr/>
        <p:txBody>
          <a:bodyPr/>
          <a:lstStyle/>
          <a:p>
            <a:endParaRPr lang="fi-FI"/>
          </a:p>
        </p:txBody>
      </p:sp>
      <p:sp>
        <p:nvSpPr>
          <p:cNvPr id="16" name="Text Placeholder 15">
            <a:extLst>
              <a:ext uri="{FF2B5EF4-FFF2-40B4-BE49-F238E27FC236}">
                <a16:creationId xmlns:a16="http://schemas.microsoft.com/office/drawing/2014/main" id="{D2176385-B374-4450-AAEE-DDD9DF3F3FC2}"/>
              </a:ext>
            </a:extLst>
          </p:cNvPr>
          <p:cNvSpPr>
            <a:spLocks noGrp="1"/>
          </p:cNvSpPr>
          <p:nvPr>
            <p:ph type="body" sz="quarter" idx="37"/>
          </p:nvPr>
        </p:nvSpPr>
        <p:spPr>
          <a:xfrm>
            <a:off x="3761288" y="3908797"/>
            <a:ext cx="2304355" cy="2088257"/>
          </a:xfrm>
        </p:spPr>
        <p:txBody>
          <a:bodyPr/>
          <a:lstStyle/>
          <a:p>
            <a:r>
              <a:rPr lang="fi-FI" dirty="0"/>
              <a:t>Muun toiminnan organisointi ja resursointi</a:t>
            </a:r>
          </a:p>
        </p:txBody>
      </p:sp>
      <p:sp>
        <p:nvSpPr>
          <p:cNvPr id="18" name="Text Placeholder 17">
            <a:extLst>
              <a:ext uri="{FF2B5EF4-FFF2-40B4-BE49-F238E27FC236}">
                <a16:creationId xmlns:a16="http://schemas.microsoft.com/office/drawing/2014/main" id="{2C4EEF77-A884-40EC-A7F2-CA7873456DC6}"/>
              </a:ext>
            </a:extLst>
          </p:cNvPr>
          <p:cNvSpPr>
            <a:spLocks noGrp="1"/>
          </p:cNvSpPr>
          <p:nvPr>
            <p:ph type="body" sz="quarter" idx="39"/>
          </p:nvPr>
        </p:nvSpPr>
        <p:spPr>
          <a:xfrm>
            <a:off x="7475347" y="3746243"/>
            <a:ext cx="2290003" cy="2088256"/>
          </a:xfrm>
        </p:spPr>
        <p:txBody>
          <a:bodyPr/>
          <a:lstStyle/>
          <a:p>
            <a:r>
              <a:rPr lang="fi-FI" dirty="0"/>
              <a:t>Puheenjohtajuus</a:t>
            </a:r>
          </a:p>
        </p:txBody>
      </p:sp>
      <p:pic>
        <p:nvPicPr>
          <p:cNvPr id="36" name="Graphic 35" descr="Group of people with solid fill">
            <a:extLst>
              <a:ext uri="{FF2B5EF4-FFF2-40B4-BE49-F238E27FC236}">
                <a16:creationId xmlns:a16="http://schemas.microsoft.com/office/drawing/2014/main" id="{86E651BB-50D2-49A5-BE65-F4456E4889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88425" y="1916832"/>
            <a:ext cx="1145940" cy="1145940"/>
          </a:xfrm>
          <a:prstGeom prst="rect">
            <a:avLst/>
          </a:prstGeom>
        </p:spPr>
      </p:pic>
      <p:pic>
        <p:nvPicPr>
          <p:cNvPr id="38" name="Graphic 37" descr="Daily calendar with solid fill">
            <a:extLst>
              <a:ext uri="{FF2B5EF4-FFF2-40B4-BE49-F238E27FC236}">
                <a16:creationId xmlns:a16="http://schemas.microsoft.com/office/drawing/2014/main" id="{D7C39EB8-24BB-4686-BA07-CAFCB26F6CA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69479" y="1987724"/>
            <a:ext cx="1145940" cy="1145940"/>
          </a:xfrm>
          <a:prstGeom prst="rect">
            <a:avLst/>
          </a:prstGeom>
        </p:spPr>
      </p:pic>
      <p:pic>
        <p:nvPicPr>
          <p:cNvPr id="40" name="Graphic 39" descr="Meeting with solid fill">
            <a:extLst>
              <a:ext uri="{FF2B5EF4-FFF2-40B4-BE49-F238E27FC236}">
                <a16:creationId xmlns:a16="http://schemas.microsoft.com/office/drawing/2014/main" id="{5C4C7CC2-BEDB-4688-BE56-AFAE2B8900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5440" y="2043543"/>
            <a:ext cx="1145940" cy="1145940"/>
          </a:xfrm>
          <a:prstGeom prst="rect">
            <a:avLst/>
          </a:prstGeom>
        </p:spPr>
      </p:pic>
      <p:pic>
        <p:nvPicPr>
          <p:cNvPr id="46" name="Graphic 45" descr="Gantt Chart with solid fill">
            <a:extLst>
              <a:ext uri="{FF2B5EF4-FFF2-40B4-BE49-F238E27FC236}">
                <a16:creationId xmlns:a16="http://schemas.microsoft.com/office/drawing/2014/main" id="{80FEC73F-9786-46A9-8395-E539C59D94B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446455" y="3690037"/>
            <a:ext cx="1145940" cy="1145940"/>
          </a:xfrm>
          <a:prstGeom prst="rect">
            <a:avLst/>
          </a:prstGeom>
        </p:spPr>
      </p:pic>
      <p:pic>
        <p:nvPicPr>
          <p:cNvPr id="48" name="Graphic 47" descr="Gavel with solid fill">
            <a:extLst>
              <a:ext uri="{FF2B5EF4-FFF2-40B4-BE49-F238E27FC236}">
                <a16:creationId xmlns:a16="http://schemas.microsoft.com/office/drawing/2014/main" id="{45520EB6-2253-4114-832B-35A78AEBF69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126359" y="3544388"/>
            <a:ext cx="1145940" cy="1145940"/>
          </a:xfrm>
          <a:prstGeom prst="rect">
            <a:avLst/>
          </a:prstGeom>
        </p:spPr>
      </p:pic>
    </p:spTree>
    <p:extLst>
      <p:ext uri="{BB962C8B-B14F-4D97-AF65-F5344CB8AC3E}">
        <p14:creationId xmlns:p14="http://schemas.microsoft.com/office/powerpoint/2010/main" val="67234455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E3A80C-3C71-41E2-A4CB-F5E01DE20EA6}"/>
              </a:ext>
            </a:extLst>
          </p:cNvPr>
          <p:cNvGraphicFramePr>
            <a:graphicFrameLocks noChangeAspect="1"/>
          </p:cNvGraphicFramePr>
          <p:nvPr>
            <p:custDataLst>
              <p:tags r:id="rId2"/>
            </p:custDataLst>
            <p:extLst>
              <p:ext uri="{D42A27DB-BD31-4B8C-83A1-F6EECF244321}">
                <p14:modId xmlns:p14="http://schemas.microsoft.com/office/powerpoint/2010/main" val="3261328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3"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A34AF0-2B6D-4DF3-A7C1-2635B4BD99E7}"/>
              </a:ext>
            </a:extLst>
          </p:cNvPr>
          <p:cNvSpPr>
            <a:spLocks noGrp="1"/>
          </p:cNvSpPr>
          <p:nvPr>
            <p:ph type="title"/>
          </p:nvPr>
        </p:nvSpPr>
        <p:spPr/>
        <p:txBody>
          <a:bodyPr vert="horz"/>
          <a:lstStyle/>
          <a:p>
            <a:r>
              <a:rPr lang="fi-FI" dirty="0"/>
              <a:t>Keskeiset suositukset</a:t>
            </a:r>
          </a:p>
        </p:txBody>
      </p:sp>
      <p:sp>
        <p:nvSpPr>
          <p:cNvPr id="3" name="Content Placeholder 2">
            <a:extLst>
              <a:ext uri="{FF2B5EF4-FFF2-40B4-BE49-F238E27FC236}">
                <a16:creationId xmlns:a16="http://schemas.microsoft.com/office/drawing/2014/main" id="{3B0554E7-21B9-47AD-93CA-270C6FC24EAB}"/>
              </a:ext>
            </a:extLst>
          </p:cNvPr>
          <p:cNvSpPr>
            <a:spLocks noGrp="1"/>
          </p:cNvSpPr>
          <p:nvPr>
            <p:ph idx="1"/>
          </p:nvPr>
        </p:nvSpPr>
        <p:spPr>
          <a:xfrm>
            <a:off x="767905" y="2214974"/>
            <a:ext cx="6984279" cy="4022313"/>
          </a:xfrm>
        </p:spPr>
        <p:txBody>
          <a:bodyPr anchor="t"/>
          <a:lstStyle/>
          <a:p>
            <a:r>
              <a:rPr lang="fi-FI" sz="2000" spc="10" dirty="0">
                <a:effectLst/>
                <a:latin typeface="Arial" panose="020B0604020202020204" pitchFamily="34" charset="0"/>
                <a:ea typeface="SimSun" panose="02010600030101010101" pitchFamily="2" charset="-122"/>
                <a:cs typeface="Times New Roman" panose="02020603050405020304" pitchFamily="18" charset="0"/>
              </a:rPr>
              <a:t>IPP nähdään tarpeellisena ja sen toimintaa tulisi jatkaa. </a:t>
            </a:r>
          </a:p>
          <a:p>
            <a:r>
              <a:rPr lang="fi-FI" sz="2000" spc="10" dirty="0">
                <a:effectLst/>
                <a:latin typeface="Arial" panose="020B0604020202020204" pitchFamily="34" charset="0"/>
                <a:ea typeface="SimSun" panose="02010600030101010101" pitchFamily="2" charset="-122"/>
                <a:cs typeface="Times New Roman" panose="02020603050405020304" pitchFamily="18" charset="0"/>
              </a:rPr>
              <a:t>Pyöreän pöydän kokouksiin perustuva toimintamalli muodostaa hyvän perustan jatkon toiminnalle. </a:t>
            </a:r>
          </a:p>
          <a:p>
            <a:r>
              <a:rPr lang="fi-FI" sz="2000" spc="10" dirty="0">
                <a:effectLst/>
                <a:latin typeface="Arial" panose="020B0604020202020204" pitchFamily="34" charset="0"/>
                <a:ea typeface="SimSun" panose="02010600030101010101" pitchFamily="2" charset="-122"/>
                <a:cs typeface="Times New Roman" panose="02020603050405020304" pitchFamily="18" charset="0"/>
              </a:rPr>
              <a:t>Korkean tason keskustelun ja </a:t>
            </a:r>
            <a:r>
              <a:rPr lang="fi-FI" sz="2000" spc="10" dirty="0" err="1">
                <a:effectLst/>
                <a:latin typeface="Arial" panose="020B0604020202020204" pitchFamily="34" charset="0"/>
                <a:ea typeface="SimSun" panose="02010600030101010101" pitchFamily="2" charset="-122"/>
                <a:cs typeface="Times New Roman" panose="02020603050405020304" pitchFamily="18" charset="0"/>
              </a:rPr>
              <a:t>IPP:n</a:t>
            </a:r>
            <a:r>
              <a:rPr lang="fi-FI" sz="2000" spc="10" dirty="0">
                <a:effectLst/>
                <a:latin typeface="Arial" panose="020B0604020202020204" pitchFamily="34" charset="0"/>
                <a:ea typeface="SimSun" panose="02010600030101010101" pitchFamily="2" charset="-122"/>
                <a:cs typeface="Times New Roman" panose="02020603050405020304" pitchFamily="18" charset="0"/>
              </a:rPr>
              <a:t> merkittävyyden kannalta pääministerin jatko puheenjohtajana on perusteltua. </a:t>
            </a:r>
          </a:p>
          <a:p>
            <a:r>
              <a:rPr lang="fi-FI" sz="2000" spc="10" dirty="0" err="1">
                <a:effectLst/>
                <a:latin typeface="Arial" panose="020B0604020202020204" pitchFamily="34" charset="0"/>
                <a:ea typeface="SimSun" panose="02010600030101010101" pitchFamily="2" charset="-122"/>
                <a:cs typeface="Times New Roman" panose="02020603050405020304" pitchFamily="18" charset="0"/>
              </a:rPr>
              <a:t>IPP:n</a:t>
            </a:r>
            <a:r>
              <a:rPr lang="fi-FI" sz="2000" spc="10" dirty="0">
                <a:effectLst/>
                <a:latin typeface="Arial" panose="020B0604020202020204" pitchFamily="34" charset="0"/>
                <a:ea typeface="SimSun" panose="02010600030101010101" pitchFamily="2" charset="-122"/>
                <a:cs typeface="Times New Roman" panose="02020603050405020304" pitchFamily="18" charset="0"/>
              </a:rPr>
              <a:t> mandaatti on ollut erittäin laaja-alainen ja sen tarkempi kohdentaminen jatkossa olisi perusteltua. </a:t>
            </a:r>
          </a:p>
          <a:p>
            <a:r>
              <a:rPr lang="fi-FI" sz="2000" spc="10" dirty="0">
                <a:effectLst/>
                <a:latin typeface="Arial" panose="020B0604020202020204" pitchFamily="34" charset="0"/>
                <a:ea typeface="SimSun" panose="02010600030101010101" pitchFamily="2" charset="-122"/>
                <a:cs typeface="Times New Roman" panose="02020603050405020304" pitchFamily="18" charset="0"/>
              </a:rPr>
              <a:t>Yhteiskunnassa on tarve jatkaa toimenpiteitä ilmastopolitiikan hyväksyttävyyden varmistamiseksi esimerkiksi erilaisten kansalaisraatien muodossa. </a:t>
            </a:r>
            <a:endParaRPr lang="fi-FI" sz="2000" dirty="0"/>
          </a:p>
        </p:txBody>
      </p:sp>
      <p:sp>
        <p:nvSpPr>
          <p:cNvPr id="5" name="Text Placeholder 4">
            <a:extLst>
              <a:ext uri="{FF2B5EF4-FFF2-40B4-BE49-F238E27FC236}">
                <a16:creationId xmlns:a16="http://schemas.microsoft.com/office/drawing/2014/main" id="{74525FF2-367C-4C28-B258-8C675C114880}"/>
              </a:ext>
            </a:extLst>
          </p:cNvPr>
          <p:cNvSpPr>
            <a:spLocks noGrp="1"/>
          </p:cNvSpPr>
          <p:nvPr>
            <p:ph type="body" sz="quarter" idx="15"/>
          </p:nvPr>
        </p:nvSpPr>
        <p:spPr/>
        <p:txBody>
          <a:bodyPr/>
          <a:lstStyle/>
          <a:p>
            <a:endParaRPr lang="fi-FI"/>
          </a:p>
        </p:txBody>
      </p:sp>
      <p:graphicFrame>
        <p:nvGraphicFramePr>
          <p:cNvPr id="9" name="Chart 8" descr="Pylväsdiagrammi: Kuinka tärkeää IPP:n kaltainen toiminta on tulevaisuudessa? Asteikolla 1-5, jossa 1= ei lainkaan tärkeää ja 5=erittäin tärkeää. Vaihtoehto 4 sai eniten vastauksia (6kpl) ja vaihtoehdot 3 ja 5 molemmat neljä vastausta">
            <a:extLst>
              <a:ext uri="{FF2B5EF4-FFF2-40B4-BE49-F238E27FC236}">
                <a16:creationId xmlns:a16="http://schemas.microsoft.com/office/drawing/2014/main" id="{0141EB06-CE6B-4500-9271-2CAC047F7FBF}"/>
              </a:ext>
            </a:extLst>
          </p:cNvPr>
          <p:cNvGraphicFramePr/>
          <p:nvPr>
            <p:extLst>
              <p:ext uri="{D42A27DB-BD31-4B8C-83A1-F6EECF244321}">
                <p14:modId xmlns:p14="http://schemas.microsoft.com/office/powerpoint/2010/main" val="1201793286"/>
              </p:ext>
            </p:extLst>
          </p:nvPr>
        </p:nvGraphicFramePr>
        <p:xfrm>
          <a:off x="7752184" y="2204730"/>
          <a:ext cx="4222067" cy="3888566"/>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a:extLst>
              <a:ext uri="{FF2B5EF4-FFF2-40B4-BE49-F238E27FC236}">
                <a16:creationId xmlns:a16="http://schemas.microsoft.com/office/drawing/2014/main" id="{38C8CEEC-B855-4E70-95AD-21E931343406}"/>
              </a:ext>
            </a:extLst>
          </p:cNvPr>
          <p:cNvSpPr txBox="1"/>
          <p:nvPr/>
        </p:nvSpPr>
        <p:spPr>
          <a:xfrm>
            <a:off x="839416" y="1197347"/>
            <a:ext cx="8785597" cy="830997"/>
          </a:xfrm>
          <a:prstGeom prst="rect">
            <a:avLst/>
          </a:prstGeom>
          <a:noFill/>
        </p:spPr>
        <p:txBody>
          <a:bodyPr wrap="square">
            <a:spAutoFit/>
          </a:bodyPr>
          <a:lstStyle/>
          <a:p>
            <a:r>
              <a:rPr lang="fi-FI" sz="2400" i="1" dirty="0">
                <a:solidFill>
                  <a:schemeClr val="tx2"/>
                </a:solidFill>
              </a:rPr>
              <a:t>Ilmastonmuutoksen ja sen vaikutusten kiihtyessä laajaa yhteiskunnallista keskustelua tarvitaan. </a:t>
            </a:r>
          </a:p>
        </p:txBody>
      </p:sp>
    </p:spTree>
    <p:extLst>
      <p:ext uri="{BB962C8B-B14F-4D97-AF65-F5344CB8AC3E}">
        <p14:creationId xmlns:p14="http://schemas.microsoft.com/office/powerpoint/2010/main" val="231693782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77757742761868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ia">
  <a:themeElements>
    <a:clrScheme name="gaia 2020">
      <a:dk1>
        <a:sysClr val="windowText" lastClr="000000"/>
      </a:dk1>
      <a:lt1>
        <a:sysClr val="window" lastClr="FFFFFF"/>
      </a:lt1>
      <a:dk2>
        <a:srgbClr val="5178A2"/>
      </a:dk2>
      <a:lt2>
        <a:srgbClr val="F0F0F0"/>
      </a:lt2>
      <a:accent1>
        <a:srgbClr val="23308E"/>
      </a:accent1>
      <a:accent2>
        <a:srgbClr val="009793"/>
      </a:accent2>
      <a:accent3>
        <a:srgbClr val="73A533"/>
      </a:accent3>
      <a:accent4>
        <a:srgbClr val="D4B005"/>
      </a:accent4>
      <a:accent5>
        <a:srgbClr val="DF7A61"/>
      </a:accent5>
      <a:accent6>
        <a:srgbClr val="E60000"/>
      </a:accent6>
      <a:hlink>
        <a:srgbClr val="000000"/>
      </a:hlink>
      <a:folHlink>
        <a:srgbClr val="000000"/>
      </a:folHlink>
    </a:clrScheme>
    <a:fontScheme name="Gai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600" dirty="0" smtClean="0">
            <a:solidFill>
              <a:srgbClr val="404040"/>
            </a:solidFill>
          </a:defRPr>
        </a:defPPr>
      </a:lstStyle>
    </a:txDef>
  </a:objectDefaults>
  <a:extraClrSchemeLst/>
  <a:extLst>
    <a:ext uri="{05A4C25C-085E-4340-85A3-A5531E510DB2}">
      <thm15:themeFamily xmlns:thm15="http://schemas.microsoft.com/office/thememl/2012/main" name="Gaia 2020" id="{5755844B-F19E-41CC-88A4-B6E9ECBA6036}" vid="{C2174754-59F2-4F11-8D65-4B0531C29C8A}"/>
    </a:ext>
  </a:extLst>
</a:theme>
</file>

<file path=ppt/theme/theme2.xml><?xml version="1.0" encoding="utf-8"?>
<a:theme xmlns:a="http://schemas.openxmlformats.org/drawingml/2006/main" name="Office Theme">
  <a:themeElements>
    <a:clrScheme name="Gaia">
      <a:dk1>
        <a:sysClr val="windowText" lastClr="000000"/>
      </a:dk1>
      <a:lt1>
        <a:sysClr val="window" lastClr="FFFFFF"/>
      </a:lt1>
      <a:dk2>
        <a:srgbClr val="5178A2"/>
      </a:dk2>
      <a:lt2>
        <a:srgbClr val="F0F0F0"/>
      </a:lt2>
      <a:accent1>
        <a:srgbClr val="23308E"/>
      </a:accent1>
      <a:accent2>
        <a:srgbClr val="009793"/>
      </a:accent2>
      <a:accent3>
        <a:srgbClr val="73A533"/>
      </a:accent3>
      <a:accent4>
        <a:srgbClr val="D4B005"/>
      </a:accent4>
      <a:accent5>
        <a:srgbClr val="DF7A61"/>
      </a:accent5>
      <a:accent6>
        <a:srgbClr val="E60000"/>
      </a:accent6>
      <a:hlink>
        <a:srgbClr val="23308E"/>
      </a:hlink>
      <a:folHlink>
        <a:srgbClr val="23308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aia">
      <a:dk1>
        <a:sysClr val="windowText" lastClr="000000"/>
      </a:dk1>
      <a:lt1>
        <a:sysClr val="window" lastClr="FFFFFF"/>
      </a:lt1>
      <a:dk2>
        <a:srgbClr val="5178A2"/>
      </a:dk2>
      <a:lt2>
        <a:srgbClr val="F0F0F0"/>
      </a:lt2>
      <a:accent1>
        <a:srgbClr val="23308E"/>
      </a:accent1>
      <a:accent2>
        <a:srgbClr val="009793"/>
      </a:accent2>
      <a:accent3>
        <a:srgbClr val="73A533"/>
      </a:accent3>
      <a:accent4>
        <a:srgbClr val="D4B005"/>
      </a:accent4>
      <a:accent5>
        <a:srgbClr val="DF7A61"/>
      </a:accent5>
      <a:accent6>
        <a:srgbClr val="E60000"/>
      </a:accent6>
      <a:hlink>
        <a:srgbClr val="23308E"/>
      </a:hlink>
      <a:folHlink>
        <a:srgbClr val="23308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3987F6592A289479F90C8A10238408E" ma:contentTypeVersion="9" ma:contentTypeDescription="Create a new document." ma:contentTypeScope="" ma:versionID="e13599e6b2f8e18d165bb4d51756eb2d">
  <xsd:schema xmlns:xsd="http://www.w3.org/2001/XMLSchema" xmlns:xs="http://www.w3.org/2001/XMLSchema" xmlns:p="http://schemas.microsoft.com/office/2006/metadata/properties" xmlns:ns3="a3054e38-991d-4d00-921c-4fc5cd70f427" xmlns:ns4="7dca2019-6cb1-4527-a242-f6e2bc425aea" targetNamespace="http://schemas.microsoft.com/office/2006/metadata/properties" ma:root="true" ma:fieldsID="390c5edf64b294f58aab9ecc361b1156" ns3:_="" ns4:_="">
    <xsd:import namespace="a3054e38-991d-4d00-921c-4fc5cd70f427"/>
    <xsd:import namespace="7dca2019-6cb1-4527-a242-f6e2bc425ae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054e38-991d-4d00-921c-4fc5cd70f4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ca2019-6cb1-4527-a242-f6e2bc425ae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F6A0FE4-AA2D-4E13-93C0-9DBFF96B8783}">
  <ds:schemaRefs>
    <ds:schemaRef ds:uri="http://schemas.microsoft.com/sharepoint/v3/contenttype/forms"/>
  </ds:schemaRefs>
</ds:datastoreItem>
</file>

<file path=customXml/itemProps2.xml><?xml version="1.0" encoding="utf-8"?>
<ds:datastoreItem xmlns:ds="http://schemas.openxmlformats.org/officeDocument/2006/customXml" ds:itemID="{30D7EE01-AF13-4D11-BA16-757E4536EA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054e38-991d-4d00-921c-4fc5cd70f427"/>
    <ds:schemaRef ds:uri="7dca2019-6cb1-4527-a242-f6e2bc425a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792775F-519A-4BF2-9B6A-EC14A69A55FB}">
  <ds:schemaRefs>
    <ds:schemaRef ds:uri="http://purl.org/dc/elements/1.1/"/>
    <ds:schemaRef ds:uri="http://purl.org/dc/terms/"/>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http://purl.org/dc/dcmitype/"/>
    <ds:schemaRef ds:uri="a3054e38-991d-4d00-921c-4fc5cd70f427"/>
    <ds:schemaRef ds:uri="http://schemas.microsoft.com/office/infopath/2007/PartnerControls"/>
    <ds:schemaRef ds:uri="7dca2019-6cb1-4527-a242-f6e2bc425aea"/>
  </ds:schemaRefs>
</ds:datastoreItem>
</file>

<file path=docProps/app.xml><?xml version="1.0" encoding="utf-8"?>
<Properties xmlns="http://schemas.openxmlformats.org/officeDocument/2006/extended-properties" xmlns:vt="http://schemas.openxmlformats.org/officeDocument/2006/docPropsVTypes">
  <Template>Gaia 2020</Template>
  <TotalTime>280</TotalTime>
  <Words>883</Words>
  <Application>Microsoft Office PowerPoint</Application>
  <PresentationFormat>Widescreen</PresentationFormat>
  <Paragraphs>82</Paragraphs>
  <Slides>9</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3" baseType="lpstr">
      <vt:lpstr>Arial</vt:lpstr>
      <vt:lpstr>Georgia</vt:lpstr>
      <vt:lpstr>Gaia</vt:lpstr>
      <vt:lpstr>think-cell Slide</vt:lpstr>
      <vt:lpstr>Ilmastopolitiikan pyöreän pöydän toiminnan arviointi ja kehittäminen  sekä tilannekatsauksen toteuttaminen</vt:lpstr>
      <vt:lpstr>Esityksen sisältö</vt:lpstr>
      <vt:lpstr>Työn tausta ja tavoitteet</vt:lpstr>
      <vt:lpstr>Tilannekatsauksen päähavaintoja</vt:lpstr>
      <vt:lpstr>Mielenkiintoisia esimerkkejä maailmalta</vt:lpstr>
      <vt:lpstr>Arvioinnin tuloksia IPP:n toiminnasta</vt:lpstr>
      <vt:lpstr>Arvioinnin tuloksia IPP:n vaikutuksista</vt:lpstr>
      <vt:lpstr>IPP:n toiminnan jatkon suunnitteluparametrit</vt:lpstr>
      <vt:lpstr>Keskeiset suositukset</vt:lpstr>
    </vt:vector>
  </TitlesOfParts>
  <Company>grow.</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na Jyrälä</dc:creator>
  <cp:lastModifiedBy>Hjelt, Mari</cp:lastModifiedBy>
  <cp:revision>17</cp:revision>
  <dcterms:created xsi:type="dcterms:W3CDTF">2021-12-30T10:34:21Z</dcterms:created>
  <dcterms:modified xsi:type="dcterms:W3CDTF">2023-02-16T08:1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987F6592A289479F90C8A10238408E</vt:lpwstr>
  </property>
  <property fmtid="{D5CDD505-2E9C-101B-9397-08002B2CF9AE}" pid="3" name="MSIP_Label_43f08ec5-d6d9-4227-8387-ccbfcb3632c4_Enabled">
    <vt:lpwstr>true</vt:lpwstr>
  </property>
  <property fmtid="{D5CDD505-2E9C-101B-9397-08002B2CF9AE}" pid="4" name="MSIP_Label_43f08ec5-d6d9-4227-8387-ccbfcb3632c4_SetDate">
    <vt:lpwstr>2022-01-11T06:39:00Z</vt:lpwstr>
  </property>
  <property fmtid="{D5CDD505-2E9C-101B-9397-08002B2CF9AE}" pid="5" name="MSIP_Label_43f08ec5-d6d9-4227-8387-ccbfcb3632c4_Method">
    <vt:lpwstr>Standard</vt:lpwstr>
  </property>
  <property fmtid="{D5CDD505-2E9C-101B-9397-08002B2CF9AE}" pid="6" name="MSIP_Label_43f08ec5-d6d9-4227-8387-ccbfcb3632c4_Name">
    <vt:lpwstr>Sweco Restricted</vt:lpwstr>
  </property>
  <property fmtid="{D5CDD505-2E9C-101B-9397-08002B2CF9AE}" pid="7" name="MSIP_Label_43f08ec5-d6d9-4227-8387-ccbfcb3632c4_SiteId">
    <vt:lpwstr>b7872ef0-9a00-4c18-8a4a-c7d25c778a9e</vt:lpwstr>
  </property>
  <property fmtid="{D5CDD505-2E9C-101B-9397-08002B2CF9AE}" pid="8" name="MSIP_Label_43f08ec5-d6d9-4227-8387-ccbfcb3632c4_ActionId">
    <vt:lpwstr>1cd8be4f-435a-4aec-aad5-014311a03cf3</vt:lpwstr>
  </property>
  <property fmtid="{D5CDD505-2E9C-101B-9397-08002B2CF9AE}" pid="9" name="MSIP_Label_43f08ec5-d6d9-4227-8387-ccbfcb3632c4_ContentBits">
    <vt:lpwstr>0</vt:lpwstr>
  </property>
  <property fmtid="{D5CDD505-2E9C-101B-9397-08002B2CF9AE}" pid="10" name="TemplafyTimeStamp">
    <vt:lpwstr>2022-01-12T09:43:46.9014441</vt:lpwstr>
  </property>
  <property fmtid="{D5CDD505-2E9C-101B-9397-08002B2CF9AE}" pid="11" name="CustomerId">
    <vt:lpwstr>sweco</vt:lpwstr>
  </property>
  <property fmtid="{D5CDD505-2E9C-101B-9397-08002B2CF9AE}" pid="12" name="TemplateId">
    <vt:lpwstr>637775774269014441</vt:lpwstr>
  </property>
  <property fmtid="{D5CDD505-2E9C-101B-9397-08002B2CF9AE}" pid="13" name="UserProfileId">
    <vt:lpwstr>637780074599639664</vt:lpwstr>
  </property>
</Properties>
</file>